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3.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1" r:id="rId5"/>
    <p:sldMasterId id="2147483764" r:id="rId6"/>
    <p:sldMasterId id="2147483648" r:id="rId7"/>
  </p:sldMasterIdLst>
  <p:notesMasterIdLst>
    <p:notesMasterId r:id="rId32"/>
  </p:notesMasterIdLst>
  <p:sldIdLst>
    <p:sldId id="2147472344" r:id="rId8"/>
    <p:sldId id="2147472345" r:id="rId9"/>
    <p:sldId id="256" r:id="rId10"/>
    <p:sldId id="270" r:id="rId11"/>
    <p:sldId id="2147472307" r:id="rId12"/>
    <p:sldId id="260" r:id="rId13"/>
    <p:sldId id="2147472321" r:id="rId14"/>
    <p:sldId id="259" r:id="rId15"/>
    <p:sldId id="2147472299" r:id="rId16"/>
    <p:sldId id="2147472343" r:id="rId17"/>
    <p:sldId id="261" r:id="rId18"/>
    <p:sldId id="2147472310" r:id="rId19"/>
    <p:sldId id="2147472339" r:id="rId20"/>
    <p:sldId id="2147472324" r:id="rId21"/>
    <p:sldId id="2147472342" r:id="rId22"/>
    <p:sldId id="2147472323" r:id="rId23"/>
    <p:sldId id="2147472340" r:id="rId24"/>
    <p:sldId id="263" r:id="rId25"/>
    <p:sldId id="2147472308" r:id="rId26"/>
    <p:sldId id="2147472341" r:id="rId27"/>
    <p:sldId id="257" r:id="rId28"/>
    <p:sldId id="2147472322" r:id="rId29"/>
    <p:sldId id="2128752487" r:id="rId30"/>
    <p:sldId id="214747231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AD7684A-05FD-8934-A011-2535710AC8E5}" name="Mahmoud, Mustafa" initials="MM" userId="S::mustafa.mahmoud@hq.doe.gov::47920112-e94c-43b2-a413-d68ccbbd2295" providerId="AD"/>
  <p188:author id="{28FC6D7B-DE72-056C-89DE-24C712466C9D}" name="Avins, Jeremy" initials="JA" userId="S::jeremy.avins@hq.doe.gov::524029c6-d48b-4e18-b6fc-fc3e7558746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F4F"/>
    <a:srgbClr val="205FAB"/>
    <a:srgbClr val="1A315D"/>
    <a:srgbClr val="FFCA03"/>
    <a:srgbClr val="1EA5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97AE7D-F081-2626-20AE-9588162DA275}" v="5" dt="2023-11-16T16:55:17.198"/>
    <p1510:client id="{7655D6D7-E49F-4A6A-9497-3F855553903F}" v="498" dt="2023-11-15T15:55:40.061"/>
    <p1510:client id="{E9C67BE1-8A15-8846-9DF7-E90351EFDF53}" v="30" dt="2023-11-16T18:04:31.098"/>
    <p1510:client id="{EB7B56EC-D33C-4C5A-B4ED-497E3E5E1204}" v="2" dt="2023-11-16T15:26:28.7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8/10/relationships/authors" Target="authors.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NERGYWERX" userId="S::info@energywerx.org::23034b2a-6969-4f44-9167-8d11312e5fe5" providerId="AD" clId="Web-{4D97AE7D-F081-2626-20AE-9588162DA275}"/>
    <pc:docChg chg="addSld modSld sldOrd addMainMaster">
      <pc:chgData name="ENERGYWERX" userId="S::info@energywerx.org::23034b2a-6969-4f44-9167-8d11312e5fe5" providerId="AD" clId="Web-{4D97AE7D-F081-2626-20AE-9588162DA275}" dt="2023-11-16T16:55:17.198" v="4" actId="20577"/>
      <pc:docMkLst>
        <pc:docMk/>
      </pc:docMkLst>
      <pc:sldChg chg="ord">
        <pc:chgData name="ENERGYWERX" userId="S::info@energywerx.org::23034b2a-6969-4f44-9167-8d11312e5fe5" providerId="AD" clId="Web-{4D97AE7D-F081-2626-20AE-9588162DA275}" dt="2023-11-16T16:55:10.307" v="2"/>
        <pc:sldMkLst>
          <pc:docMk/>
          <pc:sldMk cId="2141354514" sldId="256"/>
        </pc:sldMkLst>
      </pc:sldChg>
      <pc:sldChg chg="modSp add">
        <pc:chgData name="ENERGYWERX" userId="S::info@energywerx.org::23034b2a-6969-4f44-9167-8d11312e5fe5" providerId="AD" clId="Web-{4D97AE7D-F081-2626-20AE-9588162DA275}" dt="2023-11-16T16:55:17.198" v="4" actId="20577"/>
        <pc:sldMkLst>
          <pc:docMk/>
          <pc:sldMk cId="2606787771" sldId="2147472344"/>
        </pc:sldMkLst>
        <pc:spChg chg="mod">
          <ac:chgData name="ENERGYWERX" userId="S::info@energywerx.org::23034b2a-6969-4f44-9167-8d11312e5fe5" providerId="AD" clId="Web-{4D97AE7D-F081-2626-20AE-9588162DA275}" dt="2023-11-16T16:55:17.198" v="4" actId="20577"/>
          <ac:spMkLst>
            <pc:docMk/>
            <pc:sldMk cId="2606787771" sldId="2147472344"/>
            <ac:spMk id="6" creationId="{14403131-792E-E101-E384-3D59FA2043B1}"/>
          </ac:spMkLst>
        </pc:spChg>
      </pc:sldChg>
      <pc:sldChg chg="add">
        <pc:chgData name="ENERGYWERX" userId="S::info@energywerx.org::23034b2a-6969-4f44-9167-8d11312e5fe5" providerId="AD" clId="Web-{4D97AE7D-F081-2626-20AE-9588162DA275}" dt="2023-11-16T16:55:07.744" v="1"/>
        <pc:sldMkLst>
          <pc:docMk/>
          <pc:sldMk cId="1577112093" sldId="2147472345"/>
        </pc:sldMkLst>
      </pc:sldChg>
      <pc:sldMasterChg chg="add addSldLayout">
        <pc:chgData name="ENERGYWERX" userId="S::info@energywerx.org::23034b2a-6969-4f44-9167-8d11312e5fe5" providerId="AD" clId="Web-{4D97AE7D-F081-2626-20AE-9588162DA275}" dt="2023-11-16T16:55:07.744" v="1"/>
        <pc:sldMasterMkLst>
          <pc:docMk/>
          <pc:sldMasterMk cId="1532350683" sldId="2147483648"/>
        </pc:sldMasterMkLst>
        <pc:sldLayoutChg chg="add">
          <pc:chgData name="ENERGYWERX" userId="S::info@energywerx.org::23034b2a-6969-4f44-9167-8d11312e5fe5" providerId="AD" clId="Web-{4D97AE7D-F081-2626-20AE-9588162DA275}" dt="2023-11-16T16:55:06.134" v="0"/>
          <pc:sldLayoutMkLst>
            <pc:docMk/>
            <pc:sldMasterMk cId="1532350683" sldId="2147483648"/>
            <pc:sldLayoutMk cId="3904378129" sldId="2147483649"/>
          </pc:sldLayoutMkLst>
        </pc:sldLayoutChg>
        <pc:sldLayoutChg chg="add">
          <pc:chgData name="ENERGYWERX" userId="S::info@energywerx.org::23034b2a-6969-4f44-9167-8d11312e5fe5" providerId="AD" clId="Web-{4D97AE7D-F081-2626-20AE-9588162DA275}" dt="2023-11-16T16:55:07.744" v="1"/>
          <pc:sldLayoutMkLst>
            <pc:docMk/>
            <pc:sldMasterMk cId="1532350683" sldId="2147483648"/>
            <pc:sldLayoutMk cId="94201033" sldId="2147483655"/>
          </pc:sldLayoutMkLst>
        </pc:sldLayoutChg>
      </pc:sldMasterChg>
    </pc:docChg>
  </pc:docChgLst>
  <pc:docChgLst>
    <pc:chgData name="Christi Pezzone" userId="S::cpezzone@energywerx.org::41ad6b4d-c4fd-43f0-a48f-8d130c8c68af" providerId="AD" clId="Web-{E9C67BE1-8A15-8846-9DF7-E90351EFDF53}"/>
    <pc:docChg chg="modSld">
      <pc:chgData name="Christi Pezzone" userId="S::cpezzone@energywerx.org::41ad6b4d-c4fd-43f0-a48f-8d130c8c68af" providerId="AD" clId="Web-{E9C67BE1-8A15-8846-9DF7-E90351EFDF53}" dt="2023-11-16T18:04:31.098" v="18" actId="20577"/>
      <pc:docMkLst>
        <pc:docMk/>
      </pc:docMkLst>
      <pc:sldChg chg="addSp delSp modSp">
        <pc:chgData name="Christi Pezzone" userId="S::cpezzone@energywerx.org::41ad6b4d-c4fd-43f0-a48f-8d130c8c68af" providerId="AD" clId="Web-{E9C67BE1-8A15-8846-9DF7-E90351EFDF53}" dt="2023-11-16T18:04:31.098" v="18" actId="20577"/>
        <pc:sldMkLst>
          <pc:docMk/>
          <pc:sldMk cId="1577112093" sldId="2147472345"/>
        </pc:sldMkLst>
        <pc:spChg chg="mod">
          <ac:chgData name="Christi Pezzone" userId="S::cpezzone@energywerx.org::41ad6b4d-c4fd-43f0-a48f-8d130c8c68af" providerId="AD" clId="Web-{E9C67BE1-8A15-8846-9DF7-E90351EFDF53}" dt="2023-11-16T18:04:31.098" v="18" actId="20577"/>
          <ac:spMkLst>
            <pc:docMk/>
            <pc:sldMk cId="1577112093" sldId="2147472345"/>
            <ac:spMk id="5" creationId="{370DA94A-F0C9-5E6C-8907-5CA5558ABB2A}"/>
          </ac:spMkLst>
        </pc:spChg>
        <pc:spChg chg="mod">
          <ac:chgData name="Christi Pezzone" userId="S::cpezzone@energywerx.org::41ad6b4d-c4fd-43f0-a48f-8d130c8c68af" providerId="AD" clId="Web-{E9C67BE1-8A15-8846-9DF7-E90351EFDF53}" dt="2023-11-16T18:04:16.942" v="15" actId="20577"/>
          <ac:spMkLst>
            <pc:docMk/>
            <pc:sldMk cId="1577112093" sldId="2147472345"/>
            <ac:spMk id="13" creationId="{CD3BDCC1-F451-102E-F8A8-9023F5ABA68A}"/>
          </ac:spMkLst>
        </pc:spChg>
        <pc:picChg chg="add mod">
          <ac:chgData name="Christi Pezzone" userId="S::cpezzone@energywerx.org::41ad6b4d-c4fd-43f0-a48f-8d130c8c68af" providerId="AD" clId="Web-{E9C67BE1-8A15-8846-9DF7-E90351EFDF53}" dt="2023-11-16T18:03:31.081" v="6" actId="14100"/>
          <ac:picMkLst>
            <pc:docMk/>
            <pc:sldMk cId="1577112093" sldId="2147472345"/>
            <ac:picMk id="2" creationId="{357109A6-5A57-C116-DB40-2D381678BD4F}"/>
          </ac:picMkLst>
        </pc:picChg>
        <pc:picChg chg="del">
          <ac:chgData name="Christi Pezzone" userId="S::cpezzone@energywerx.org::41ad6b4d-c4fd-43f0-a48f-8d130c8c68af" providerId="AD" clId="Web-{E9C67BE1-8A15-8846-9DF7-E90351EFDF53}" dt="2023-11-16T18:02:52.752" v="0"/>
          <ac:picMkLst>
            <pc:docMk/>
            <pc:sldMk cId="1577112093" sldId="2147472345"/>
            <ac:picMk id="11" creationId="{AF9609A3-5F2C-E31F-0273-97C4B789CCF2}"/>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BB7767-4D78-4BF8-983E-7A0B816939CE}" type="doc">
      <dgm:prSet loTypeId="urn:microsoft.com/office/officeart/2005/8/layout/hProcess11" loCatId="process" qsTypeId="urn:microsoft.com/office/officeart/2005/8/quickstyle/simple1" qsCatId="simple" csTypeId="urn:microsoft.com/office/officeart/2005/8/colors/accent1_2" csCatId="accent1" phldr="1"/>
      <dgm:spPr/>
    </dgm:pt>
    <dgm:pt modelId="{7127732D-488E-4A3D-A758-29F832F2216C}">
      <dgm:prSet phldrT="[Text]"/>
      <dgm:spPr/>
      <dgm:t>
        <a:bodyPr/>
        <a:lstStyle/>
        <a:p>
          <a:r>
            <a:rPr lang="en-US" b="1"/>
            <a:t>October 6, 2023: </a:t>
          </a:r>
          <a:r>
            <a:rPr lang="en-US"/>
            <a:t>Grant Program Opened</a:t>
          </a:r>
        </a:p>
      </dgm:t>
    </dgm:pt>
    <dgm:pt modelId="{F8AC4C41-C7CB-45CD-BE73-73349D3FC92B}" type="parTrans" cxnId="{B007541D-B2FE-4137-9033-F65A084F98DF}">
      <dgm:prSet/>
      <dgm:spPr/>
      <dgm:t>
        <a:bodyPr/>
        <a:lstStyle/>
        <a:p>
          <a:endParaRPr lang="en-US"/>
        </a:p>
      </dgm:t>
    </dgm:pt>
    <dgm:pt modelId="{3D160681-CBDE-4427-9F47-D82F8B5200C0}" type="sibTrans" cxnId="{B007541D-B2FE-4137-9033-F65A084F98DF}">
      <dgm:prSet/>
      <dgm:spPr/>
      <dgm:t>
        <a:bodyPr/>
        <a:lstStyle/>
        <a:p>
          <a:endParaRPr lang="en-US"/>
        </a:p>
      </dgm:t>
    </dgm:pt>
    <dgm:pt modelId="{CE373D40-458B-4505-944F-D157CD339A4F}">
      <dgm:prSet phldrT="[Text]"/>
      <dgm:spPr/>
      <dgm:t>
        <a:bodyPr/>
        <a:lstStyle/>
        <a:p>
          <a:r>
            <a:rPr lang="en-US" b="1"/>
            <a:t>October 19, 2023:</a:t>
          </a:r>
          <a:r>
            <a:rPr lang="en-US"/>
            <a:t> October Office Hour Session</a:t>
          </a:r>
        </a:p>
      </dgm:t>
    </dgm:pt>
    <dgm:pt modelId="{33E8811F-CFFE-4697-A88A-C1B2ACCC95A6}" type="parTrans" cxnId="{A12472E2-0CD9-41AA-B399-6A487F254035}">
      <dgm:prSet/>
      <dgm:spPr/>
      <dgm:t>
        <a:bodyPr/>
        <a:lstStyle/>
        <a:p>
          <a:endParaRPr lang="en-US"/>
        </a:p>
      </dgm:t>
    </dgm:pt>
    <dgm:pt modelId="{36C4B464-E654-492F-A06B-567BA2B6C894}" type="sibTrans" cxnId="{A12472E2-0CD9-41AA-B399-6A487F254035}">
      <dgm:prSet/>
      <dgm:spPr/>
      <dgm:t>
        <a:bodyPr/>
        <a:lstStyle/>
        <a:p>
          <a:endParaRPr lang="en-US"/>
        </a:p>
      </dgm:t>
    </dgm:pt>
    <dgm:pt modelId="{A06DF6E7-FA9D-4DD1-B694-23B421F82B63}">
      <dgm:prSet phldrT="[Text]"/>
      <dgm:spPr/>
      <dgm:t>
        <a:bodyPr/>
        <a:lstStyle/>
        <a:p>
          <a:r>
            <a:rPr lang="en-US" b="1"/>
            <a:t>November 16, 2023</a:t>
          </a:r>
          <a:r>
            <a:rPr lang="en-US"/>
            <a:t>: November Office Hour Session</a:t>
          </a:r>
        </a:p>
      </dgm:t>
    </dgm:pt>
    <dgm:pt modelId="{EC61C676-197E-4723-A526-5358AA7DF95E}" type="parTrans" cxnId="{C3AA2864-E8ED-4283-8598-B9E3472545E0}">
      <dgm:prSet/>
      <dgm:spPr/>
      <dgm:t>
        <a:bodyPr/>
        <a:lstStyle/>
        <a:p>
          <a:endParaRPr lang="en-US"/>
        </a:p>
      </dgm:t>
    </dgm:pt>
    <dgm:pt modelId="{27CC80E9-9365-4162-AE0E-A5B775AEB015}" type="sibTrans" cxnId="{C3AA2864-E8ED-4283-8598-B9E3472545E0}">
      <dgm:prSet/>
      <dgm:spPr/>
      <dgm:t>
        <a:bodyPr/>
        <a:lstStyle/>
        <a:p>
          <a:endParaRPr lang="en-US"/>
        </a:p>
      </dgm:t>
    </dgm:pt>
    <dgm:pt modelId="{BF3FFEE1-25A8-4DFD-B221-EA5CB01EB634}">
      <dgm:prSet phldrT="[Text]"/>
      <dgm:spPr/>
      <dgm:t>
        <a:bodyPr/>
        <a:lstStyle/>
        <a:p>
          <a:r>
            <a:rPr lang="en-US" b="1"/>
            <a:t>December 7, 2023: </a:t>
          </a:r>
          <a:r>
            <a:rPr lang="en-US"/>
            <a:t>December Office Hour Session</a:t>
          </a:r>
        </a:p>
      </dgm:t>
    </dgm:pt>
    <dgm:pt modelId="{6F51914A-C59E-4723-A361-8734100A7E70}" type="parTrans" cxnId="{C6017724-6930-4CFE-B921-793BB99F6E00}">
      <dgm:prSet/>
      <dgm:spPr/>
      <dgm:t>
        <a:bodyPr/>
        <a:lstStyle/>
        <a:p>
          <a:endParaRPr lang="en-US"/>
        </a:p>
      </dgm:t>
    </dgm:pt>
    <dgm:pt modelId="{DFB9F2EC-D853-46BC-8E4F-383A09CD4381}" type="sibTrans" cxnId="{C6017724-6930-4CFE-B921-793BB99F6E00}">
      <dgm:prSet/>
      <dgm:spPr/>
      <dgm:t>
        <a:bodyPr/>
        <a:lstStyle/>
        <a:p>
          <a:endParaRPr lang="en-US"/>
        </a:p>
      </dgm:t>
    </dgm:pt>
    <dgm:pt modelId="{CC4FF5DA-8C9E-487F-8867-C7819DDCCB1D}">
      <dgm:prSet phldrT="[Text]"/>
      <dgm:spPr/>
      <dgm:t>
        <a:bodyPr/>
        <a:lstStyle/>
        <a:p>
          <a:r>
            <a:rPr lang="en-US" b="1"/>
            <a:t>December 31, 2023: </a:t>
          </a:r>
          <a:r>
            <a:rPr lang="en-US"/>
            <a:t>Application Due Date</a:t>
          </a:r>
        </a:p>
      </dgm:t>
    </dgm:pt>
    <dgm:pt modelId="{57804404-1E5E-4F76-B392-F723361665C9}" type="parTrans" cxnId="{D2426409-22B0-4207-B45F-6999ECE2F4F6}">
      <dgm:prSet/>
      <dgm:spPr/>
      <dgm:t>
        <a:bodyPr/>
        <a:lstStyle/>
        <a:p>
          <a:endParaRPr lang="en-US"/>
        </a:p>
      </dgm:t>
    </dgm:pt>
    <dgm:pt modelId="{E7906914-42D2-4164-94EA-2E8757950E35}" type="sibTrans" cxnId="{D2426409-22B0-4207-B45F-6999ECE2F4F6}">
      <dgm:prSet/>
      <dgm:spPr/>
      <dgm:t>
        <a:bodyPr/>
        <a:lstStyle/>
        <a:p>
          <a:endParaRPr lang="en-US"/>
        </a:p>
      </dgm:t>
    </dgm:pt>
    <dgm:pt modelId="{0B59FF16-98E2-46D0-B65D-BF5233580EDE}">
      <dgm:prSet phldrT="[Text]"/>
      <dgm:spPr/>
      <dgm:t>
        <a:bodyPr/>
        <a:lstStyle/>
        <a:p>
          <a:r>
            <a:rPr lang="en-US" b="1"/>
            <a:t>Early Spring 2024: </a:t>
          </a:r>
          <a:r>
            <a:rPr lang="en-US"/>
            <a:t>Final Selection Date</a:t>
          </a:r>
        </a:p>
      </dgm:t>
    </dgm:pt>
    <dgm:pt modelId="{23AF1867-1A23-4B9C-A215-C438F07543AC}" type="parTrans" cxnId="{CAA845C7-A84B-48D7-92E0-F3ABDFAD3DA4}">
      <dgm:prSet/>
      <dgm:spPr/>
      <dgm:t>
        <a:bodyPr/>
        <a:lstStyle/>
        <a:p>
          <a:endParaRPr lang="en-US"/>
        </a:p>
      </dgm:t>
    </dgm:pt>
    <dgm:pt modelId="{20871C99-C3FD-470E-BEB6-AB8C89CA9F8A}" type="sibTrans" cxnId="{CAA845C7-A84B-48D7-92E0-F3ABDFAD3DA4}">
      <dgm:prSet/>
      <dgm:spPr/>
      <dgm:t>
        <a:bodyPr/>
        <a:lstStyle/>
        <a:p>
          <a:endParaRPr lang="en-US"/>
        </a:p>
      </dgm:t>
    </dgm:pt>
    <dgm:pt modelId="{A4AA8068-4794-4BD5-A362-225DB9245735}">
      <dgm:prSet phldrT="[Text]"/>
      <dgm:spPr/>
      <dgm:t>
        <a:bodyPr/>
        <a:lstStyle/>
        <a:p>
          <a:r>
            <a:rPr lang="en-US" b="1"/>
            <a:t>Spring 2024: </a:t>
          </a:r>
          <a:r>
            <a:rPr lang="en-US"/>
            <a:t>Grant Distribution and Third-party Assessment Qualification</a:t>
          </a:r>
        </a:p>
      </dgm:t>
    </dgm:pt>
    <dgm:pt modelId="{EEC8DFED-BB7B-4916-B42D-EC5EBE14E6D7}" type="parTrans" cxnId="{7378A201-31F0-42CF-94C0-9A2C7AD2B882}">
      <dgm:prSet/>
      <dgm:spPr/>
      <dgm:t>
        <a:bodyPr/>
        <a:lstStyle/>
        <a:p>
          <a:endParaRPr lang="en-US"/>
        </a:p>
      </dgm:t>
    </dgm:pt>
    <dgm:pt modelId="{A2D985ED-5B9B-4F1E-89ED-8C41C1D46EE9}" type="sibTrans" cxnId="{7378A201-31F0-42CF-94C0-9A2C7AD2B882}">
      <dgm:prSet/>
      <dgm:spPr/>
      <dgm:t>
        <a:bodyPr/>
        <a:lstStyle/>
        <a:p>
          <a:endParaRPr lang="en-US"/>
        </a:p>
      </dgm:t>
    </dgm:pt>
    <dgm:pt modelId="{96479E7D-A4AD-4BDB-AAEB-6C848A7AD6FA}" type="pres">
      <dgm:prSet presAssocID="{1BBB7767-4D78-4BF8-983E-7A0B816939CE}" presName="Name0" presStyleCnt="0">
        <dgm:presLayoutVars>
          <dgm:dir/>
          <dgm:resizeHandles val="exact"/>
        </dgm:presLayoutVars>
      </dgm:prSet>
      <dgm:spPr/>
    </dgm:pt>
    <dgm:pt modelId="{2D3C6E23-08C5-48A2-852B-00003C043366}" type="pres">
      <dgm:prSet presAssocID="{1BBB7767-4D78-4BF8-983E-7A0B816939CE}" presName="arrow" presStyleLbl="bgShp" presStyleIdx="0" presStyleCnt="1"/>
      <dgm:spPr/>
    </dgm:pt>
    <dgm:pt modelId="{C55CE37A-61E4-47A3-B84E-56DD2064EA63}" type="pres">
      <dgm:prSet presAssocID="{1BBB7767-4D78-4BF8-983E-7A0B816939CE}" presName="points" presStyleCnt="0"/>
      <dgm:spPr/>
    </dgm:pt>
    <dgm:pt modelId="{90D2B0C4-CFEF-4744-BA66-AD4B519002E4}" type="pres">
      <dgm:prSet presAssocID="{7127732D-488E-4A3D-A758-29F832F2216C}" presName="compositeA" presStyleCnt="0"/>
      <dgm:spPr/>
    </dgm:pt>
    <dgm:pt modelId="{C64284F8-5A4B-4F2C-A9EF-2CCE6AC25063}" type="pres">
      <dgm:prSet presAssocID="{7127732D-488E-4A3D-A758-29F832F2216C}" presName="textA" presStyleLbl="revTx" presStyleIdx="0" presStyleCnt="7">
        <dgm:presLayoutVars>
          <dgm:bulletEnabled val="1"/>
        </dgm:presLayoutVars>
      </dgm:prSet>
      <dgm:spPr/>
    </dgm:pt>
    <dgm:pt modelId="{9BA321EF-0F5D-4859-8D8C-90F94F3E9B34}" type="pres">
      <dgm:prSet presAssocID="{7127732D-488E-4A3D-A758-29F832F2216C}" presName="circleA" presStyleLbl="node1" presStyleIdx="0" presStyleCnt="7"/>
      <dgm:spPr/>
    </dgm:pt>
    <dgm:pt modelId="{25C71C4C-6A7F-41BC-8DFF-098C485F3295}" type="pres">
      <dgm:prSet presAssocID="{7127732D-488E-4A3D-A758-29F832F2216C}" presName="spaceA" presStyleCnt="0"/>
      <dgm:spPr/>
    </dgm:pt>
    <dgm:pt modelId="{6CF65D1D-4DE0-4ABD-8318-A382BD65D83D}" type="pres">
      <dgm:prSet presAssocID="{3D160681-CBDE-4427-9F47-D82F8B5200C0}" presName="space" presStyleCnt="0"/>
      <dgm:spPr/>
    </dgm:pt>
    <dgm:pt modelId="{2D0B45B6-DE42-418E-8D6F-F7C1EC214506}" type="pres">
      <dgm:prSet presAssocID="{CE373D40-458B-4505-944F-D157CD339A4F}" presName="compositeB" presStyleCnt="0"/>
      <dgm:spPr/>
    </dgm:pt>
    <dgm:pt modelId="{FE7AD5B7-971B-43A4-B49C-4E2B3CBF4E77}" type="pres">
      <dgm:prSet presAssocID="{CE373D40-458B-4505-944F-D157CD339A4F}" presName="textB" presStyleLbl="revTx" presStyleIdx="1" presStyleCnt="7">
        <dgm:presLayoutVars>
          <dgm:bulletEnabled val="1"/>
        </dgm:presLayoutVars>
      </dgm:prSet>
      <dgm:spPr/>
    </dgm:pt>
    <dgm:pt modelId="{68A14006-830C-425B-A746-31BD4F171DBD}" type="pres">
      <dgm:prSet presAssocID="{CE373D40-458B-4505-944F-D157CD339A4F}" presName="circleB" presStyleLbl="node1" presStyleIdx="1" presStyleCnt="7"/>
      <dgm:spPr/>
    </dgm:pt>
    <dgm:pt modelId="{70078D4D-C2EB-429B-AC59-900221BF9317}" type="pres">
      <dgm:prSet presAssocID="{CE373D40-458B-4505-944F-D157CD339A4F}" presName="spaceB" presStyleCnt="0"/>
      <dgm:spPr/>
    </dgm:pt>
    <dgm:pt modelId="{0CB160DC-D32B-43D5-9A06-437A62805C9B}" type="pres">
      <dgm:prSet presAssocID="{36C4B464-E654-492F-A06B-567BA2B6C894}" presName="space" presStyleCnt="0"/>
      <dgm:spPr/>
    </dgm:pt>
    <dgm:pt modelId="{BC32EC65-731C-4A59-A8E1-46686494316D}" type="pres">
      <dgm:prSet presAssocID="{A06DF6E7-FA9D-4DD1-B694-23B421F82B63}" presName="compositeA" presStyleCnt="0"/>
      <dgm:spPr/>
    </dgm:pt>
    <dgm:pt modelId="{D1389F0A-D818-4FA3-95B7-747D1C0F39ED}" type="pres">
      <dgm:prSet presAssocID="{A06DF6E7-FA9D-4DD1-B694-23B421F82B63}" presName="textA" presStyleLbl="revTx" presStyleIdx="2" presStyleCnt="7">
        <dgm:presLayoutVars>
          <dgm:bulletEnabled val="1"/>
        </dgm:presLayoutVars>
      </dgm:prSet>
      <dgm:spPr/>
    </dgm:pt>
    <dgm:pt modelId="{E458E35A-973B-407F-BDFE-CDFEEC533DC0}" type="pres">
      <dgm:prSet presAssocID="{A06DF6E7-FA9D-4DD1-B694-23B421F82B63}" presName="circleA" presStyleLbl="node1" presStyleIdx="2" presStyleCnt="7"/>
      <dgm:spPr/>
    </dgm:pt>
    <dgm:pt modelId="{CD34DF88-DCF7-41E9-86F6-EE6137BB4CF2}" type="pres">
      <dgm:prSet presAssocID="{A06DF6E7-FA9D-4DD1-B694-23B421F82B63}" presName="spaceA" presStyleCnt="0"/>
      <dgm:spPr/>
    </dgm:pt>
    <dgm:pt modelId="{FA952E4E-635D-4B11-914F-45145AD96996}" type="pres">
      <dgm:prSet presAssocID="{27CC80E9-9365-4162-AE0E-A5B775AEB015}" presName="space" presStyleCnt="0"/>
      <dgm:spPr/>
    </dgm:pt>
    <dgm:pt modelId="{E97607CD-0E0C-47E0-832F-9E1D7E640E1D}" type="pres">
      <dgm:prSet presAssocID="{BF3FFEE1-25A8-4DFD-B221-EA5CB01EB634}" presName="compositeB" presStyleCnt="0"/>
      <dgm:spPr/>
    </dgm:pt>
    <dgm:pt modelId="{56658D39-3D6A-4CA8-9DF9-F66C2AD9A19E}" type="pres">
      <dgm:prSet presAssocID="{BF3FFEE1-25A8-4DFD-B221-EA5CB01EB634}" presName="textB" presStyleLbl="revTx" presStyleIdx="3" presStyleCnt="7">
        <dgm:presLayoutVars>
          <dgm:bulletEnabled val="1"/>
        </dgm:presLayoutVars>
      </dgm:prSet>
      <dgm:spPr/>
    </dgm:pt>
    <dgm:pt modelId="{5CB5EB3C-DEAC-43BC-96C5-9AA3EEF6A2CA}" type="pres">
      <dgm:prSet presAssocID="{BF3FFEE1-25A8-4DFD-B221-EA5CB01EB634}" presName="circleB" presStyleLbl="node1" presStyleIdx="3" presStyleCnt="7"/>
      <dgm:spPr/>
    </dgm:pt>
    <dgm:pt modelId="{02030619-619C-43B3-8E3E-84CFCDC9E189}" type="pres">
      <dgm:prSet presAssocID="{BF3FFEE1-25A8-4DFD-B221-EA5CB01EB634}" presName="spaceB" presStyleCnt="0"/>
      <dgm:spPr/>
    </dgm:pt>
    <dgm:pt modelId="{77283604-0822-4B36-A7E1-55671B54F06F}" type="pres">
      <dgm:prSet presAssocID="{DFB9F2EC-D853-46BC-8E4F-383A09CD4381}" presName="space" presStyleCnt="0"/>
      <dgm:spPr/>
    </dgm:pt>
    <dgm:pt modelId="{A68D8E91-9BBA-4AAF-9B67-39AEF907BDB5}" type="pres">
      <dgm:prSet presAssocID="{CC4FF5DA-8C9E-487F-8867-C7819DDCCB1D}" presName="compositeA" presStyleCnt="0"/>
      <dgm:spPr/>
    </dgm:pt>
    <dgm:pt modelId="{E984FE60-F05B-474D-AC3F-1FF176256C95}" type="pres">
      <dgm:prSet presAssocID="{CC4FF5DA-8C9E-487F-8867-C7819DDCCB1D}" presName="textA" presStyleLbl="revTx" presStyleIdx="4" presStyleCnt="7">
        <dgm:presLayoutVars>
          <dgm:bulletEnabled val="1"/>
        </dgm:presLayoutVars>
      </dgm:prSet>
      <dgm:spPr/>
    </dgm:pt>
    <dgm:pt modelId="{9F83A71E-801C-42F9-8882-EFFD481904A5}" type="pres">
      <dgm:prSet presAssocID="{CC4FF5DA-8C9E-487F-8867-C7819DDCCB1D}" presName="circleA" presStyleLbl="node1" presStyleIdx="4" presStyleCnt="7"/>
      <dgm:spPr/>
    </dgm:pt>
    <dgm:pt modelId="{18EA8533-02BC-455F-977A-E2E49442ECAE}" type="pres">
      <dgm:prSet presAssocID="{CC4FF5DA-8C9E-487F-8867-C7819DDCCB1D}" presName="spaceA" presStyleCnt="0"/>
      <dgm:spPr/>
    </dgm:pt>
    <dgm:pt modelId="{08BE62A0-C201-4701-868E-3DBE3D3C4C5A}" type="pres">
      <dgm:prSet presAssocID="{E7906914-42D2-4164-94EA-2E8757950E35}" presName="space" presStyleCnt="0"/>
      <dgm:spPr/>
    </dgm:pt>
    <dgm:pt modelId="{4D0E10A9-2467-444B-9484-2E9874C82AED}" type="pres">
      <dgm:prSet presAssocID="{0B59FF16-98E2-46D0-B65D-BF5233580EDE}" presName="compositeB" presStyleCnt="0"/>
      <dgm:spPr/>
    </dgm:pt>
    <dgm:pt modelId="{2820B09A-C703-4760-A31F-832134D6F81B}" type="pres">
      <dgm:prSet presAssocID="{0B59FF16-98E2-46D0-B65D-BF5233580EDE}" presName="textB" presStyleLbl="revTx" presStyleIdx="5" presStyleCnt="7">
        <dgm:presLayoutVars>
          <dgm:bulletEnabled val="1"/>
        </dgm:presLayoutVars>
      </dgm:prSet>
      <dgm:spPr/>
    </dgm:pt>
    <dgm:pt modelId="{B0F4AFB4-5623-4952-9703-580D5610DB66}" type="pres">
      <dgm:prSet presAssocID="{0B59FF16-98E2-46D0-B65D-BF5233580EDE}" presName="circleB" presStyleLbl="node1" presStyleIdx="5" presStyleCnt="7"/>
      <dgm:spPr/>
    </dgm:pt>
    <dgm:pt modelId="{8FBF2872-5822-4626-8DC9-EF5F52346DD8}" type="pres">
      <dgm:prSet presAssocID="{0B59FF16-98E2-46D0-B65D-BF5233580EDE}" presName="spaceB" presStyleCnt="0"/>
      <dgm:spPr/>
    </dgm:pt>
    <dgm:pt modelId="{5D2FDAFE-97C6-49EB-9C43-94042A2838F5}" type="pres">
      <dgm:prSet presAssocID="{20871C99-C3FD-470E-BEB6-AB8C89CA9F8A}" presName="space" presStyleCnt="0"/>
      <dgm:spPr/>
    </dgm:pt>
    <dgm:pt modelId="{6E5BDF84-BA49-4328-A91B-4ECA23A0D9AA}" type="pres">
      <dgm:prSet presAssocID="{A4AA8068-4794-4BD5-A362-225DB9245735}" presName="compositeA" presStyleCnt="0"/>
      <dgm:spPr/>
    </dgm:pt>
    <dgm:pt modelId="{B78C18B4-0C21-4ED6-AB52-8BC6CA0F061A}" type="pres">
      <dgm:prSet presAssocID="{A4AA8068-4794-4BD5-A362-225DB9245735}" presName="textA" presStyleLbl="revTx" presStyleIdx="6" presStyleCnt="7">
        <dgm:presLayoutVars>
          <dgm:bulletEnabled val="1"/>
        </dgm:presLayoutVars>
      </dgm:prSet>
      <dgm:spPr/>
    </dgm:pt>
    <dgm:pt modelId="{F9FF7874-DB7D-4F23-BE52-29B81BC34086}" type="pres">
      <dgm:prSet presAssocID="{A4AA8068-4794-4BD5-A362-225DB9245735}" presName="circleA" presStyleLbl="node1" presStyleIdx="6" presStyleCnt="7"/>
      <dgm:spPr/>
    </dgm:pt>
    <dgm:pt modelId="{1EBBA9E5-2BB0-4690-9F08-30EE5201EC13}" type="pres">
      <dgm:prSet presAssocID="{A4AA8068-4794-4BD5-A362-225DB9245735}" presName="spaceA" presStyleCnt="0"/>
      <dgm:spPr/>
    </dgm:pt>
  </dgm:ptLst>
  <dgm:cxnLst>
    <dgm:cxn modelId="{7378A201-31F0-42CF-94C0-9A2C7AD2B882}" srcId="{1BBB7767-4D78-4BF8-983E-7A0B816939CE}" destId="{A4AA8068-4794-4BD5-A362-225DB9245735}" srcOrd="6" destOrd="0" parTransId="{EEC8DFED-BB7B-4916-B42D-EC5EBE14E6D7}" sibTransId="{A2D985ED-5B9B-4F1E-89ED-8C41C1D46EE9}"/>
    <dgm:cxn modelId="{230AFB04-5B2D-4BA5-BC00-966F07761C43}" type="presOf" srcId="{0B59FF16-98E2-46D0-B65D-BF5233580EDE}" destId="{2820B09A-C703-4760-A31F-832134D6F81B}" srcOrd="0" destOrd="0" presId="urn:microsoft.com/office/officeart/2005/8/layout/hProcess11"/>
    <dgm:cxn modelId="{D2426409-22B0-4207-B45F-6999ECE2F4F6}" srcId="{1BBB7767-4D78-4BF8-983E-7A0B816939CE}" destId="{CC4FF5DA-8C9E-487F-8867-C7819DDCCB1D}" srcOrd="4" destOrd="0" parTransId="{57804404-1E5E-4F76-B392-F723361665C9}" sibTransId="{E7906914-42D2-4164-94EA-2E8757950E35}"/>
    <dgm:cxn modelId="{B007541D-B2FE-4137-9033-F65A084F98DF}" srcId="{1BBB7767-4D78-4BF8-983E-7A0B816939CE}" destId="{7127732D-488E-4A3D-A758-29F832F2216C}" srcOrd="0" destOrd="0" parTransId="{F8AC4C41-C7CB-45CD-BE73-73349D3FC92B}" sibTransId="{3D160681-CBDE-4427-9F47-D82F8B5200C0}"/>
    <dgm:cxn modelId="{C6017724-6930-4CFE-B921-793BB99F6E00}" srcId="{1BBB7767-4D78-4BF8-983E-7A0B816939CE}" destId="{BF3FFEE1-25A8-4DFD-B221-EA5CB01EB634}" srcOrd="3" destOrd="0" parTransId="{6F51914A-C59E-4723-A361-8734100A7E70}" sibTransId="{DFB9F2EC-D853-46BC-8E4F-383A09CD4381}"/>
    <dgm:cxn modelId="{E7D9F13F-7810-46D3-8EFD-6724650D2038}" type="presOf" srcId="{7127732D-488E-4A3D-A758-29F832F2216C}" destId="{C64284F8-5A4B-4F2C-A9EF-2CCE6AC25063}" srcOrd="0" destOrd="0" presId="urn:microsoft.com/office/officeart/2005/8/layout/hProcess11"/>
    <dgm:cxn modelId="{0AAC045B-27F8-40A6-9F32-40562DFD8ABC}" type="presOf" srcId="{A4AA8068-4794-4BD5-A362-225DB9245735}" destId="{B78C18B4-0C21-4ED6-AB52-8BC6CA0F061A}" srcOrd="0" destOrd="0" presId="urn:microsoft.com/office/officeart/2005/8/layout/hProcess11"/>
    <dgm:cxn modelId="{E47B8563-9271-40E9-B918-DCB7F5FDDD80}" type="presOf" srcId="{CC4FF5DA-8C9E-487F-8867-C7819DDCCB1D}" destId="{E984FE60-F05B-474D-AC3F-1FF176256C95}" srcOrd="0" destOrd="0" presId="urn:microsoft.com/office/officeart/2005/8/layout/hProcess11"/>
    <dgm:cxn modelId="{C3AA2864-E8ED-4283-8598-B9E3472545E0}" srcId="{1BBB7767-4D78-4BF8-983E-7A0B816939CE}" destId="{A06DF6E7-FA9D-4DD1-B694-23B421F82B63}" srcOrd="2" destOrd="0" parTransId="{EC61C676-197E-4723-A526-5358AA7DF95E}" sibTransId="{27CC80E9-9365-4162-AE0E-A5B775AEB015}"/>
    <dgm:cxn modelId="{0D31ACB2-4C1A-4CF2-9AE1-7FE14FF22F1C}" type="presOf" srcId="{1BBB7767-4D78-4BF8-983E-7A0B816939CE}" destId="{96479E7D-A4AD-4BDB-AAEB-6C848A7AD6FA}" srcOrd="0" destOrd="0" presId="urn:microsoft.com/office/officeart/2005/8/layout/hProcess11"/>
    <dgm:cxn modelId="{CAA845C7-A84B-48D7-92E0-F3ABDFAD3DA4}" srcId="{1BBB7767-4D78-4BF8-983E-7A0B816939CE}" destId="{0B59FF16-98E2-46D0-B65D-BF5233580EDE}" srcOrd="5" destOrd="0" parTransId="{23AF1867-1A23-4B9C-A215-C438F07543AC}" sibTransId="{20871C99-C3FD-470E-BEB6-AB8C89CA9F8A}"/>
    <dgm:cxn modelId="{A12472E2-0CD9-41AA-B399-6A487F254035}" srcId="{1BBB7767-4D78-4BF8-983E-7A0B816939CE}" destId="{CE373D40-458B-4505-944F-D157CD339A4F}" srcOrd="1" destOrd="0" parTransId="{33E8811F-CFFE-4697-A88A-C1B2ACCC95A6}" sibTransId="{36C4B464-E654-492F-A06B-567BA2B6C894}"/>
    <dgm:cxn modelId="{93DAA1E6-4CA2-4E17-87A4-B6110CB4E318}" type="presOf" srcId="{A06DF6E7-FA9D-4DD1-B694-23B421F82B63}" destId="{D1389F0A-D818-4FA3-95B7-747D1C0F39ED}" srcOrd="0" destOrd="0" presId="urn:microsoft.com/office/officeart/2005/8/layout/hProcess11"/>
    <dgm:cxn modelId="{231352E8-4971-428B-A09E-AF3F90CF2CCC}" type="presOf" srcId="{BF3FFEE1-25A8-4DFD-B221-EA5CB01EB634}" destId="{56658D39-3D6A-4CA8-9DF9-F66C2AD9A19E}" srcOrd="0" destOrd="0" presId="urn:microsoft.com/office/officeart/2005/8/layout/hProcess11"/>
    <dgm:cxn modelId="{62B7E6FF-2E08-4FEA-92FA-CAA2D4302A68}" type="presOf" srcId="{CE373D40-458B-4505-944F-D157CD339A4F}" destId="{FE7AD5B7-971B-43A4-B49C-4E2B3CBF4E77}" srcOrd="0" destOrd="0" presId="urn:microsoft.com/office/officeart/2005/8/layout/hProcess11"/>
    <dgm:cxn modelId="{F3F8239C-9E04-406B-809C-2A01E2D6E239}" type="presParOf" srcId="{96479E7D-A4AD-4BDB-AAEB-6C848A7AD6FA}" destId="{2D3C6E23-08C5-48A2-852B-00003C043366}" srcOrd="0" destOrd="0" presId="urn:microsoft.com/office/officeart/2005/8/layout/hProcess11"/>
    <dgm:cxn modelId="{018274F3-E442-410A-9E89-443726916E3F}" type="presParOf" srcId="{96479E7D-A4AD-4BDB-AAEB-6C848A7AD6FA}" destId="{C55CE37A-61E4-47A3-B84E-56DD2064EA63}" srcOrd="1" destOrd="0" presId="urn:microsoft.com/office/officeart/2005/8/layout/hProcess11"/>
    <dgm:cxn modelId="{72682A0C-07F0-4E49-A6F1-9848F0ABC872}" type="presParOf" srcId="{C55CE37A-61E4-47A3-B84E-56DD2064EA63}" destId="{90D2B0C4-CFEF-4744-BA66-AD4B519002E4}" srcOrd="0" destOrd="0" presId="urn:microsoft.com/office/officeart/2005/8/layout/hProcess11"/>
    <dgm:cxn modelId="{FF91325E-E628-4C68-9E15-29F418731BB8}" type="presParOf" srcId="{90D2B0C4-CFEF-4744-BA66-AD4B519002E4}" destId="{C64284F8-5A4B-4F2C-A9EF-2CCE6AC25063}" srcOrd="0" destOrd="0" presId="urn:microsoft.com/office/officeart/2005/8/layout/hProcess11"/>
    <dgm:cxn modelId="{B070D10A-062B-4924-8C10-846DAD84CB3E}" type="presParOf" srcId="{90D2B0C4-CFEF-4744-BA66-AD4B519002E4}" destId="{9BA321EF-0F5D-4859-8D8C-90F94F3E9B34}" srcOrd="1" destOrd="0" presId="urn:microsoft.com/office/officeart/2005/8/layout/hProcess11"/>
    <dgm:cxn modelId="{0C8BC821-BAF7-447A-9507-F7B47B48CDA5}" type="presParOf" srcId="{90D2B0C4-CFEF-4744-BA66-AD4B519002E4}" destId="{25C71C4C-6A7F-41BC-8DFF-098C485F3295}" srcOrd="2" destOrd="0" presId="urn:microsoft.com/office/officeart/2005/8/layout/hProcess11"/>
    <dgm:cxn modelId="{18F2FC5E-395D-4262-84D6-29F9A72EFF32}" type="presParOf" srcId="{C55CE37A-61E4-47A3-B84E-56DD2064EA63}" destId="{6CF65D1D-4DE0-4ABD-8318-A382BD65D83D}" srcOrd="1" destOrd="0" presId="urn:microsoft.com/office/officeart/2005/8/layout/hProcess11"/>
    <dgm:cxn modelId="{1FB63BD3-ABF1-45CC-9AD7-49427C06F164}" type="presParOf" srcId="{C55CE37A-61E4-47A3-B84E-56DD2064EA63}" destId="{2D0B45B6-DE42-418E-8D6F-F7C1EC214506}" srcOrd="2" destOrd="0" presId="urn:microsoft.com/office/officeart/2005/8/layout/hProcess11"/>
    <dgm:cxn modelId="{C6FC8A5D-9968-4533-8F1B-52BC213F2C76}" type="presParOf" srcId="{2D0B45B6-DE42-418E-8D6F-F7C1EC214506}" destId="{FE7AD5B7-971B-43A4-B49C-4E2B3CBF4E77}" srcOrd="0" destOrd="0" presId="urn:microsoft.com/office/officeart/2005/8/layout/hProcess11"/>
    <dgm:cxn modelId="{9C58832A-FCE3-4481-9D74-CAD2CFF0FF01}" type="presParOf" srcId="{2D0B45B6-DE42-418E-8D6F-F7C1EC214506}" destId="{68A14006-830C-425B-A746-31BD4F171DBD}" srcOrd="1" destOrd="0" presId="urn:microsoft.com/office/officeart/2005/8/layout/hProcess11"/>
    <dgm:cxn modelId="{0536F9D8-10DB-4CFB-A83B-E497C0F5E06B}" type="presParOf" srcId="{2D0B45B6-DE42-418E-8D6F-F7C1EC214506}" destId="{70078D4D-C2EB-429B-AC59-900221BF9317}" srcOrd="2" destOrd="0" presId="urn:microsoft.com/office/officeart/2005/8/layout/hProcess11"/>
    <dgm:cxn modelId="{AE0C0C3A-C035-4364-BC44-AB3024735612}" type="presParOf" srcId="{C55CE37A-61E4-47A3-B84E-56DD2064EA63}" destId="{0CB160DC-D32B-43D5-9A06-437A62805C9B}" srcOrd="3" destOrd="0" presId="urn:microsoft.com/office/officeart/2005/8/layout/hProcess11"/>
    <dgm:cxn modelId="{965AD622-87DD-4923-BA0D-E9092F9455ED}" type="presParOf" srcId="{C55CE37A-61E4-47A3-B84E-56DD2064EA63}" destId="{BC32EC65-731C-4A59-A8E1-46686494316D}" srcOrd="4" destOrd="0" presId="urn:microsoft.com/office/officeart/2005/8/layout/hProcess11"/>
    <dgm:cxn modelId="{FD062ED0-E98D-4CFD-A00F-B6DCDA8ECB9D}" type="presParOf" srcId="{BC32EC65-731C-4A59-A8E1-46686494316D}" destId="{D1389F0A-D818-4FA3-95B7-747D1C0F39ED}" srcOrd="0" destOrd="0" presId="urn:microsoft.com/office/officeart/2005/8/layout/hProcess11"/>
    <dgm:cxn modelId="{F45E9BE3-0A04-4028-8BE0-B3AF07FE7C07}" type="presParOf" srcId="{BC32EC65-731C-4A59-A8E1-46686494316D}" destId="{E458E35A-973B-407F-BDFE-CDFEEC533DC0}" srcOrd="1" destOrd="0" presId="urn:microsoft.com/office/officeart/2005/8/layout/hProcess11"/>
    <dgm:cxn modelId="{749CD15E-23D4-46B8-8192-9ECE0BC18A0B}" type="presParOf" srcId="{BC32EC65-731C-4A59-A8E1-46686494316D}" destId="{CD34DF88-DCF7-41E9-86F6-EE6137BB4CF2}" srcOrd="2" destOrd="0" presId="urn:microsoft.com/office/officeart/2005/8/layout/hProcess11"/>
    <dgm:cxn modelId="{61327BE0-8485-46EC-8463-3A41776ED274}" type="presParOf" srcId="{C55CE37A-61E4-47A3-B84E-56DD2064EA63}" destId="{FA952E4E-635D-4B11-914F-45145AD96996}" srcOrd="5" destOrd="0" presId="urn:microsoft.com/office/officeart/2005/8/layout/hProcess11"/>
    <dgm:cxn modelId="{099CF0EB-873A-4109-AA0D-AE81EFFF4B4E}" type="presParOf" srcId="{C55CE37A-61E4-47A3-B84E-56DD2064EA63}" destId="{E97607CD-0E0C-47E0-832F-9E1D7E640E1D}" srcOrd="6" destOrd="0" presId="urn:microsoft.com/office/officeart/2005/8/layout/hProcess11"/>
    <dgm:cxn modelId="{E234B294-8077-41E8-8553-2CF75B95F2BB}" type="presParOf" srcId="{E97607CD-0E0C-47E0-832F-9E1D7E640E1D}" destId="{56658D39-3D6A-4CA8-9DF9-F66C2AD9A19E}" srcOrd="0" destOrd="0" presId="urn:microsoft.com/office/officeart/2005/8/layout/hProcess11"/>
    <dgm:cxn modelId="{80708D3E-2D8E-48D4-9CB5-70B64C7D63F4}" type="presParOf" srcId="{E97607CD-0E0C-47E0-832F-9E1D7E640E1D}" destId="{5CB5EB3C-DEAC-43BC-96C5-9AA3EEF6A2CA}" srcOrd="1" destOrd="0" presId="urn:microsoft.com/office/officeart/2005/8/layout/hProcess11"/>
    <dgm:cxn modelId="{4D72302E-A4F3-4407-BC10-0379B8EB53F6}" type="presParOf" srcId="{E97607CD-0E0C-47E0-832F-9E1D7E640E1D}" destId="{02030619-619C-43B3-8E3E-84CFCDC9E189}" srcOrd="2" destOrd="0" presId="urn:microsoft.com/office/officeart/2005/8/layout/hProcess11"/>
    <dgm:cxn modelId="{68FC495A-0307-46B2-B476-1F89AE396927}" type="presParOf" srcId="{C55CE37A-61E4-47A3-B84E-56DD2064EA63}" destId="{77283604-0822-4B36-A7E1-55671B54F06F}" srcOrd="7" destOrd="0" presId="urn:microsoft.com/office/officeart/2005/8/layout/hProcess11"/>
    <dgm:cxn modelId="{18596FA8-3DBD-4519-9867-48B941CB94DB}" type="presParOf" srcId="{C55CE37A-61E4-47A3-B84E-56DD2064EA63}" destId="{A68D8E91-9BBA-4AAF-9B67-39AEF907BDB5}" srcOrd="8" destOrd="0" presId="urn:microsoft.com/office/officeart/2005/8/layout/hProcess11"/>
    <dgm:cxn modelId="{C73D6C01-DA71-4FFD-AF14-201ABC45C028}" type="presParOf" srcId="{A68D8E91-9BBA-4AAF-9B67-39AEF907BDB5}" destId="{E984FE60-F05B-474D-AC3F-1FF176256C95}" srcOrd="0" destOrd="0" presId="urn:microsoft.com/office/officeart/2005/8/layout/hProcess11"/>
    <dgm:cxn modelId="{A63117F2-0926-4DD8-A528-1EE3F8BEABA5}" type="presParOf" srcId="{A68D8E91-9BBA-4AAF-9B67-39AEF907BDB5}" destId="{9F83A71E-801C-42F9-8882-EFFD481904A5}" srcOrd="1" destOrd="0" presId="urn:microsoft.com/office/officeart/2005/8/layout/hProcess11"/>
    <dgm:cxn modelId="{0006F2E8-4830-460C-8B99-E94886B565CE}" type="presParOf" srcId="{A68D8E91-9BBA-4AAF-9B67-39AEF907BDB5}" destId="{18EA8533-02BC-455F-977A-E2E49442ECAE}" srcOrd="2" destOrd="0" presId="urn:microsoft.com/office/officeart/2005/8/layout/hProcess11"/>
    <dgm:cxn modelId="{99D987A9-8214-40ED-A59C-CFF586E7D4E0}" type="presParOf" srcId="{C55CE37A-61E4-47A3-B84E-56DD2064EA63}" destId="{08BE62A0-C201-4701-868E-3DBE3D3C4C5A}" srcOrd="9" destOrd="0" presId="urn:microsoft.com/office/officeart/2005/8/layout/hProcess11"/>
    <dgm:cxn modelId="{82AB5279-4EE2-4652-9628-7C80ACEE25F5}" type="presParOf" srcId="{C55CE37A-61E4-47A3-B84E-56DD2064EA63}" destId="{4D0E10A9-2467-444B-9484-2E9874C82AED}" srcOrd="10" destOrd="0" presId="urn:microsoft.com/office/officeart/2005/8/layout/hProcess11"/>
    <dgm:cxn modelId="{0B788139-22E2-4875-820D-4990B72F4083}" type="presParOf" srcId="{4D0E10A9-2467-444B-9484-2E9874C82AED}" destId="{2820B09A-C703-4760-A31F-832134D6F81B}" srcOrd="0" destOrd="0" presId="urn:microsoft.com/office/officeart/2005/8/layout/hProcess11"/>
    <dgm:cxn modelId="{09A35536-4F47-4685-959E-DF188C74E195}" type="presParOf" srcId="{4D0E10A9-2467-444B-9484-2E9874C82AED}" destId="{B0F4AFB4-5623-4952-9703-580D5610DB66}" srcOrd="1" destOrd="0" presId="urn:microsoft.com/office/officeart/2005/8/layout/hProcess11"/>
    <dgm:cxn modelId="{A38069AE-93B3-417B-818F-6116DEA25A06}" type="presParOf" srcId="{4D0E10A9-2467-444B-9484-2E9874C82AED}" destId="{8FBF2872-5822-4626-8DC9-EF5F52346DD8}" srcOrd="2" destOrd="0" presId="urn:microsoft.com/office/officeart/2005/8/layout/hProcess11"/>
    <dgm:cxn modelId="{0EC27530-7A1A-4743-9725-709AC0788391}" type="presParOf" srcId="{C55CE37A-61E4-47A3-B84E-56DD2064EA63}" destId="{5D2FDAFE-97C6-49EB-9C43-94042A2838F5}" srcOrd="11" destOrd="0" presId="urn:microsoft.com/office/officeart/2005/8/layout/hProcess11"/>
    <dgm:cxn modelId="{2B334F61-9439-4836-8219-C3E8937DABC1}" type="presParOf" srcId="{C55CE37A-61E4-47A3-B84E-56DD2064EA63}" destId="{6E5BDF84-BA49-4328-A91B-4ECA23A0D9AA}" srcOrd="12" destOrd="0" presId="urn:microsoft.com/office/officeart/2005/8/layout/hProcess11"/>
    <dgm:cxn modelId="{A6DCC7A1-2BDB-479B-8EF9-4BD845BF7162}" type="presParOf" srcId="{6E5BDF84-BA49-4328-A91B-4ECA23A0D9AA}" destId="{B78C18B4-0C21-4ED6-AB52-8BC6CA0F061A}" srcOrd="0" destOrd="0" presId="urn:microsoft.com/office/officeart/2005/8/layout/hProcess11"/>
    <dgm:cxn modelId="{9B4C0501-69B4-40B6-94F9-B2F35D902980}" type="presParOf" srcId="{6E5BDF84-BA49-4328-A91B-4ECA23A0D9AA}" destId="{F9FF7874-DB7D-4F23-BE52-29B81BC34086}" srcOrd="1" destOrd="0" presId="urn:microsoft.com/office/officeart/2005/8/layout/hProcess11"/>
    <dgm:cxn modelId="{5260D076-7D69-4BBA-BDAD-610D5A7690A7}" type="presParOf" srcId="{6E5BDF84-BA49-4328-A91B-4ECA23A0D9AA}" destId="{1EBBA9E5-2BB0-4690-9F08-30EE5201EC13}"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02C06FA-AA41-4DB9-906A-CE2BC65A1BC5}" type="doc">
      <dgm:prSet loTypeId="urn:microsoft.com/office/officeart/2005/8/layout/hProcess11" loCatId="process" qsTypeId="urn:microsoft.com/office/officeart/2005/8/quickstyle/simple1" qsCatId="simple" csTypeId="urn:microsoft.com/office/officeart/2005/8/colors/accent1_2" csCatId="accent1" phldr="1"/>
      <dgm:spPr/>
    </dgm:pt>
    <dgm:pt modelId="{B6E951C7-BA9A-40B5-A8E0-F728010DC589}">
      <dgm:prSet phldrT="[Text]" custT="1"/>
      <dgm:spPr/>
      <dgm:t>
        <a:bodyPr/>
        <a:lstStyle/>
        <a:p>
          <a:r>
            <a:rPr lang="en-US" sz="2000">
              <a:latin typeface="Avenir Book"/>
            </a:rPr>
            <a:t>Apply to be a Qualified Third-party Assessor</a:t>
          </a:r>
        </a:p>
      </dgm:t>
    </dgm:pt>
    <dgm:pt modelId="{5C7B8FB5-1CE7-4765-9188-E606934231F5}" type="parTrans" cxnId="{1C4893AD-FAE2-4771-B6DF-0B198333B441}">
      <dgm:prSet/>
      <dgm:spPr/>
      <dgm:t>
        <a:bodyPr/>
        <a:lstStyle/>
        <a:p>
          <a:endParaRPr lang="en-US" sz="1800">
            <a:latin typeface="Avenir Book"/>
          </a:endParaRPr>
        </a:p>
      </dgm:t>
    </dgm:pt>
    <dgm:pt modelId="{5B86870E-B467-4A0E-9016-97BDA223D6F9}" type="sibTrans" cxnId="{1C4893AD-FAE2-4771-B6DF-0B198333B441}">
      <dgm:prSet/>
      <dgm:spPr/>
      <dgm:t>
        <a:bodyPr/>
        <a:lstStyle/>
        <a:p>
          <a:endParaRPr lang="en-US" sz="1800">
            <a:latin typeface="Avenir Book"/>
          </a:endParaRPr>
        </a:p>
      </dgm:t>
    </dgm:pt>
    <dgm:pt modelId="{DE25B0B8-847A-4947-AEAC-A59BEB184D59}">
      <dgm:prSet phldrT="[Text]" custT="1"/>
      <dgm:spPr/>
      <dgm:t>
        <a:bodyPr/>
        <a:lstStyle/>
        <a:p>
          <a:r>
            <a:rPr lang="en-US" sz="2000">
              <a:latin typeface="Avenir Book"/>
            </a:rPr>
            <a:t>DOE to review Third-party Assessor Application</a:t>
          </a:r>
        </a:p>
      </dgm:t>
    </dgm:pt>
    <dgm:pt modelId="{4311CB00-3BC1-4BBD-A3E1-14649457090A}" type="parTrans" cxnId="{23FF21B4-C946-45EA-83B1-8B286F5653B9}">
      <dgm:prSet/>
      <dgm:spPr/>
      <dgm:t>
        <a:bodyPr/>
        <a:lstStyle/>
        <a:p>
          <a:endParaRPr lang="en-US" sz="1800">
            <a:latin typeface="Avenir Book"/>
          </a:endParaRPr>
        </a:p>
      </dgm:t>
    </dgm:pt>
    <dgm:pt modelId="{1D956C83-20F8-4CD5-B58B-F769D35EF59E}" type="sibTrans" cxnId="{23FF21B4-C946-45EA-83B1-8B286F5653B9}">
      <dgm:prSet/>
      <dgm:spPr/>
      <dgm:t>
        <a:bodyPr/>
        <a:lstStyle/>
        <a:p>
          <a:endParaRPr lang="en-US" sz="1800">
            <a:latin typeface="Avenir Book"/>
          </a:endParaRPr>
        </a:p>
      </dgm:t>
    </dgm:pt>
    <dgm:pt modelId="{F5640BE7-4507-478F-A526-B4D37C9E9B69}">
      <dgm:prSet phldrT="[Text]" custT="1"/>
      <dgm:spPr/>
      <dgm:t>
        <a:bodyPr/>
        <a:lstStyle/>
        <a:p>
          <a:r>
            <a:rPr lang="en-US" sz="2000">
              <a:latin typeface="Avenir Book"/>
            </a:rPr>
            <a:t>Selection of Third-party Assessor </a:t>
          </a:r>
        </a:p>
      </dgm:t>
    </dgm:pt>
    <dgm:pt modelId="{53D2A9F3-4393-4E5A-AA9E-C9F59AA0CDFD}" type="parTrans" cxnId="{6A00D0EA-7B8A-45F5-A308-0619815BF03E}">
      <dgm:prSet/>
      <dgm:spPr/>
      <dgm:t>
        <a:bodyPr/>
        <a:lstStyle/>
        <a:p>
          <a:endParaRPr lang="en-US" sz="1800">
            <a:latin typeface="Avenir Book"/>
          </a:endParaRPr>
        </a:p>
      </dgm:t>
    </dgm:pt>
    <dgm:pt modelId="{9569E912-A728-467B-A9C7-F1E51B7572E2}" type="sibTrans" cxnId="{6A00D0EA-7B8A-45F5-A308-0619815BF03E}">
      <dgm:prSet/>
      <dgm:spPr/>
      <dgm:t>
        <a:bodyPr/>
        <a:lstStyle/>
        <a:p>
          <a:endParaRPr lang="en-US" sz="1800">
            <a:latin typeface="Avenir Book"/>
          </a:endParaRPr>
        </a:p>
      </dgm:t>
    </dgm:pt>
    <dgm:pt modelId="{6D7F1707-3567-4226-8D3E-E335DC3CB991}">
      <dgm:prSet phldrT="[Text]" custT="1"/>
      <dgm:spPr/>
      <dgm:t>
        <a:bodyPr/>
        <a:lstStyle/>
        <a:p>
          <a:r>
            <a:rPr lang="en-US" sz="2000">
              <a:latin typeface="Avenir Book"/>
            </a:rPr>
            <a:t>Officially Qualified Third-party Assessor</a:t>
          </a:r>
        </a:p>
      </dgm:t>
    </dgm:pt>
    <dgm:pt modelId="{B0FD4062-1DA2-4AD2-8F21-08448C722B76}" type="parTrans" cxnId="{FA2BADCF-6A9C-4599-88A1-F50FF56BE5C6}">
      <dgm:prSet/>
      <dgm:spPr/>
      <dgm:t>
        <a:bodyPr/>
        <a:lstStyle/>
        <a:p>
          <a:endParaRPr lang="en-US" sz="1800">
            <a:latin typeface="Avenir Book"/>
          </a:endParaRPr>
        </a:p>
      </dgm:t>
    </dgm:pt>
    <dgm:pt modelId="{913C9E3B-2FEF-47FE-A1A2-87538B8F2828}" type="sibTrans" cxnId="{FA2BADCF-6A9C-4599-88A1-F50FF56BE5C6}">
      <dgm:prSet/>
      <dgm:spPr/>
      <dgm:t>
        <a:bodyPr/>
        <a:lstStyle/>
        <a:p>
          <a:endParaRPr lang="en-US" sz="1800">
            <a:latin typeface="Avenir Book"/>
          </a:endParaRPr>
        </a:p>
      </dgm:t>
    </dgm:pt>
    <dgm:pt modelId="{4BFDC810-27F7-4B4D-83D3-005647308660}">
      <dgm:prSet phldrT="[Text]" custT="1"/>
      <dgm:spPr/>
      <dgm:t>
        <a:bodyPr/>
        <a:lstStyle/>
        <a:p>
          <a:r>
            <a:rPr lang="en-US" sz="2000">
              <a:latin typeface="Avenir Book"/>
            </a:rPr>
            <a:t>Sign Memorandum of Understanding (MOU)</a:t>
          </a:r>
        </a:p>
      </dgm:t>
    </dgm:pt>
    <dgm:pt modelId="{BA3AF385-1BC7-447A-839F-0F1DC75DF1C8}" type="parTrans" cxnId="{810AC232-31E1-4947-AF14-7D67FD2EFFA1}">
      <dgm:prSet/>
      <dgm:spPr/>
      <dgm:t>
        <a:bodyPr/>
        <a:lstStyle/>
        <a:p>
          <a:endParaRPr lang="en-US" sz="1800">
            <a:latin typeface="Avenir Book"/>
          </a:endParaRPr>
        </a:p>
      </dgm:t>
    </dgm:pt>
    <dgm:pt modelId="{A95BD9F5-1FE8-4B74-BD96-FDEA0F9EDE8D}" type="sibTrans" cxnId="{810AC232-31E1-4947-AF14-7D67FD2EFFA1}">
      <dgm:prSet/>
      <dgm:spPr/>
      <dgm:t>
        <a:bodyPr/>
        <a:lstStyle/>
        <a:p>
          <a:endParaRPr lang="en-US" sz="1800">
            <a:latin typeface="Avenir Book"/>
          </a:endParaRPr>
        </a:p>
      </dgm:t>
    </dgm:pt>
    <dgm:pt modelId="{872AD35E-C41C-4338-958B-B0FFAA8193F9}" type="pres">
      <dgm:prSet presAssocID="{002C06FA-AA41-4DB9-906A-CE2BC65A1BC5}" presName="Name0" presStyleCnt="0">
        <dgm:presLayoutVars>
          <dgm:dir/>
          <dgm:resizeHandles val="exact"/>
        </dgm:presLayoutVars>
      </dgm:prSet>
      <dgm:spPr/>
    </dgm:pt>
    <dgm:pt modelId="{3411A1F2-C734-4A1B-84E1-F73F1DADE8DD}" type="pres">
      <dgm:prSet presAssocID="{002C06FA-AA41-4DB9-906A-CE2BC65A1BC5}" presName="arrow" presStyleLbl="bgShp" presStyleIdx="0" presStyleCnt="1"/>
      <dgm:spPr/>
    </dgm:pt>
    <dgm:pt modelId="{EDE5DB3A-D0F2-4C38-A528-3956ECB845EF}" type="pres">
      <dgm:prSet presAssocID="{002C06FA-AA41-4DB9-906A-CE2BC65A1BC5}" presName="points" presStyleCnt="0"/>
      <dgm:spPr/>
    </dgm:pt>
    <dgm:pt modelId="{141A82EB-F0A1-49AA-906F-D45C4462EDA8}" type="pres">
      <dgm:prSet presAssocID="{B6E951C7-BA9A-40B5-A8E0-F728010DC589}" presName="compositeA" presStyleCnt="0"/>
      <dgm:spPr/>
    </dgm:pt>
    <dgm:pt modelId="{D3F68C00-9A64-435F-940E-1F6970A9991A}" type="pres">
      <dgm:prSet presAssocID="{B6E951C7-BA9A-40B5-A8E0-F728010DC589}" presName="textA" presStyleLbl="revTx" presStyleIdx="0" presStyleCnt="5">
        <dgm:presLayoutVars>
          <dgm:bulletEnabled val="1"/>
        </dgm:presLayoutVars>
      </dgm:prSet>
      <dgm:spPr/>
    </dgm:pt>
    <dgm:pt modelId="{3244F610-9E4C-4874-A19A-B1BBECC7353D}" type="pres">
      <dgm:prSet presAssocID="{B6E951C7-BA9A-40B5-A8E0-F728010DC589}" presName="circleA" presStyleLbl="node1" presStyleIdx="0" presStyleCnt="5"/>
      <dgm:spPr/>
    </dgm:pt>
    <dgm:pt modelId="{0660E74B-DE9C-46ED-8217-4B06B83DC822}" type="pres">
      <dgm:prSet presAssocID="{B6E951C7-BA9A-40B5-A8E0-F728010DC589}" presName="spaceA" presStyleCnt="0"/>
      <dgm:spPr/>
    </dgm:pt>
    <dgm:pt modelId="{EE55C8CE-6061-4F92-B753-957C139B6BB3}" type="pres">
      <dgm:prSet presAssocID="{5B86870E-B467-4A0E-9016-97BDA223D6F9}" presName="space" presStyleCnt="0"/>
      <dgm:spPr/>
    </dgm:pt>
    <dgm:pt modelId="{F6D95D6E-E194-4658-8B82-7ECC4C4B1AD0}" type="pres">
      <dgm:prSet presAssocID="{DE25B0B8-847A-4947-AEAC-A59BEB184D59}" presName="compositeB" presStyleCnt="0"/>
      <dgm:spPr/>
    </dgm:pt>
    <dgm:pt modelId="{68578B61-D95F-43C6-B5BF-814EDF33B064}" type="pres">
      <dgm:prSet presAssocID="{DE25B0B8-847A-4947-AEAC-A59BEB184D59}" presName="textB" presStyleLbl="revTx" presStyleIdx="1" presStyleCnt="5">
        <dgm:presLayoutVars>
          <dgm:bulletEnabled val="1"/>
        </dgm:presLayoutVars>
      </dgm:prSet>
      <dgm:spPr/>
    </dgm:pt>
    <dgm:pt modelId="{EA5094BF-53EE-4D92-A3BD-37A720AF612C}" type="pres">
      <dgm:prSet presAssocID="{DE25B0B8-847A-4947-AEAC-A59BEB184D59}" presName="circleB" presStyleLbl="node1" presStyleIdx="1" presStyleCnt="5"/>
      <dgm:spPr/>
    </dgm:pt>
    <dgm:pt modelId="{DFDA1054-378A-4CC4-8CA6-4BD0E7B8AEBE}" type="pres">
      <dgm:prSet presAssocID="{DE25B0B8-847A-4947-AEAC-A59BEB184D59}" presName="spaceB" presStyleCnt="0"/>
      <dgm:spPr/>
    </dgm:pt>
    <dgm:pt modelId="{177AC74D-724D-4F5A-8389-F17CA633941A}" type="pres">
      <dgm:prSet presAssocID="{1D956C83-20F8-4CD5-B58B-F769D35EF59E}" presName="space" presStyleCnt="0"/>
      <dgm:spPr/>
    </dgm:pt>
    <dgm:pt modelId="{749A3B1B-BC24-46E5-8D3C-ABCB28F60DE8}" type="pres">
      <dgm:prSet presAssocID="{F5640BE7-4507-478F-A526-B4D37C9E9B69}" presName="compositeA" presStyleCnt="0"/>
      <dgm:spPr/>
    </dgm:pt>
    <dgm:pt modelId="{0C0C90B7-9D7E-4B77-AB7E-FDBDCB4EAEB5}" type="pres">
      <dgm:prSet presAssocID="{F5640BE7-4507-478F-A526-B4D37C9E9B69}" presName="textA" presStyleLbl="revTx" presStyleIdx="2" presStyleCnt="5">
        <dgm:presLayoutVars>
          <dgm:bulletEnabled val="1"/>
        </dgm:presLayoutVars>
      </dgm:prSet>
      <dgm:spPr/>
    </dgm:pt>
    <dgm:pt modelId="{D0D0B0B3-8854-4A56-AF64-D3647877EE8C}" type="pres">
      <dgm:prSet presAssocID="{F5640BE7-4507-478F-A526-B4D37C9E9B69}" presName="circleA" presStyleLbl="node1" presStyleIdx="2" presStyleCnt="5"/>
      <dgm:spPr/>
    </dgm:pt>
    <dgm:pt modelId="{CE4E216E-2EDB-4841-9F12-0E5C7AFB2A25}" type="pres">
      <dgm:prSet presAssocID="{F5640BE7-4507-478F-A526-B4D37C9E9B69}" presName="spaceA" presStyleCnt="0"/>
      <dgm:spPr/>
    </dgm:pt>
    <dgm:pt modelId="{2BF62DCA-7970-4723-BB19-4A88B9F034BF}" type="pres">
      <dgm:prSet presAssocID="{9569E912-A728-467B-A9C7-F1E51B7572E2}" presName="space" presStyleCnt="0"/>
      <dgm:spPr/>
    </dgm:pt>
    <dgm:pt modelId="{02FC8615-C9B5-4C1C-8C52-CE2EEF52A78B}" type="pres">
      <dgm:prSet presAssocID="{4BFDC810-27F7-4B4D-83D3-005647308660}" presName="compositeB" presStyleCnt="0"/>
      <dgm:spPr/>
    </dgm:pt>
    <dgm:pt modelId="{A3ACBC8A-8A51-48F6-BE03-A650E7D4F691}" type="pres">
      <dgm:prSet presAssocID="{4BFDC810-27F7-4B4D-83D3-005647308660}" presName="textB" presStyleLbl="revTx" presStyleIdx="3" presStyleCnt="5">
        <dgm:presLayoutVars>
          <dgm:bulletEnabled val="1"/>
        </dgm:presLayoutVars>
      </dgm:prSet>
      <dgm:spPr/>
    </dgm:pt>
    <dgm:pt modelId="{118AFC15-A9ED-4E8E-AAC5-A967DFBF33B3}" type="pres">
      <dgm:prSet presAssocID="{4BFDC810-27F7-4B4D-83D3-005647308660}" presName="circleB" presStyleLbl="node1" presStyleIdx="3" presStyleCnt="5"/>
      <dgm:spPr/>
    </dgm:pt>
    <dgm:pt modelId="{85128E76-083B-4D2C-B19E-1253E36B4AC8}" type="pres">
      <dgm:prSet presAssocID="{4BFDC810-27F7-4B4D-83D3-005647308660}" presName="spaceB" presStyleCnt="0"/>
      <dgm:spPr/>
    </dgm:pt>
    <dgm:pt modelId="{1DA18561-20C7-492D-85C0-02CDD0F833DB}" type="pres">
      <dgm:prSet presAssocID="{A95BD9F5-1FE8-4B74-BD96-FDEA0F9EDE8D}" presName="space" presStyleCnt="0"/>
      <dgm:spPr/>
    </dgm:pt>
    <dgm:pt modelId="{658DF162-F1B0-4D0B-A30A-FCBC09607DCC}" type="pres">
      <dgm:prSet presAssocID="{6D7F1707-3567-4226-8D3E-E335DC3CB991}" presName="compositeA" presStyleCnt="0"/>
      <dgm:spPr/>
    </dgm:pt>
    <dgm:pt modelId="{8A8894BC-7D60-47BE-ADB7-B3A567B9B612}" type="pres">
      <dgm:prSet presAssocID="{6D7F1707-3567-4226-8D3E-E335DC3CB991}" presName="textA" presStyleLbl="revTx" presStyleIdx="4" presStyleCnt="5">
        <dgm:presLayoutVars>
          <dgm:bulletEnabled val="1"/>
        </dgm:presLayoutVars>
      </dgm:prSet>
      <dgm:spPr/>
    </dgm:pt>
    <dgm:pt modelId="{8F779D3E-4D42-405A-837E-9C5B1F5F06E3}" type="pres">
      <dgm:prSet presAssocID="{6D7F1707-3567-4226-8D3E-E335DC3CB991}" presName="circleA" presStyleLbl="node1" presStyleIdx="4" presStyleCnt="5"/>
      <dgm:spPr/>
    </dgm:pt>
    <dgm:pt modelId="{1FA9BDAD-D61A-44E7-AE81-B5DA1CE2A054}" type="pres">
      <dgm:prSet presAssocID="{6D7F1707-3567-4226-8D3E-E335DC3CB991}" presName="spaceA" presStyleCnt="0"/>
      <dgm:spPr/>
    </dgm:pt>
  </dgm:ptLst>
  <dgm:cxnLst>
    <dgm:cxn modelId="{A33A9808-A4E6-498B-A84D-867F0A557524}" type="presOf" srcId="{DE25B0B8-847A-4947-AEAC-A59BEB184D59}" destId="{68578B61-D95F-43C6-B5BF-814EDF33B064}" srcOrd="0" destOrd="0" presId="urn:microsoft.com/office/officeart/2005/8/layout/hProcess11"/>
    <dgm:cxn modelId="{810AC232-31E1-4947-AF14-7D67FD2EFFA1}" srcId="{002C06FA-AA41-4DB9-906A-CE2BC65A1BC5}" destId="{4BFDC810-27F7-4B4D-83D3-005647308660}" srcOrd="3" destOrd="0" parTransId="{BA3AF385-1BC7-447A-839F-0F1DC75DF1C8}" sibTransId="{A95BD9F5-1FE8-4B74-BD96-FDEA0F9EDE8D}"/>
    <dgm:cxn modelId="{74B05876-4318-445C-8FF6-AB606373E455}" type="presOf" srcId="{6D7F1707-3567-4226-8D3E-E335DC3CB991}" destId="{8A8894BC-7D60-47BE-ADB7-B3A567B9B612}" srcOrd="0" destOrd="0" presId="urn:microsoft.com/office/officeart/2005/8/layout/hProcess11"/>
    <dgm:cxn modelId="{4921119D-F24D-4469-87DE-319C0A7340E4}" type="presOf" srcId="{F5640BE7-4507-478F-A526-B4D37C9E9B69}" destId="{0C0C90B7-9D7E-4B77-AB7E-FDBDCB4EAEB5}" srcOrd="0" destOrd="0" presId="urn:microsoft.com/office/officeart/2005/8/layout/hProcess11"/>
    <dgm:cxn modelId="{DDB839A2-6C3D-4C07-BAA5-9FC529DC7933}" type="presOf" srcId="{4BFDC810-27F7-4B4D-83D3-005647308660}" destId="{A3ACBC8A-8A51-48F6-BE03-A650E7D4F691}" srcOrd="0" destOrd="0" presId="urn:microsoft.com/office/officeart/2005/8/layout/hProcess11"/>
    <dgm:cxn modelId="{1C4893AD-FAE2-4771-B6DF-0B198333B441}" srcId="{002C06FA-AA41-4DB9-906A-CE2BC65A1BC5}" destId="{B6E951C7-BA9A-40B5-A8E0-F728010DC589}" srcOrd="0" destOrd="0" parTransId="{5C7B8FB5-1CE7-4765-9188-E606934231F5}" sibTransId="{5B86870E-B467-4A0E-9016-97BDA223D6F9}"/>
    <dgm:cxn modelId="{23FF21B4-C946-45EA-83B1-8B286F5653B9}" srcId="{002C06FA-AA41-4DB9-906A-CE2BC65A1BC5}" destId="{DE25B0B8-847A-4947-AEAC-A59BEB184D59}" srcOrd="1" destOrd="0" parTransId="{4311CB00-3BC1-4BBD-A3E1-14649457090A}" sibTransId="{1D956C83-20F8-4CD5-B58B-F769D35EF59E}"/>
    <dgm:cxn modelId="{FA2BADCF-6A9C-4599-88A1-F50FF56BE5C6}" srcId="{002C06FA-AA41-4DB9-906A-CE2BC65A1BC5}" destId="{6D7F1707-3567-4226-8D3E-E335DC3CB991}" srcOrd="4" destOrd="0" parTransId="{B0FD4062-1DA2-4AD2-8F21-08448C722B76}" sibTransId="{913C9E3B-2FEF-47FE-A1A2-87538B8F2828}"/>
    <dgm:cxn modelId="{73508FD8-75DC-4437-A8AC-05164D8BB21B}" type="presOf" srcId="{002C06FA-AA41-4DB9-906A-CE2BC65A1BC5}" destId="{872AD35E-C41C-4338-958B-B0FFAA8193F9}" srcOrd="0" destOrd="0" presId="urn:microsoft.com/office/officeart/2005/8/layout/hProcess11"/>
    <dgm:cxn modelId="{6A00D0EA-7B8A-45F5-A308-0619815BF03E}" srcId="{002C06FA-AA41-4DB9-906A-CE2BC65A1BC5}" destId="{F5640BE7-4507-478F-A526-B4D37C9E9B69}" srcOrd="2" destOrd="0" parTransId="{53D2A9F3-4393-4E5A-AA9E-C9F59AA0CDFD}" sibTransId="{9569E912-A728-467B-A9C7-F1E51B7572E2}"/>
    <dgm:cxn modelId="{F9A1B6EF-BF96-4453-9F89-A0B01E06B188}" type="presOf" srcId="{B6E951C7-BA9A-40B5-A8E0-F728010DC589}" destId="{D3F68C00-9A64-435F-940E-1F6970A9991A}" srcOrd="0" destOrd="0" presId="urn:microsoft.com/office/officeart/2005/8/layout/hProcess11"/>
    <dgm:cxn modelId="{B69D6DD0-3C34-49C2-A5F8-393C49A500CA}" type="presParOf" srcId="{872AD35E-C41C-4338-958B-B0FFAA8193F9}" destId="{3411A1F2-C734-4A1B-84E1-F73F1DADE8DD}" srcOrd="0" destOrd="0" presId="urn:microsoft.com/office/officeart/2005/8/layout/hProcess11"/>
    <dgm:cxn modelId="{B573726A-B388-4546-9E55-4CAA02D358FC}" type="presParOf" srcId="{872AD35E-C41C-4338-958B-B0FFAA8193F9}" destId="{EDE5DB3A-D0F2-4C38-A528-3956ECB845EF}" srcOrd="1" destOrd="0" presId="urn:microsoft.com/office/officeart/2005/8/layout/hProcess11"/>
    <dgm:cxn modelId="{9F9017C2-9881-43E0-BB35-6A67B0ED8FDA}" type="presParOf" srcId="{EDE5DB3A-D0F2-4C38-A528-3956ECB845EF}" destId="{141A82EB-F0A1-49AA-906F-D45C4462EDA8}" srcOrd="0" destOrd="0" presId="urn:microsoft.com/office/officeart/2005/8/layout/hProcess11"/>
    <dgm:cxn modelId="{08BE998D-49F8-4052-AC98-CD562F45EB7C}" type="presParOf" srcId="{141A82EB-F0A1-49AA-906F-D45C4462EDA8}" destId="{D3F68C00-9A64-435F-940E-1F6970A9991A}" srcOrd="0" destOrd="0" presId="urn:microsoft.com/office/officeart/2005/8/layout/hProcess11"/>
    <dgm:cxn modelId="{06F33255-0B17-49CC-B9CC-B6E403A50157}" type="presParOf" srcId="{141A82EB-F0A1-49AA-906F-D45C4462EDA8}" destId="{3244F610-9E4C-4874-A19A-B1BBECC7353D}" srcOrd="1" destOrd="0" presId="urn:microsoft.com/office/officeart/2005/8/layout/hProcess11"/>
    <dgm:cxn modelId="{257DF109-7218-4DD4-B6A5-72FE49A52631}" type="presParOf" srcId="{141A82EB-F0A1-49AA-906F-D45C4462EDA8}" destId="{0660E74B-DE9C-46ED-8217-4B06B83DC822}" srcOrd="2" destOrd="0" presId="urn:microsoft.com/office/officeart/2005/8/layout/hProcess11"/>
    <dgm:cxn modelId="{7C257C73-E08C-48EA-87D0-FB50ABDAEA93}" type="presParOf" srcId="{EDE5DB3A-D0F2-4C38-A528-3956ECB845EF}" destId="{EE55C8CE-6061-4F92-B753-957C139B6BB3}" srcOrd="1" destOrd="0" presId="urn:microsoft.com/office/officeart/2005/8/layout/hProcess11"/>
    <dgm:cxn modelId="{DD14C94F-F409-47BD-85F8-C6531E73DC6A}" type="presParOf" srcId="{EDE5DB3A-D0F2-4C38-A528-3956ECB845EF}" destId="{F6D95D6E-E194-4658-8B82-7ECC4C4B1AD0}" srcOrd="2" destOrd="0" presId="urn:microsoft.com/office/officeart/2005/8/layout/hProcess11"/>
    <dgm:cxn modelId="{2CEE577E-953B-4C07-8BBA-35419AA895A8}" type="presParOf" srcId="{F6D95D6E-E194-4658-8B82-7ECC4C4B1AD0}" destId="{68578B61-D95F-43C6-B5BF-814EDF33B064}" srcOrd="0" destOrd="0" presId="urn:microsoft.com/office/officeart/2005/8/layout/hProcess11"/>
    <dgm:cxn modelId="{07929CF4-F0A0-4F39-99C3-E1585489B53E}" type="presParOf" srcId="{F6D95D6E-E194-4658-8B82-7ECC4C4B1AD0}" destId="{EA5094BF-53EE-4D92-A3BD-37A720AF612C}" srcOrd="1" destOrd="0" presId="urn:microsoft.com/office/officeart/2005/8/layout/hProcess11"/>
    <dgm:cxn modelId="{F98BB1E6-E5F9-4D75-8152-B865F011A29B}" type="presParOf" srcId="{F6D95D6E-E194-4658-8B82-7ECC4C4B1AD0}" destId="{DFDA1054-378A-4CC4-8CA6-4BD0E7B8AEBE}" srcOrd="2" destOrd="0" presId="urn:microsoft.com/office/officeart/2005/8/layout/hProcess11"/>
    <dgm:cxn modelId="{1CB57375-D83D-43FE-98FC-994514930CBE}" type="presParOf" srcId="{EDE5DB3A-D0F2-4C38-A528-3956ECB845EF}" destId="{177AC74D-724D-4F5A-8389-F17CA633941A}" srcOrd="3" destOrd="0" presId="urn:microsoft.com/office/officeart/2005/8/layout/hProcess11"/>
    <dgm:cxn modelId="{7520D813-35B0-469B-9A15-102FC61BD12D}" type="presParOf" srcId="{EDE5DB3A-D0F2-4C38-A528-3956ECB845EF}" destId="{749A3B1B-BC24-46E5-8D3C-ABCB28F60DE8}" srcOrd="4" destOrd="0" presId="urn:microsoft.com/office/officeart/2005/8/layout/hProcess11"/>
    <dgm:cxn modelId="{88083B2F-8C9E-40B6-9FD5-BA9BB2BBEFFD}" type="presParOf" srcId="{749A3B1B-BC24-46E5-8D3C-ABCB28F60DE8}" destId="{0C0C90B7-9D7E-4B77-AB7E-FDBDCB4EAEB5}" srcOrd="0" destOrd="0" presId="urn:microsoft.com/office/officeart/2005/8/layout/hProcess11"/>
    <dgm:cxn modelId="{C538FD6D-CD35-4ADE-A40E-EF46043BA7FB}" type="presParOf" srcId="{749A3B1B-BC24-46E5-8D3C-ABCB28F60DE8}" destId="{D0D0B0B3-8854-4A56-AF64-D3647877EE8C}" srcOrd="1" destOrd="0" presId="urn:microsoft.com/office/officeart/2005/8/layout/hProcess11"/>
    <dgm:cxn modelId="{785397D2-ADE9-449B-A7B1-DFA1D80F9A74}" type="presParOf" srcId="{749A3B1B-BC24-46E5-8D3C-ABCB28F60DE8}" destId="{CE4E216E-2EDB-4841-9F12-0E5C7AFB2A25}" srcOrd="2" destOrd="0" presId="urn:microsoft.com/office/officeart/2005/8/layout/hProcess11"/>
    <dgm:cxn modelId="{BDB415C9-33FA-4003-A1C7-D50B5E78FBD4}" type="presParOf" srcId="{EDE5DB3A-D0F2-4C38-A528-3956ECB845EF}" destId="{2BF62DCA-7970-4723-BB19-4A88B9F034BF}" srcOrd="5" destOrd="0" presId="urn:microsoft.com/office/officeart/2005/8/layout/hProcess11"/>
    <dgm:cxn modelId="{445040EA-6BB5-4184-B10C-78D25359038D}" type="presParOf" srcId="{EDE5DB3A-D0F2-4C38-A528-3956ECB845EF}" destId="{02FC8615-C9B5-4C1C-8C52-CE2EEF52A78B}" srcOrd="6" destOrd="0" presId="urn:microsoft.com/office/officeart/2005/8/layout/hProcess11"/>
    <dgm:cxn modelId="{8092EE08-196C-4774-8C4B-FF169AA69D37}" type="presParOf" srcId="{02FC8615-C9B5-4C1C-8C52-CE2EEF52A78B}" destId="{A3ACBC8A-8A51-48F6-BE03-A650E7D4F691}" srcOrd="0" destOrd="0" presId="urn:microsoft.com/office/officeart/2005/8/layout/hProcess11"/>
    <dgm:cxn modelId="{C67E0682-41B1-40F7-88F6-3BE191C69DE5}" type="presParOf" srcId="{02FC8615-C9B5-4C1C-8C52-CE2EEF52A78B}" destId="{118AFC15-A9ED-4E8E-AAC5-A967DFBF33B3}" srcOrd="1" destOrd="0" presId="urn:microsoft.com/office/officeart/2005/8/layout/hProcess11"/>
    <dgm:cxn modelId="{F25F3649-C20F-40EB-BAC5-278774F55010}" type="presParOf" srcId="{02FC8615-C9B5-4C1C-8C52-CE2EEF52A78B}" destId="{85128E76-083B-4D2C-B19E-1253E36B4AC8}" srcOrd="2" destOrd="0" presId="urn:microsoft.com/office/officeart/2005/8/layout/hProcess11"/>
    <dgm:cxn modelId="{EE6734A0-C1A5-4C99-A3B6-9AA50AD0A023}" type="presParOf" srcId="{EDE5DB3A-D0F2-4C38-A528-3956ECB845EF}" destId="{1DA18561-20C7-492D-85C0-02CDD0F833DB}" srcOrd="7" destOrd="0" presId="urn:microsoft.com/office/officeart/2005/8/layout/hProcess11"/>
    <dgm:cxn modelId="{98311CAA-791C-459E-BC4A-19F0461F1D59}" type="presParOf" srcId="{EDE5DB3A-D0F2-4C38-A528-3956ECB845EF}" destId="{658DF162-F1B0-4D0B-A30A-FCBC09607DCC}" srcOrd="8" destOrd="0" presId="urn:microsoft.com/office/officeart/2005/8/layout/hProcess11"/>
    <dgm:cxn modelId="{EBA4EC30-FB31-4B02-A29D-B32DE6DC658F}" type="presParOf" srcId="{658DF162-F1B0-4D0B-A30A-FCBC09607DCC}" destId="{8A8894BC-7D60-47BE-ADB7-B3A567B9B612}" srcOrd="0" destOrd="0" presId="urn:microsoft.com/office/officeart/2005/8/layout/hProcess11"/>
    <dgm:cxn modelId="{A987DF7F-5A08-4B6F-92F5-EF8E9DDB452A}" type="presParOf" srcId="{658DF162-F1B0-4D0B-A30A-FCBC09607DCC}" destId="{8F779D3E-4D42-405A-837E-9C5B1F5F06E3}" srcOrd="1" destOrd="0" presId="urn:microsoft.com/office/officeart/2005/8/layout/hProcess11"/>
    <dgm:cxn modelId="{FD95AE1B-5875-4259-916A-81384B7572C6}" type="presParOf" srcId="{658DF162-F1B0-4D0B-A30A-FCBC09607DCC}" destId="{1FA9BDAD-D61A-44E7-AE81-B5DA1CE2A054}"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3C6E23-08C5-48A2-852B-00003C043366}">
      <dsp:nvSpPr>
        <dsp:cNvPr id="0" name=""/>
        <dsp:cNvSpPr/>
      </dsp:nvSpPr>
      <dsp:spPr>
        <a:xfrm>
          <a:off x="0" y="1305401"/>
          <a:ext cx="10515600" cy="1740534"/>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4284F8-5A4B-4F2C-A9EF-2CCE6AC25063}">
      <dsp:nvSpPr>
        <dsp:cNvPr id="0" name=""/>
        <dsp:cNvSpPr/>
      </dsp:nvSpPr>
      <dsp:spPr>
        <a:xfrm>
          <a:off x="808" y="0"/>
          <a:ext cx="1296222" cy="1740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b" anchorCtr="0">
          <a:noAutofit/>
        </a:bodyPr>
        <a:lstStyle/>
        <a:p>
          <a:pPr marL="0" lvl="0" indent="0" algn="ctr" defTabSz="666750">
            <a:lnSpc>
              <a:spcPct val="90000"/>
            </a:lnSpc>
            <a:spcBef>
              <a:spcPct val="0"/>
            </a:spcBef>
            <a:spcAft>
              <a:spcPct val="35000"/>
            </a:spcAft>
            <a:buNone/>
          </a:pPr>
          <a:r>
            <a:rPr lang="en-US" sz="1500" b="1" kern="1200"/>
            <a:t>October 6, 2023: </a:t>
          </a:r>
          <a:r>
            <a:rPr lang="en-US" sz="1500" kern="1200"/>
            <a:t>Grant Program Opened</a:t>
          </a:r>
        </a:p>
      </dsp:txBody>
      <dsp:txXfrm>
        <a:off x="808" y="0"/>
        <a:ext cx="1296222" cy="1740534"/>
      </dsp:txXfrm>
    </dsp:sp>
    <dsp:sp modelId="{9BA321EF-0F5D-4859-8D8C-90F94F3E9B34}">
      <dsp:nvSpPr>
        <dsp:cNvPr id="0" name=""/>
        <dsp:cNvSpPr/>
      </dsp:nvSpPr>
      <dsp:spPr>
        <a:xfrm>
          <a:off x="431352" y="1958101"/>
          <a:ext cx="435133" cy="43513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7AD5B7-971B-43A4-B49C-4E2B3CBF4E77}">
      <dsp:nvSpPr>
        <dsp:cNvPr id="0" name=""/>
        <dsp:cNvSpPr/>
      </dsp:nvSpPr>
      <dsp:spPr>
        <a:xfrm>
          <a:off x="1361842" y="2610802"/>
          <a:ext cx="1296222" cy="1740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en-US" sz="1500" b="1" kern="1200"/>
            <a:t>October 19, 2023:</a:t>
          </a:r>
          <a:r>
            <a:rPr lang="en-US" sz="1500" kern="1200"/>
            <a:t> October Office Hour Session</a:t>
          </a:r>
        </a:p>
      </dsp:txBody>
      <dsp:txXfrm>
        <a:off x="1361842" y="2610802"/>
        <a:ext cx="1296222" cy="1740534"/>
      </dsp:txXfrm>
    </dsp:sp>
    <dsp:sp modelId="{68A14006-830C-425B-A746-31BD4F171DBD}">
      <dsp:nvSpPr>
        <dsp:cNvPr id="0" name=""/>
        <dsp:cNvSpPr/>
      </dsp:nvSpPr>
      <dsp:spPr>
        <a:xfrm>
          <a:off x="1792386" y="1958101"/>
          <a:ext cx="435133" cy="43513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1389F0A-D818-4FA3-95B7-747D1C0F39ED}">
      <dsp:nvSpPr>
        <dsp:cNvPr id="0" name=""/>
        <dsp:cNvSpPr/>
      </dsp:nvSpPr>
      <dsp:spPr>
        <a:xfrm>
          <a:off x="2722875" y="0"/>
          <a:ext cx="1296222" cy="1740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b" anchorCtr="0">
          <a:noAutofit/>
        </a:bodyPr>
        <a:lstStyle/>
        <a:p>
          <a:pPr marL="0" lvl="0" indent="0" algn="ctr" defTabSz="666750">
            <a:lnSpc>
              <a:spcPct val="90000"/>
            </a:lnSpc>
            <a:spcBef>
              <a:spcPct val="0"/>
            </a:spcBef>
            <a:spcAft>
              <a:spcPct val="35000"/>
            </a:spcAft>
            <a:buNone/>
          </a:pPr>
          <a:r>
            <a:rPr lang="en-US" sz="1500" b="1" kern="1200"/>
            <a:t>November 16, 2023</a:t>
          </a:r>
          <a:r>
            <a:rPr lang="en-US" sz="1500" kern="1200"/>
            <a:t>: November Office Hour Session</a:t>
          </a:r>
        </a:p>
      </dsp:txBody>
      <dsp:txXfrm>
        <a:off x="2722875" y="0"/>
        <a:ext cx="1296222" cy="1740534"/>
      </dsp:txXfrm>
    </dsp:sp>
    <dsp:sp modelId="{E458E35A-973B-407F-BDFE-CDFEEC533DC0}">
      <dsp:nvSpPr>
        <dsp:cNvPr id="0" name=""/>
        <dsp:cNvSpPr/>
      </dsp:nvSpPr>
      <dsp:spPr>
        <a:xfrm>
          <a:off x="3153419" y="1958101"/>
          <a:ext cx="435133" cy="43513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6658D39-3D6A-4CA8-9DF9-F66C2AD9A19E}">
      <dsp:nvSpPr>
        <dsp:cNvPr id="0" name=""/>
        <dsp:cNvSpPr/>
      </dsp:nvSpPr>
      <dsp:spPr>
        <a:xfrm>
          <a:off x="4083908" y="2610802"/>
          <a:ext cx="1296222" cy="1740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en-US" sz="1500" b="1" kern="1200"/>
            <a:t>December 7, 2023: </a:t>
          </a:r>
          <a:r>
            <a:rPr lang="en-US" sz="1500" kern="1200"/>
            <a:t>December Office Hour Session</a:t>
          </a:r>
        </a:p>
      </dsp:txBody>
      <dsp:txXfrm>
        <a:off x="4083908" y="2610802"/>
        <a:ext cx="1296222" cy="1740534"/>
      </dsp:txXfrm>
    </dsp:sp>
    <dsp:sp modelId="{5CB5EB3C-DEAC-43BC-96C5-9AA3EEF6A2CA}">
      <dsp:nvSpPr>
        <dsp:cNvPr id="0" name=""/>
        <dsp:cNvSpPr/>
      </dsp:nvSpPr>
      <dsp:spPr>
        <a:xfrm>
          <a:off x="4514453" y="1958101"/>
          <a:ext cx="435133" cy="43513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984FE60-F05B-474D-AC3F-1FF176256C95}">
      <dsp:nvSpPr>
        <dsp:cNvPr id="0" name=""/>
        <dsp:cNvSpPr/>
      </dsp:nvSpPr>
      <dsp:spPr>
        <a:xfrm>
          <a:off x="5444942" y="0"/>
          <a:ext cx="1296222" cy="1740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b" anchorCtr="0">
          <a:noAutofit/>
        </a:bodyPr>
        <a:lstStyle/>
        <a:p>
          <a:pPr marL="0" lvl="0" indent="0" algn="ctr" defTabSz="666750">
            <a:lnSpc>
              <a:spcPct val="90000"/>
            </a:lnSpc>
            <a:spcBef>
              <a:spcPct val="0"/>
            </a:spcBef>
            <a:spcAft>
              <a:spcPct val="35000"/>
            </a:spcAft>
            <a:buNone/>
          </a:pPr>
          <a:r>
            <a:rPr lang="en-US" sz="1500" b="1" kern="1200"/>
            <a:t>December 31, 2023: </a:t>
          </a:r>
          <a:r>
            <a:rPr lang="en-US" sz="1500" kern="1200"/>
            <a:t>Application Due Date</a:t>
          </a:r>
        </a:p>
      </dsp:txBody>
      <dsp:txXfrm>
        <a:off x="5444942" y="0"/>
        <a:ext cx="1296222" cy="1740534"/>
      </dsp:txXfrm>
    </dsp:sp>
    <dsp:sp modelId="{9F83A71E-801C-42F9-8882-EFFD481904A5}">
      <dsp:nvSpPr>
        <dsp:cNvPr id="0" name=""/>
        <dsp:cNvSpPr/>
      </dsp:nvSpPr>
      <dsp:spPr>
        <a:xfrm>
          <a:off x="5875486" y="1958101"/>
          <a:ext cx="435133" cy="43513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820B09A-C703-4760-A31F-832134D6F81B}">
      <dsp:nvSpPr>
        <dsp:cNvPr id="0" name=""/>
        <dsp:cNvSpPr/>
      </dsp:nvSpPr>
      <dsp:spPr>
        <a:xfrm>
          <a:off x="6805975" y="2610802"/>
          <a:ext cx="1296222" cy="1740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ctr" defTabSz="666750">
            <a:lnSpc>
              <a:spcPct val="90000"/>
            </a:lnSpc>
            <a:spcBef>
              <a:spcPct val="0"/>
            </a:spcBef>
            <a:spcAft>
              <a:spcPct val="35000"/>
            </a:spcAft>
            <a:buNone/>
          </a:pPr>
          <a:r>
            <a:rPr lang="en-US" sz="1500" b="1" kern="1200"/>
            <a:t>Early Spring 2024: </a:t>
          </a:r>
          <a:r>
            <a:rPr lang="en-US" sz="1500" kern="1200"/>
            <a:t>Final Selection Date</a:t>
          </a:r>
        </a:p>
      </dsp:txBody>
      <dsp:txXfrm>
        <a:off x="6805975" y="2610802"/>
        <a:ext cx="1296222" cy="1740534"/>
      </dsp:txXfrm>
    </dsp:sp>
    <dsp:sp modelId="{B0F4AFB4-5623-4952-9703-580D5610DB66}">
      <dsp:nvSpPr>
        <dsp:cNvPr id="0" name=""/>
        <dsp:cNvSpPr/>
      </dsp:nvSpPr>
      <dsp:spPr>
        <a:xfrm>
          <a:off x="7236519" y="1958101"/>
          <a:ext cx="435133" cy="43513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8C18B4-0C21-4ED6-AB52-8BC6CA0F061A}">
      <dsp:nvSpPr>
        <dsp:cNvPr id="0" name=""/>
        <dsp:cNvSpPr/>
      </dsp:nvSpPr>
      <dsp:spPr>
        <a:xfrm>
          <a:off x="8167009" y="0"/>
          <a:ext cx="1296222" cy="1740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b" anchorCtr="0">
          <a:noAutofit/>
        </a:bodyPr>
        <a:lstStyle/>
        <a:p>
          <a:pPr marL="0" lvl="0" indent="0" algn="ctr" defTabSz="666750">
            <a:lnSpc>
              <a:spcPct val="90000"/>
            </a:lnSpc>
            <a:spcBef>
              <a:spcPct val="0"/>
            </a:spcBef>
            <a:spcAft>
              <a:spcPct val="35000"/>
            </a:spcAft>
            <a:buNone/>
          </a:pPr>
          <a:r>
            <a:rPr lang="en-US" sz="1500" b="1" kern="1200"/>
            <a:t>Spring 2024: </a:t>
          </a:r>
          <a:r>
            <a:rPr lang="en-US" sz="1500" kern="1200"/>
            <a:t>Grant Distribution and Third-party Assessment Qualification</a:t>
          </a:r>
        </a:p>
      </dsp:txBody>
      <dsp:txXfrm>
        <a:off x="8167009" y="0"/>
        <a:ext cx="1296222" cy="1740534"/>
      </dsp:txXfrm>
    </dsp:sp>
    <dsp:sp modelId="{F9FF7874-DB7D-4F23-BE52-29B81BC34086}">
      <dsp:nvSpPr>
        <dsp:cNvPr id="0" name=""/>
        <dsp:cNvSpPr/>
      </dsp:nvSpPr>
      <dsp:spPr>
        <a:xfrm>
          <a:off x="8597553" y="1958101"/>
          <a:ext cx="435133" cy="43513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11A1F2-C734-4A1B-84E1-F73F1DADE8DD}">
      <dsp:nvSpPr>
        <dsp:cNvPr id="0" name=""/>
        <dsp:cNvSpPr/>
      </dsp:nvSpPr>
      <dsp:spPr>
        <a:xfrm>
          <a:off x="0" y="1721926"/>
          <a:ext cx="10546080" cy="2295902"/>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F68C00-9A64-435F-940E-1F6970A9991A}">
      <dsp:nvSpPr>
        <dsp:cNvPr id="0" name=""/>
        <dsp:cNvSpPr/>
      </dsp:nvSpPr>
      <dsp:spPr>
        <a:xfrm>
          <a:off x="4171" y="0"/>
          <a:ext cx="1823678" cy="2295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US" sz="2000" kern="1200">
              <a:latin typeface="Avenir Book"/>
            </a:rPr>
            <a:t>Apply to be a Qualified Third-party Assessor</a:t>
          </a:r>
        </a:p>
      </dsp:txBody>
      <dsp:txXfrm>
        <a:off x="4171" y="0"/>
        <a:ext cx="1823678" cy="2295902"/>
      </dsp:txXfrm>
    </dsp:sp>
    <dsp:sp modelId="{3244F610-9E4C-4874-A19A-B1BBECC7353D}">
      <dsp:nvSpPr>
        <dsp:cNvPr id="0" name=""/>
        <dsp:cNvSpPr/>
      </dsp:nvSpPr>
      <dsp:spPr>
        <a:xfrm>
          <a:off x="629022" y="2582890"/>
          <a:ext cx="573975" cy="57397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578B61-D95F-43C6-B5BF-814EDF33B064}">
      <dsp:nvSpPr>
        <dsp:cNvPr id="0" name=""/>
        <dsp:cNvSpPr/>
      </dsp:nvSpPr>
      <dsp:spPr>
        <a:xfrm>
          <a:off x="1919033" y="3443853"/>
          <a:ext cx="1823678" cy="2295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US" sz="2000" kern="1200">
              <a:latin typeface="Avenir Book"/>
            </a:rPr>
            <a:t>DOE to review Third-party Assessor Application</a:t>
          </a:r>
        </a:p>
      </dsp:txBody>
      <dsp:txXfrm>
        <a:off x="1919033" y="3443853"/>
        <a:ext cx="1823678" cy="2295902"/>
      </dsp:txXfrm>
    </dsp:sp>
    <dsp:sp modelId="{EA5094BF-53EE-4D92-A3BD-37A720AF612C}">
      <dsp:nvSpPr>
        <dsp:cNvPr id="0" name=""/>
        <dsp:cNvSpPr/>
      </dsp:nvSpPr>
      <dsp:spPr>
        <a:xfrm>
          <a:off x="2543885" y="2582890"/>
          <a:ext cx="573975" cy="57397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0C90B7-9D7E-4B77-AB7E-FDBDCB4EAEB5}">
      <dsp:nvSpPr>
        <dsp:cNvPr id="0" name=""/>
        <dsp:cNvSpPr/>
      </dsp:nvSpPr>
      <dsp:spPr>
        <a:xfrm>
          <a:off x="3833896" y="0"/>
          <a:ext cx="1823678" cy="2295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US" sz="2000" kern="1200">
              <a:latin typeface="Avenir Book"/>
            </a:rPr>
            <a:t>Selection of Third-party Assessor </a:t>
          </a:r>
        </a:p>
      </dsp:txBody>
      <dsp:txXfrm>
        <a:off x="3833896" y="0"/>
        <a:ext cx="1823678" cy="2295902"/>
      </dsp:txXfrm>
    </dsp:sp>
    <dsp:sp modelId="{D0D0B0B3-8854-4A56-AF64-D3647877EE8C}">
      <dsp:nvSpPr>
        <dsp:cNvPr id="0" name=""/>
        <dsp:cNvSpPr/>
      </dsp:nvSpPr>
      <dsp:spPr>
        <a:xfrm>
          <a:off x="4458748" y="2582890"/>
          <a:ext cx="573975" cy="57397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3ACBC8A-8A51-48F6-BE03-A650E7D4F691}">
      <dsp:nvSpPr>
        <dsp:cNvPr id="0" name=""/>
        <dsp:cNvSpPr/>
      </dsp:nvSpPr>
      <dsp:spPr>
        <a:xfrm>
          <a:off x="5748759" y="3443853"/>
          <a:ext cx="1823678" cy="2295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US" sz="2000" kern="1200">
              <a:latin typeface="Avenir Book"/>
            </a:rPr>
            <a:t>Sign Memorandum of Understanding (MOU)</a:t>
          </a:r>
        </a:p>
      </dsp:txBody>
      <dsp:txXfrm>
        <a:off x="5748759" y="3443853"/>
        <a:ext cx="1823678" cy="2295902"/>
      </dsp:txXfrm>
    </dsp:sp>
    <dsp:sp modelId="{118AFC15-A9ED-4E8E-AAC5-A967DFBF33B3}">
      <dsp:nvSpPr>
        <dsp:cNvPr id="0" name=""/>
        <dsp:cNvSpPr/>
      </dsp:nvSpPr>
      <dsp:spPr>
        <a:xfrm>
          <a:off x="6373610" y="2582890"/>
          <a:ext cx="573975" cy="57397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8894BC-7D60-47BE-ADB7-B3A567B9B612}">
      <dsp:nvSpPr>
        <dsp:cNvPr id="0" name=""/>
        <dsp:cNvSpPr/>
      </dsp:nvSpPr>
      <dsp:spPr>
        <a:xfrm>
          <a:off x="7663622" y="0"/>
          <a:ext cx="1823678" cy="2295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US" sz="2000" kern="1200">
              <a:latin typeface="Avenir Book"/>
            </a:rPr>
            <a:t>Officially Qualified Third-party Assessor</a:t>
          </a:r>
        </a:p>
      </dsp:txBody>
      <dsp:txXfrm>
        <a:off x="7663622" y="0"/>
        <a:ext cx="1823678" cy="2295902"/>
      </dsp:txXfrm>
    </dsp:sp>
    <dsp:sp modelId="{8F779D3E-4D42-405A-837E-9C5B1F5F06E3}">
      <dsp:nvSpPr>
        <dsp:cNvPr id="0" name=""/>
        <dsp:cNvSpPr/>
      </dsp:nvSpPr>
      <dsp:spPr>
        <a:xfrm>
          <a:off x="8288473" y="2582890"/>
          <a:ext cx="573975" cy="57397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5EB1F2-F2DC-4956-ACF3-3D10C91790FC}" type="datetimeFigureOut">
              <a:rPr lang="en-US" smtClean="0"/>
              <a:t>11/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6B14B2-C336-4835-8DFF-9876D12FAB38}" type="slidenum">
              <a:rPr lang="en-US" smtClean="0"/>
              <a:t>‹#›</a:t>
            </a:fld>
            <a:endParaRPr lang="en-US"/>
          </a:p>
        </p:txBody>
      </p:sp>
    </p:spTree>
    <p:extLst>
      <p:ext uri="{BB962C8B-B14F-4D97-AF65-F5344CB8AC3E}">
        <p14:creationId xmlns:p14="http://schemas.microsoft.com/office/powerpoint/2010/main" val="28181576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A49BD8-4528-4345-9FB6-DD34524F1A9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5048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A49BD8-4528-4345-9FB6-DD34524F1A99}" type="slidenum">
              <a:rPr lang="en-US" smtClean="0"/>
              <a:t>9</a:t>
            </a:fld>
            <a:endParaRPr lang="en-US"/>
          </a:p>
        </p:txBody>
      </p:sp>
    </p:spTree>
    <p:extLst>
      <p:ext uri="{BB962C8B-B14F-4D97-AF65-F5344CB8AC3E}">
        <p14:creationId xmlns:p14="http://schemas.microsoft.com/office/powerpoint/2010/main" val="162247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pand eligibility and access to grant funding to SMMs </a:t>
            </a:r>
          </a:p>
          <a:p>
            <a:r>
              <a:rPr lang="en-US"/>
              <a:t>Onboard existing entities with proven robust energy assessments</a:t>
            </a:r>
          </a:p>
          <a:p>
            <a:r>
              <a:rPr lang="en-US"/>
              <a:t>Develop a cohesive assessor network including IAC, CHP TAPs, and Qualified Third-Party Assessors</a:t>
            </a:r>
          </a:p>
          <a:p>
            <a:endParaRPr lang="en-US"/>
          </a:p>
        </p:txBody>
      </p:sp>
      <p:sp>
        <p:nvSpPr>
          <p:cNvPr id="4" name="Slide Number Placeholder 3"/>
          <p:cNvSpPr>
            <a:spLocks noGrp="1"/>
          </p:cNvSpPr>
          <p:nvPr>
            <p:ph type="sldNum" sz="quarter" idx="5"/>
          </p:nvPr>
        </p:nvSpPr>
        <p:spPr/>
        <p:txBody>
          <a:bodyPr/>
          <a:lstStyle/>
          <a:p>
            <a:fld id="{236B14B2-C336-4835-8DFF-9876D12FAB38}" type="slidenum">
              <a:rPr lang="en-US" smtClean="0"/>
              <a:t>12</a:t>
            </a:fld>
            <a:endParaRPr lang="en-US"/>
          </a:p>
        </p:txBody>
      </p:sp>
    </p:spTree>
    <p:extLst>
      <p:ext uri="{BB962C8B-B14F-4D97-AF65-F5344CB8AC3E}">
        <p14:creationId xmlns:p14="http://schemas.microsoft.com/office/powerpoint/2010/main" val="3976631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9A49BD8-4528-4345-9FB6-DD34524F1A99}" type="slidenum">
              <a:rPr lang="en-US" smtClean="0"/>
              <a:t>16</a:t>
            </a:fld>
            <a:endParaRPr lang="en-US"/>
          </a:p>
        </p:txBody>
      </p:sp>
    </p:spTree>
    <p:extLst>
      <p:ext uri="{BB962C8B-B14F-4D97-AF65-F5344CB8AC3E}">
        <p14:creationId xmlns:p14="http://schemas.microsoft.com/office/powerpoint/2010/main" val="23519066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26.png"/><Relationship Id="rId7"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2.pn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3.xml"/><Relationship Id="rId5" Type="http://schemas.openxmlformats.org/officeDocument/2006/relationships/image" Target="../media/image40.png"/><Relationship Id="rId4" Type="http://schemas.openxmlformats.org/officeDocument/2006/relationships/image" Target="../media/image39.png"/></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2.png"/><Relationship Id="rId2" Type="http://schemas.openxmlformats.org/officeDocument/2006/relationships/image" Target="../media/image34.png"/><Relationship Id="rId1" Type="http://schemas.openxmlformats.org/officeDocument/2006/relationships/slideMaster" Target="../slideMasters/slideMaster3.xml"/><Relationship Id="rId6" Type="http://schemas.openxmlformats.org/officeDocument/2006/relationships/image" Target="../media/image39.png"/><Relationship Id="rId5" Type="http://schemas.openxmlformats.org/officeDocument/2006/relationships/image" Target="../media/image37.png"/><Relationship Id="rId4" Type="http://schemas.openxmlformats.org/officeDocument/2006/relationships/image" Target="../media/image36.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2.jpe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2.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3.emf"/><Relationship Id="rId4" Type="http://schemas.openxmlformats.org/officeDocument/2006/relationships/oleObject" Target="../embeddings/oleObject2.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2.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_MESC 3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6300963" y="1690698"/>
            <a:ext cx="5134824"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a:t>
            </a:r>
            <a:br>
              <a:rPr lang="en-US"/>
            </a:br>
            <a:r>
              <a:rPr lang="en-US"/>
              <a:t>Master title style</a:t>
            </a:r>
          </a:p>
        </p:txBody>
      </p:sp>
      <p:sp>
        <p:nvSpPr>
          <p:cNvPr id="20" name="Text Placeholder 17"/>
          <p:cNvSpPr>
            <a:spLocks noGrp="1"/>
          </p:cNvSpPr>
          <p:nvPr>
            <p:ph type="body" sz="quarter" idx="10" hasCustomPrompt="1"/>
          </p:nvPr>
        </p:nvSpPr>
        <p:spPr>
          <a:xfrm>
            <a:off x="6300964" y="4996580"/>
            <a:ext cx="5134824"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6300963" y="5800923"/>
            <a:ext cx="5134824"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descr="MESC Logotype: Office of Manufacturing and Energy Supply Chains">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360944"/>
            <a:ext cx="4287614" cy="1143364"/>
          </a:xfrm>
          <a:prstGeom prst="rect">
            <a:avLst/>
          </a:prstGeom>
        </p:spPr>
      </p:pic>
      <p:pic>
        <p:nvPicPr>
          <p:cNvPr id="2" name="Picture 1" descr="Robotic arms on an assembly line">
            <a:extLst>
              <a:ext uri="{FF2B5EF4-FFF2-40B4-BE49-F238E27FC236}">
                <a16:creationId xmlns:a16="http://schemas.microsoft.com/office/drawing/2014/main" id="{6B7D44DA-53BE-9E8E-1FE6-461E56658D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5891037" cy="6858000"/>
          </a:xfrm>
          <a:prstGeom prst="rect">
            <a:avLst/>
          </a:prstGeom>
        </p:spPr>
      </p:pic>
    </p:spTree>
    <p:extLst>
      <p:ext uri="{BB962C8B-B14F-4D97-AF65-F5344CB8AC3E}">
        <p14:creationId xmlns:p14="http://schemas.microsoft.com/office/powerpoint/2010/main" val="711885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ight Blue Transition Title">
    <p:bg>
      <p:bgPr>
        <a:solidFill>
          <a:schemeClr val="accent2"/>
        </a:solidFill>
        <a:effectLst/>
      </p:bgPr>
    </p:bg>
    <p:spTree>
      <p:nvGrpSpPr>
        <p:cNvPr id="1" name=""/>
        <p:cNvGrpSpPr/>
        <p:nvPr/>
      </p:nvGrpSpPr>
      <p:grpSpPr>
        <a:xfrm>
          <a:off x="0" y="0"/>
          <a:ext cx="0" cy="0"/>
          <a:chOff x="0" y="0"/>
          <a:chExt cx="0" cy="0"/>
        </a:xfrm>
      </p:grpSpPr>
      <p:pic>
        <p:nvPicPr>
          <p:cNvPr id="5" name="object 6" descr="Worker with a laptop and hard hat on top of a solar panel array">
            <a:extLst>
              <a:ext uri="{FF2B5EF4-FFF2-40B4-BE49-F238E27FC236}">
                <a16:creationId xmlns:a16="http://schemas.microsoft.com/office/drawing/2014/main" id="{1C7048B8-64AA-5AC0-B445-C4545F941D26}"/>
              </a:ext>
            </a:extLst>
          </p:cNvPr>
          <p:cNvPicPr/>
          <p:nvPr userDrawn="1"/>
        </p:nvPicPr>
        <p:blipFill rotWithShape="1">
          <a:blip r:embed="rId2" cstate="hqprint">
            <a:duotone>
              <a:schemeClr val="accent2">
                <a:shade val="45000"/>
                <a:satMod val="135000"/>
              </a:schemeClr>
              <a:prstClr val="white"/>
            </a:duotone>
            <a:alphaModFix amt="40000"/>
            <a:extLst>
              <a:ext uri="{28A0092B-C50C-407E-A947-70E740481C1C}">
                <a14:useLocalDpi xmlns:a14="http://schemas.microsoft.com/office/drawing/2010/main"/>
              </a:ext>
            </a:extLst>
          </a:blip>
          <a:srcRect/>
          <a:stretch/>
        </p:blipFill>
        <p:spPr>
          <a:xfrm>
            <a:off x="0" y="0"/>
            <a:ext cx="4331374" cy="6858000"/>
          </a:xfrm>
          <a:prstGeom prst="rect">
            <a:avLst/>
          </a:prstGeom>
        </p:spPr>
      </p:pic>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Holder 2">
            <a:extLst>
              <a:ext uri="{FF2B5EF4-FFF2-40B4-BE49-F238E27FC236}">
                <a16:creationId xmlns:a16="http://schemas.microsoft.com/office/drawing/2014/main" id="{BA47CFD6-9A37-5C22-1F60-6282A9C542EB}"/>
              </a:ext>
            </a:extLst>
          </p:cNvPr>
          <p:cNvSpPr>
            <a:spLocks noGrp="1"/>
          </p:cNvSpPr>
          <p:nvPr>
            <p:ph type="title"/>
          </p:nvPr>
        </p:nvSpPr>
        <p:spPr>
          <a:xfrm>
            <a:off x="4909432" y="1748117"/>
            <a:ext cx="6517341" cy="2420471"/>
          </a:xfrm>
        </p:spPr>
        <p:txBody>
          <a:bodyPr lIns="0" tIns="0" rIns="0" bIns="0">
            <a:noAutofit/>
          </a:bodyPr>
          <a:lstStyle>
            <a:lvl1pPr>
              <a:defRPr sz="5824" b="0" i="0">
                <a:solidFill>
                  <a:schemeClr val="bg2"/>
                </a:solidFill>
                <a:latin typeface="Avenir LT Std 65 Medium"/>
                <a:cs typeface="Avenir LT Std 65 Medium"/>
              </a:defRPr>
            </a:lvl1pPr>
          </a:lstStyle>
          <a:p>
            <a:r>
              <a:rPr lang="en-US"/>
              <a:t>Click to edit Master title style</a:t>
            </a:r>
            <a:endParaRPr/>
          </a:p>
        </p:txBody>
      </p:sp>
      <p:sp>
        <p:nvSpPr>
          <p:cNvPr id="7" name="Holder 3">
            <a:extLst>
              <a:ext uri="{FF2B5EF4-FFF2-40B4-BE49-F238E27FC236}">
                <a16:creationId xmlns:a16="http://schemas.microsoft.com/office/drawing/2014/main" id="{32FDF9F2-758B-0952-349C-FF8D724B19E0}"/>
              </a:ext>
            </a:extLst>
          </p:cNvPr>
          <p:cNvSpPr>
            <a:spLocks noGrp="1"/>
          </p:cNvSpPr>
          <p:nvPr>
            <p:ph type="body" idx="1"/>
          </p:nvPr>
        </p:nvSpPr>
        <p:spPr>
          <a:xfrm>
            <a:off x="4909432" y="4370294"/>
            <a:ext cx="6517341" cy="1011933"/>
          </a:xfrm>
        </p:spPr>
        <p:txBody>
          <a:bodyPr lIns="0" tIns="0" rIns="0" bIns="0">
            <a:noAutofit/>
          </a:bodyPr>
          <a:lstStyle>
            <a:lvl1pPr marL="0" indent="0">
              <a:buNone/>
              <a:defRPr sz="2400" b="0" i="0">
                <a:solidFill>
                  <a:schemeClr val="accent5"/>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3" name="Picture 2">
            <a:extLst>
              <a:ext uri="{FF2B5EF4-FFF2-40B4-BE49-F238E27FC236}">
                <a16:creationId xmlns:a16="http://schemas.microsoft.com/office/drawing/2014/main" id="{FADFE539-13E4-D005-28C9-8598FB2E894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grpSp>
        <p:nvGrpSpPr>
          <p:cNvPr id="13" name="Group 12">
            <a:extLst>
              <a:ext uri="{FF2B5EF4-FFF2-40B4-BE49-F238E27FC236}">
                <a16:creationId xmlns:a16="http://schemas.microsoft.com/office/drawing/2014/main" id="{587CC663-B084-C5A4-37D2-A71CCF4E26B3}"/>
              </a:ext>
            </a:extLst>
          </p:cNvPr>
          <p:cNvGrpSpPr/>
          <p:nvPr userDrawn="1"/>
        </p:nvGrpSpPr>
        <p:grpSpPr>
          <a:xfrm>
            <a:off x="-27147" y="-1143"/>
            <a:ext cx="5315494" cy="6865586"/>
            <a:chOff x="-27147" y="-1143"/>
            <a:chExt cx="5315494" cy="6865586"/>
          </a:xfrm>
        </p:grpSpPr>
        <p:sp>
          <p:nvSpPr>
            <p:cNvPr id="8" name="Freeform 7">
              <a:extLst>
                <a:ext uri="{FF2B5EF4-FFF2-40B4-BE49-F238E27FC236}">
                  <a16:creationId xmlns:a16="http://schemas.microsoft.com/office/drawing/2014/main" id="{7F5EF78F-4D80-1349-3FB1-85EF14BEAE06}"/>
                </a:ext>
              </a:extLst>
            </p:cNvPr>
            <p:cNvSpPr/>
            <p:nvPr/>
          </p:nvSpPr>
          <p:spPr>
            <a:xfrm>
              <a:off x="-1206" y="-92"/>
              <a:ext cx="1428645" cy="6852884"/>
            </a:xfrm>
            <a:custGeom>
              <a:avLst/>
              <a:gdLst>
                <a:gd name="connsiteX0" fmla="*/ 0 w 1428645"/>
                <a:gd name="connsiteY0" fmla="*/ 0 h 6852884"/>
                <a:gd name="connsiteX1" fmla="*/ 13778 w 1428645"/>
                <a:gd name="connsiteY1" fmla="*/ 6852885 h 6852884"/>
                <a:gd name="connsiteX2" fmla="*/ 45526 w 1428645"/>
                <a:gd name="connsiteY2" fmla="*/ 6852885 h 6852884"/>
                <a:gd name="connsiteX3" fmla="*/ 1428646 w 1428645"/>
                <a:gd name="connsiteY3" fmla="*/ 0 h 6852884"/>
                <a:gd name="connsiteX4" fmla="*/ 0 w 1428645"/>
                <a:gd name="connsiteY4" fmla="*/ 0 h 6852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645" h="6852884">
                  <a:moveTo>
                    <a:pt x="0" y="0"/>
                  </a:moveTo>
                  <a:lnTo>
                    <a:pt x="13778" y="6852885"/>
                  </a:lnTo>
                  <a:lnTo>
                    <a:pt x="45526" y="6852885"/>
                  </a:lnTo>
                  <a:lnTo>
                    <a:pt x="1428646" y="0"/>
                  </a:lnTo>
                  <a:lnTo>
                    <a:pt x="0" y="0"/>
                  </a:lnTo>
                  <a:close/>
                </a:path>
              </a:pathLst>
            </a:custGeom>
            <a:solidFill>
              <a:schemeClr val="tx2">
                <a:alpha val="50000"/>
              </a:scheme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D2DD4413-3262-7253-1695-FD7BCE794CC4}"/>
                </a:ext>
              </a:extLst>
            </p:cNvPr>
            <p:cNvSpPr/>
            <p:nvPr/>
          </p:nvSpPr>
          <p:spPr>
            <a:xfrm>
              <a:off x="-27147" y="0"/>
              <a:ext cx="948067" cy="6858092"/>
            </a:xfrm>
            <a:custGeom>
              <a:avLst/>
              <a:gdLst>
                <a:gd name="connsiteX0" fmla="*/ 0 w 876236"/>
                <a:gd name="connsiteY0" fmla="*/ 0 h 6859235"/>
                <a:gd name="connsiteX1" fmla="*/ 25398 w 876236"/>
                <a:gd name="connsiteY1" fmla="*/ 6859236 h 6859235"/>
                <a:gd name="connsiteX2" fmla="*/ 120641 w 876236"/>
                <a:gd name="connsiteY2" fmla="*/ 6859236 h 6859235"/>
                <a:gd name="connsiteX3" fmla="*/ 876236 w 876236"/>
                <a:gd name="connsiteY3" fmla="*/ 0 h 6859235"/>
                <a:gd name="connsiteX4" fmla="*/ 0 w 876236"/>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36" h="6859235">
                  <a:moveTo>
                    <a:pt x="0" y="0"/>
                  </a:moveTo>
                  <a:lnTo>
                    <a:pt x="25398" y="6859236"/>
                  </a:lnTo>
                  <a:lnTo>
                    <a:pt x="120641" y="6859236"/>
                  </a:lnTo>
                  <a:lnTo>
                    <a:pt x="876236" y="0"/>
                  </a:lnTo>
                  <a:lnTo>
                    <a:pt x="0" y="0"/>
                  </a:lnTo>
                  <a:close/>
                </a:path>
              </a:pathLst>
            </a:custGeom>
            <a:solidFill>
              <a:schemeClr val="accent2">
                <a:alpha val="7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561B187C-AFF3-8F34-885E-0FF12D0B61B0}"/>
                </a:ext>
              </a:extLst>
            </p:cNvPr>
            <p:cNvSpPr/>
            <p:nvPr/>
          </p:nvSpPr>
          <p:spPr>
            <a:xfrm>
              <a:off x="2811638" y="3866703"/>
              <a:ext cx="793692" cy="2997739"/>
            </a:xfrm>
            <a:custGeom>
              <a:avLst/>
              <a:gdLst>
                <a:gd name="connsiteX0" fmla="*/ 0 w 793692"/>
                <a:gd name="connsiteY0" fmla="*/ 2997740 h 2997739"/>
                <a:gd name="connsiteX1" fmla="*/ 793692 w 793692"/>
                <a:gd name="connsiteY1" fmla="*/ 2997740 h 2997739"/>
                <a:gd name="connsiteX2" fmla="*/ 666701 w 793692"/>
                <a:gd name="connsiteY2" fmla="*/ 0 h 2997739"/>
                <a:gd name="connsiteX3" fmla="*/ 0 w 793692"/>
                <a:gd name="connsiteY3" fmla="*/ 2997740 h 2997739"/>
              </a:gdLst>
              <a:ahLst/>
              <a:cxnLst>
                <a:cxn ang="0">
                  <a:pos x="connsiteX0" y="connsiteY0"/>
                </a:cxn>
                <a:cxn ang="0">
                  <a:pos x="connsiteX1" y="connsiteY1"/>
                </a:cxn>
                <a:cxn ang="0">
                  <a:pos x="connsiteX2" y="connsiteY2"/>
                </a:cxn>
                <a:cxn ang="0">
                  <a:pos x="connsiteX3" y="connsiteY3"/>
                </a:cxn>
              </a:cxnLst>
              <a:rect l="l" t="t" r="r" b="b"/>
              <a:pathLst>
                <a:path w="793692" h="2997739">
                  <a:moveTo>
                    <a:pt x="0" y="2997740"/>
                  </a:moveTo>
                  <a:lnTo>
                    <a:pt x="793692" y="2997740"/>
                  </a:lnTo>
                  <a:lnTo>
                    <a:pt x="666701" y="0"/>
                  </a:lnTo>
                  <a:lnTo>
                    <a:pt x="0" y="2997740"/>
                  </a:lnTo>
                  <a:close/>
                </a:path>
              </a:pathLst>
            </a:custGeom>
            <a:solidFill>
              <a:schemeClr val="accent2"/>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0573C25-316B-19EA-A35F-5C5649CE9FB6}"/>
                </a:ext>
              </a:extLst>
            </p:cNvPr>
            <p:cNvSpPr/>
            <p:nvPr/>
          </p:nvSpPr>
          <p:spPr>
            <a:xfrm>
              <a:off x="2805678" y="-1143"/>
              <a:ext cx="2482669" cy="6859235"/>
            </a:xfrm>
            <a:custGeom>
              <a:avLst/>
              <a:gdLst>
                <a:gd name="connsiteX0" fmla="*/ 869887 w 2482669"/>
                <a:gd name="connsiteY0" fmla="*/ 0 h 6859235"/>
                <a:gd name="connsiteX1" fmla="*/ 0 w 2482669"/>
                <a:gd name="connsiteY1" fmla="*/ 6859236 h 6859235"/>
                <a:gd name="connsiteX2" fmla="*/ 0 w 2482669"/>
                <a:gd name="connsiteY2" fmla="*/ 6859236 h 6859235"/>
                <a:gd name="connsiteX3" fmla="*/ 2482669 w 2482669"/>
                <a:gd name="connsiteY3" fmla="*/ 0 h 6859235"/>
                <a:gd name="connsiteX4" fmla="*/ 869887 w 2482669"/>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2669" h="6859235">
                  <a:moveTo>
                    <a:pt x="869887" y="0"/>
                  </a:moveTo>
                  <a:lnTo>
                    <a:pt x="0" y="6859236"/>
                  </a:lnTo>
                  <a:lnTo>
                    <a:pt x="0" y="6859236"/>
                  </a:lnTo>
                  <a:lnTo>
                    <a:pt x="2482669" y="0"/>
                  </a:lnTo>
                  <a:lnTo>
                    <a:pt x="869887" y="0"/>
                  </a:lnTo>
                  <a:close/>
                </a:path>
              </a:pathLst>
            </a:custGeom>
            <a:solidFill>
              <a:schemeClr val="tx2">
                <a:alpha val="50000"/>
              </a:schemeClr>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8700C47-473B-B644-B3A6-2345B38FAE34}"/>
                </a:ext>
              </a:extLst>
            </p:cNvPr>
            <p:cNvSpPr/>
            <p:nvPr/>
          </p:nvSpPr>
          <p:spPr>
            <a:xfrm>
              <a:off x="3195882" y="-1143"/>
              <a:ext cx="666701" cy="6865586"/>
            </a:xfrm>
            <a:custGeom>
              <a:avLst/>
              <a:gdLst>
                <a:gd name="connsiteX0" fmla="*/ 634954 w 666701"/>
                <a:gd name="connsiteY0" fmla="*/ 0 h 6865586"/>
                <a:gd name="connsiteX1" fmla="*/ 0 w 666701"/>
                <a:gd name="connsiteY1" fmla="*/ 6859236 h 6865586"/>
                <a:gd name="connsiteX2" fmla="*/ 666701 w 666701"/>
                <a:gd name="connsiteY2" fmla="*/ 6865587 h 6865586"/>
                <a:gd name="connsiteX3" fmla="*/ 666701 w 666701"/>
                <a:gd name="connsiteY3" fmla="*/ 0 h 6865586"/>
                <a:gd name="connsiteX4" fmla="*/ 634954 w 666701"/>
                <a:gd name="connsiteY4" fmla="*/ 0 h 686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01" h="6865586">
                  <a:moveTo>
                    <a:pt x="634954" y="0"/>
                  </a:moveTo>
                  <a:lnTo>
                    <a:pt x="0" y="6859236"/>
                  </a:lnTo>
                  <a:lnTo>
                    <a:pt x="666701" y="6865587"/>
                  </a:lnTo>
                  <a:lnTo>
                    <a:pt x="666701" y="0"/>
                  </a:lnTo>
                  <a:lnTo>
                    <a:pt x="634954" y="0"/>
                  </a:lnTo>
                  <a:close/>
                </a:path>
              </a:pathLst>
            </a:custGeom>
            <a:solidFill>
              <a:srgbClr val="1A325D">
                <a:alpha val="50000"/>
              </a:srgb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31958931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Photo Endcap - MESC 10">
    <p:bg>
      <p:bgPr>
        <a:solidFill>
          <a:schemeClr val="bg1"/>
        </a:solidFill>
        <a:effectLst/>
      </p:bgPr>
    </p:bg>
    <p:spTree>
      <p:nvGrpSpPr>
        <p:cNvPr id="1" name=""/>
        <p:cNvGrpSpPr/>
        <p:nvPr/>
      </p:nvGrpSpPr>
      <p:grpSpPr>
        <a:xfrm>
          <a:off x="0" y="0"/>
          <a:ext cx="0" cy="0"/>
          <a:chOff x="0" y="0"/>
          <a:chExt cx="0" cy="0"/>
        </a:xfrm>
      </p:grpSpPr>
      <p:pic>
        <p:nvPicPr>
          <p:cNvPr id="14" name="Picture 13" descr="MESC Logotype: Office of Manufacturing and Energy Supply Chains">
            <a:extLst>
              <a:ext uri="{FF2B5EF4-FFF2-40B4-BE49-F238E27FC236}">
                <a16:creationId xmlns:a16="http://schemas.microsoft.com/office/drawing/2014/main" id="{3333FBDD-47BE-2813-50C8-825012F5C6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36644" y="5288439"/>
            <a:ext cx="4516816" cy="1204484"/>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a:blip r:embed="rId3" cstate="screen">
            <a:duotone>
              <a:schemeClr val="accent1">
                <a:shade val="45000"/>
                <a:satMod val="135000"/>
              </a:schemeClr>
              <a:prstClr val="white"/>
            </a:duotone>
            <a:alphaModFix amt="75000"/>
            <a:extLst>
              <a:ext uri="{28A0092B-C50C-407E-A947-70E740481C1C}">
                <a14:useLocalDpi xmlns:a14="http://schemas.microsoft.com/office/drawing/2010/main"/>
              </a:ext>
            </a:extLst>
          </a:blip>
          <a:srcRect/>
          <a:stretch/>
        </p:blipFill>
        <p:spPr>
          <a:xfrm>
            <a:off x="0" y="2274"/>
            <a:ext cx="12192000" cy="5065711"/>
          </a:xfrm>
          <a:prstGeom prst="rect">
            <a:avLst/>
          </a:prstGeom>
        </p:spPr>
      </p:pic>
      <p:grpSp>
        <p:nvGrpSpPr>
          <p:cNvPr id="3" name="Group 2">
            <a:extLst>
              <a:ext uri="{FF2B5EF4-FFF2-40B4-BE49-F238E27FC236}">
                <a16:creationId xmlns:a16="http://schemas.microsoft.com/office/drawing/2014/main" id="{6A02CD61-77D5-0704-8768-ECFDDB19623D}"/>
              </a:ext>
            </a:extLst>
          </p:cNvPr>
          <p:cNvGrpSpPr/>
          <p:nvPr userDrawn="1"/>
        </p:nvGrpSpPr>
        <p:grpSpPr>
          <a:xfrm>
            <a:off x="-7805" y="-3390"/>
            <a:ext cx="3426941" cy="5069101"/>
            <a:chOff x="-7805" y="-3390"/>
            <a:chExt cx="3426941" cy="5069101"/>
          </a:xfrm>
        </p:grpSpPr>
        <p:sp>
          <p:nvSpPr>
            <p:cNvPr id="5" name="Freeform 4">
              <a:extLst>
                <a:ext uri="{FF2B5EF4-FFF2-40B4-BE49-F238E27FC236}">
                  <a16:creationId xmlns:a16="http://schemas.microsoft.com/office/drawing/2014/main" id="{0CDA3003-4130-C03C-2E8E-A856AFF36635}"/>
                </a:ext>
              </a:extLst>
            </p:cNvPr>
            <p:cNvSpPr/>
            <p:nvPr userDrawn="1"/>
          </p:nvSpPr>
          <p:spPr>
            <a:xfrm>
              <a:off x="9301" y="0"/>
              <a:ext cx="3409835" cy="5065710"/>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1"/>
              <a:ext cx="1611262" cy="5065711"/>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6" y="1204"/>
              <a:ext cx="1453578" cy="5061440"/>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90"/>
              <a:ext cx="1691762" cy="506144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7805" y="2273"/>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0"/>
              <a:ext cx="831485" cy="5065711"/>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178253320"/>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Photo Endcap - MESC 20">
    <p:bg>
      <p:bgPr>
        <a:solidFill>
          <a:schemeClr val="bg1"/>
        </a:solidFill>
        <a:effectLst/>
      </p:bgPr>
    </p:bg>
    <p:spTree>
      <p:nvGrpSpPr>
        <p:cNvPr id="1" name=""/>
        <p:cNvGrpSpPr/>
        <p:nvPr/>
      </p:nvGrpSpPr>
      <p:grpSpPr>
        <a:xfrm>
          <a:off x="0" y="0"/>
          <a:ext cx="0" cy="0"/>
          <a:chOff x="0" y="0"/>
          <a:chExt cx="0" cy="0"/>
        </a:xfrm>
      </p:grpSpPr>
      <p:pic>
        <p:nvPicPr>
          <p:cNvPr id="14" name="Picture 13" descr="MESC Logotype: Office of Manufacturing and Energy Supply Chains">
            <a:extLst>
              <a:ext uri="{FF2B5EF4-FFF2-40B4-BE49-F238E27FC236}">
                <a16:creationId xmlns:a16="http://schemas.microsoft.com/office/drawing/2014/main" id="{3333FBDD-47BE-2813-50C8-825012F5C6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36644" y="5288439"/>
            <a:ext cx="4516816" cy="1204484"/>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15003" y="925"/>
            <a:ext cx="12192000" cy="5065711"/>
          </a:xfrm>
          <a:prstGeom prst="rect">
            <a:avLst/>
          </a:prstGeom>
        </p:spPr>
      </p:pic>
      <p:grpSp>
        <p:nvGrpSpPr>
          <p:cNvPr id="3" name="Group 2">
            <a:extLst>
              <a:ext uri="{FF2B5EF4-FFF2-40B4-BE49-F238E27FC236}">
                <a16:creationId xmlns:a16="http://schemas.microsoft.com/office/drawing/2014/main" id="{140BF7F5-F3B2-A2E7-4F44-B7179CC0EDE6}"/>
              </a:ext>
            </a:extLst>
          </p:cNvPr>
          <p:cNvGrpSpPr/>
          <p:nvPr userDrawn="1"/>
        </p:nvGrpSpPr>
        <p:grpSpPr>
          <a:xfrm>
            <a:off x="-23151" y="-33500"/>
            <a:ext cx="3479583" cy="5111900"/>
            <a:chOff x="-23151" y="-33500"/>
            <a:chExt cx="3479583" cy="5111900"/>
          </a:xfrm>
        </p:grpSpPr>
        <p:sp>
          <p:nvSpPr>
            <p:cNvPr id="5" name="Freeform 4">
              <a:extLst>
                <a:ext uri="{FF2B5EF4-FFF2-40B4-BE49-F238E27FC236}">
                  <a16:creationId xmlns:a16="http://schemas.microsoft.com/office/drawing/2014/main" id="{0CDA3003-4130-C03C-2E8E-A856AFF36635}"/>
                </a:ext>
              </a:extLst>
            </p:cNvPr>
            <p:cNvSpPr/>
            <p:nvPr userDrawn="1"/>
          </p:nvSpPr>
          <p:spPr>
            <a:xfrm>
              <a:off x="-23151" y="-16968"/>
              <a:ext cx="3479583" cy="5095368"/>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30139"/>
              <a:ext cx="1620848" cy="5095849"/>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5" y="-28905"/>
              <a:ext cx="1462225" cy="5091549"/>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500"/>
              <a:ext cx="1701826" cy="509155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23150" y="-12690"/>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30138"/>
              <a:ext cx="836432" cy="5095850"/>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2071144395"/>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_Photo Endcap - MESC 30">
    <p:bg>
      <p:bgPr>
        <a:solidFill>
          <a:schemeClr val="bg1"/>
        </a:solidFill>
        <a:effectLst/>
      </p:bgPr>
    </p:bg>
    <p:spTree>
      <p:nvGrpSpPr>
        <p:cNvPr id="1" name=""/>
        <p:cNvGrpSpPr/>
        <p:nvPr/>
      </p:nvGrpSpPr>
      <p:grpSpPr>
        <a:xfrm>
          <a:off x="0" y="0"/>
          <a:ext cx="0" cy="0"/>
          <a:chOff x="0" y="0"/>
          <a:chExt cx="0" cy="0"/>
        </a:xfrm>
      </p:grpSpPr>
      <p:pic>
        <p:nvPicPr>
          <p:cNvPr id="14" name="Picture 13" descr="MESC Logotype: Office of Manufacturing and Energy Supply Chains">
            <a:extLst>
              <a:ext uri="{FF2B5EF4-FFF2-40B4-BE49-F238E27FC236}">
                <a16:creationId xmlns:a16="http://schemas.microsoft.com/office/drawing/2014/main" id="{3333FBDD-47BE-2813-50C8-825012F5C6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36644" y="5288439"/>
            <a:ext cx="4516816" cy="1204484"/>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rotWithShape="1">
          <a:blip r:embed="rId3" cstate="screen">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30005" y="0"/>
            <a:ext cx="12233495" cy="5062805"/>
          </a:xfrm>
          <a:prstGeom prst="rect">
            <a:avLst/>
          </a:prstGeom>
        </p:spPr>
      </p:pic>
      <p:grpSp>
        <p:nvGrpSpPr>
          <p:cNvPr id="11" name="Group 10">
            <a:extLst>
              <a:ext uri="{FF2B5EF4-FFF2-40B4-BE49-F238E27FC236}">
                <a16:creationId xmlns:a16="http://schemas.microsoft.com/office/drawing/2014/main" id="{D1AB40CB-AF3D-5DF5-773E-5FEFAA837214}"/>
              </a:ext>
            </a:extLst>
          </p:cNvPr>
          <p:cNvGrpSpPr/>
          <p:nvPr userDrawn="1"/>
        </p:nvGrpSpPr>
        <p:grpSpPr>
          <a:xfrm>
            <a:off x="-41495" y="-3390"/>
            <a:ext cx="3470495" cy="5069101"/>
            <a:chOff x="-41495" y="-3390"/>
            <a:chExt cx="3470495" cy="5069101"/>
          </a:xfrm>
        </p:grpSpPr>
        <p:sp>
          <p:nvSpPr>
            <p:cNvPr id="5" name="Freeform 4">
              <a:extLst>
                <a:ext uri="{FF2B5EF4-FFF2-40B4-BE49-F238E27FC236}">
                  <a16:creationId xmlns:a16="http://schemas.microsoft.com/office/drawing/2014/main" id="{0CDA3003-4130-C03C-2E8E-A856AFF36635}"/>
                </a:ext>
              </a:extLst>
            </p:cNvPr>
            <p:cNvSpPr/>
            <p:nvPr userDrawn="1"/>
          </p:nvSpPr>
          <p:spPr>
            <a:xfrm>
              <a:off x="-30005" y="1"/>
              <a:ext cx="3459005" cy="5065234"/>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1"/>
              <a:ext cx="1611262" cy="5065711"/>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6" y="1204"/>
              <a:ext cx="1453578" cy="5061440"/>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90"/>
              <a:ext cx="1691762" cy="506144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41495" y="0"/>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0"/>
              <a:ext cx="831485" cy="5065711"/>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269068255"/>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3_Photo Endcap - MESC 40">
    <p:bg>
      <p:bgPr>
        <a:solidFill>
          <a:schemeClr val="bg1"/>
        </a:solidFill>
        <a:effectLst/>
      </p:bgPr>
    </p:bg>
    <p:spTree>
      <p:nvGrpSpPr>
        <p:cNvPr id="1" name=""/>
        <p:cNvGrpSpPr/>
        <p:nvPr/>
      </p:nvGrpSpPr>
      <p:grpSpPr>
        <a:xfrm>
          <a:off x="0" y="0"/>
          <a:ext cx="0" cy="0"/>
          <a:chOff x="0" y="0"/>
          <a:chExt cx="0" cy="0"/>
        </a:xfrm>
      </p:grpSpPr>
      <p:pic>
        <p:nvPicPr>
          <p:cNvPr id="14" name="Picture 13" descr="MESC Logotype: Office of Manufacturing and Energy Supply Chains">
            <a:extLst>
              <a:ext uri="{FF2B5EF4-FFF2-40B4-BE49-F238E27FC236}">
                <a16:creationId xmlns:a16="http://schemas.microsoft.com/office/drawing/2014/main" id="{3333FBDD-47BE-2813-50C8-825012F5C6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36644" y="5288439"/>
            <a:ext cx="4516816" cy="1204484"/>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a:blip r:embed="rId3" cstate="hqprint">
            <a:alphaModFix amt="60000"/>
            <a:extLst>
              <a:ext uri="{28A0092B-C50C-407E-A947-70E740481C1C}">
                <a14:useLocalDpi xmlns:a14="http://schemas.microsoft.com/office/drawing/2010/main"/>
              </a:ext>
            </a:extLst>
          </a:blip>
          <a:srcRect/>
          <a:stretch/>
        </p:blipFill>
        <p:spPr>
          <a:xfrm>
            <a:off x="-30005" y="2430"/>
            <a:ext cx="12233495" cy="5062805"/>
          </a:xfrm>
          <a:prstGeom prst="rect">
            <a:avLst/>
          </a:prstGeom>
        </p:spPr>
      </p:pic>
      <p:grpSp>
        <p:nvGrpSpPr>
          <p:cNvPr id="11" name="Group 10">
            <a:extLst>
              <a:ext uri="{FF2B5EF4-FFF2-40B4-BE49-F238E27FC236}">
                <a16:creationId xmlns:a16="http://schemas.microsoft.com/office/drawing/2014/main" id="{D1AB40CB-AF3D-5DF5-773E-5FEFAA837214}"/>
              </a:ext>
            </a:extLst>
          </p:cNvPr>
          <p:cNvGrpSpPr/>
          <p:nvPr userDrawn="1"/>
        </p:nvGrpSpPr>
        <p:grpSpPr>
          <a:xfrm>
            <a:off x="-41495" y="-3390"/>
            <a:ext cx="3470495" cy="5069101"/>
            <a:chOff x="-41495" y="-3390"/>
            <a:chExt cx="3470495" cy="5069101"/>
          </a:xfrm>
        </p:grpSpPr>
        <p:sp>
          <p:nvSpPr>
            <p:cNvPr id="5" name="Freeform 4">
              <a:extLst>
                <a:ext uri="{FF2B5EF4-FFF2-40B4-BE49-F238E27FC236}">
                  <a16:creationId xmlns:a16="http://schemas.microsoft.com/office/drawing/2014/main" id="{0CDA3003-4130-C03C-2E8E-A856AFF36635}"/>
                </a:ext>
              </a:extLst>
            </p:cNvPr>
            <p:cNvSpPr/>
            <p:nvPr userDrawn="1"/>
          </p:nvSpPr>
          <p:spPr>
            <a:xfrm>
              <a:off x="-30005" y="1"/>
              <a:ext cx="3459005" cy="5065234"/>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1"/>
              <a:ext cx="1611262" cy="5065711"/>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6" y="1204"/>
              <a:ext cx="1453578" cy="5061440"/>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90"/>
              <a:ext cx="1691762" cy="506144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41495" y="0"/>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0"/>
              <a:ext cx="831485" cy="5065711"/>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
        <p:nvSpPr>
          <p:cNvPr id="3" name="TextBox 2">
            <a:extLst>
              <a:ext uri="{FF2B5EF4-FFF2-40B4-BE49-F238E27FC236}">
                <a16:creationId xmlns:a16="http://schemas.microsoft.com/office/drawing/2014/main" id="{4788A6C5-5603-5C66-BC83-97A05C2B0D91}"/>
              </a:ext>
            </a:extLst>
          </p:cNvPr>
          <p:cNvSpPr txBox="1"/>
          <p:nvPr userDrawn="1"/>
        </p:nvSpPr>
        <p:spPr>
          <a:xfrm>
            <a:off x="1106196" y="2630265"/>
            <a:ext cx="9977712" cy="477054"/>
          </a:xfrm>
          <a:prstGeom prst="rect">
            <a:avLst/>
          </a:prstGeom>
          <a:noFill/>
        </p:spPr>
        <p:txBody>
          <a:bodyPr wrap="square" rtlCol="0">
            <a:spAutoFit/>
          </a:bodyPr>
          <a:lstStyle/>
          <a:p>
            <a:pPr algn="ctr"/>
            <a:r>
              <a:rPr lang="en-US" sz="2500" i="0" spc="600">
                <a:solidFill>
                  <a:schemeClr val="bg1"/>
                </a:solidFill>
                <a:effectLst>
                  <a:outerShdw blurRad="50800" dist="38100" dir="2700000" algn="tl" rotWithShape="0">
                    <a:schemeClr val="accent5">
                      <a:alpha val="40000"/>
                    </a:schemeClr>
                  </a:outerShdw>
                </a:effectLst>
                <a:latin typeface="Avenir Book" panose="02000503020000020003" pitchFamily="2" charset="0"/>
              </a:rPr>
              <a:t>INVESTING IN AMERICA’S ENERGY FUTURE</a:t>
            </a:r>
          </a:p>
        </p:txBody>
      </p:sp>
    </p:spTree>
    <p:extLst>
      <p:ext uri="{BB962C8B-B14F-4D97-AF65-F5344CB8AC3E}">
        <p14:creationId xmlns:p14="http://schemas.microsoft.com/office/powerpoint/2010/main" val="4143020217"/>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6FB22-0DB0-487A-9127-3979B139B1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C713BE4-5B3D-4BF7-9C41-C01C5804D202}"/>
              </a:ext>
            </a:extLst>
          </p:cNvPr>
          <p:cNvSpPr>
            <a:spLocks noGrp="1"/>
          </p:cNvSpPr>
          <p:nvPr>
            <p:ph type="dt" sz="half" idx="10"/>
          </p:nvPr>
        </p:nvSpPr>
        <p:spPr/>
        <p:txBody>
          <a:bodyPr/>
          <a:lstStyle/>
          <a:p>
            <a:fld id="{9017480A-12AF-4B33-ADE4-DC1D5664E7CF}" type="datetime1">
              <a:rPr lang="en-US" smtClean="0"/>
              <a:t>11/16/2023</a:t>
            </a:fld>
            <a:endParaRPr lang="en-US"/>
          </a:p>
        </p:txBody>
      </p:sp>
      <p:sp>
        <p:nvSpPr>
          <p:cNvPr id="4" name="Footer Placeholder 3">
            <a:extLst>
              <a:ext uri="{FF2B5EF4-FFF2-40B4-BE49-F238E27FC236}">
                <a16:creationId xmlns:a16="http://schemas.microsoft.com/office/drawing/2014/main" id="{C7783027-0A50-432B-96A8-D509DEEA72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F6521FC-0ECC-483E-94FA-C7A3954A9042}"/>
              </a:ext>
            </a:extLst>
          </p:cNvPr>
          <p:cNvSpPr>
            <a:spLocks noGrp="1"/>
          </p:cNvSpPr>
          <p:nvPr>
            <p:ph type="sldNum" sz="quarter" idx="12"/>
          </p:nvPr>
        </p:nvSpPr>
        <p:spPr/>
        <p:txBody>
          <a:bodyPr/>
          <a:lstStyle/>
          <a:p>
            <a:fld id="{C49FFCB8-B38E-4214-874B-E919E46EB600}" type="slidenum">
              <a:rPr lang="en-US" smtClean="0"/>
              <a:t>‹#›</a:t>
            </a:fld>
            <a:endParaRPr lang="en-US"/>
          </a:p>
        </p:txBody>
      </p:sp>
    </p:spTree>
    <p:extLst>
      <p:ext uri="{BB962C8B-B14F-4D97-AF65-F5344CB8AC3E}">
        <p14:creationId xmlns:p14="http://schemas.microsoft.com/office/powerpoint/2010/main" val="20597674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5B92B2B-8B4D-03A0-43EC-D548F832D003}"/>
              </a:ext>
            </a:extLst>
          </p:cNvPr>
          <p:cNvSpPr>
            <a:spLocks noGrp="1"/>
          </p:cNvSpPr>
          <p:nvPr>
            <p:ph type="dt" sz="half" idx="10"/>
          </p:nvPr>
        </p:nvSpPr>
        <p:spPr/>
        <p:txBody>
          <a:bodyPr/>
          <a:lstStyle/>
          <a:p>
            <a:fld id="{B15910B4-C2DE-4743-8E63-1F49593F848F}" type="datetimeFigureOut">
              <a:rPr lang="en-US" smtClean="0"/>
              <a:t>11/16/2023</a:t>
            </a:fld>
            <a:endParaRPr lang="en-US"/>
          </a:p>
        </p:txBody>
      </p:sp>
      <p:sp>
        <p:nvSpPr>
          <p:cNvPr id="4" name="Footer Placeholder 3">
            <a:extLst>
              <a:ext uri="{FF2B5EF4-FFF2-40B4-BE49-F238E27FC236}">
                <a16:creationId xmlns:a16="http://schemas.microsoft.com/office/drawing/2014/main" id="{41014E55-3D28-2C1C-0B73-94B68980528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50C90F-A27E-309E-8970-741AADA8B9F1}"/>
              </a:ext>
            </a:extLst>
          </p:cNvPr>
          <p:cNvSpPr>
            <a:spLocks noGrp="1"/>
          </p:cNvSpPr>
          <p:nvPr>
            <p:ph type="sldNum" sz="quarter" idx="12"/>
          </p:nvPr>
        </p:nvSpPr>
        <p:spPr/>
        <p:txBody>
          <a:bodyPr/>
          <a:lstStyle/>
          <a:p>
            <a:fld id="{02B5F485-982A-41B4-B657-C5770F0E9220}" type="slidenum">
              <a:rPr lang="en-US" smtClean="0"/>
              <a:t>‹#›</a:t>
            </a:fld>
            <a:endParaRPr lang="en-US"/>
          </a:p>
        </p:txBody>
      </p:sp>
      <p:sp>
        <p:nvSpPr>
          <p:cNvPr id="6" name="Holder 2">
            <a:extLst>
              <a:ext uri="{FF2B5EF4-FFF2-40B4-BE49-F238E27FC236}">
                <a16:creationId xmlns:a16="http://schemas.microsoft.com/office/drawing/2014/main" id="{01781982-66D4-28DD-56BE-FB835AE0845C}"/>
              </a:ext>
            </a:extLst>
          </p:cNvPr>
          <p:cNvSpPr>
            <a:spLocks noGrp="1"/>
          </p:cNvSpPr>
          <p:nvPr>
            <p:ph type="title"/>
          </p:nvPr>
        </p:nvSpPr>
        <p:spPr>
          <a:xfrm>
            <a:off x="822960" y="182880"/>
            <a:ext cx="10560941" cy="914400"/>
          </a:xfrm>
          <a:prstGeom prst="rect">
            <a:avLst/>
          </a:prstGeom>
        </p:spPr>
        <p:txBody>
          <a:bodyPr wrap="square" lIns="91440" tIns="0" rIns="91440" bIns="0" anchor="b" anchorCtr="0">
            <a:spAutoFit/>
          </a:bodyPr>
          <a:lstStyle>
            <a:lvl1pPr>
              <a:defRPr sz="3000" b="1" i="0">
                <a:solidFill>
                  <a:srgbClr val="1CA6DF"/>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38163339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9" name="Subtitle 2"/>
          <p:cNvSpPr>
            <a:spLocks noGrp="1"/>
          </p:cNvSpPr>
          <p:nvPr>
            <p:ph type="subTitle" idx="1"/>
          </p:nvPr>
        </p:nvSpPr>
        <p:spPr>
          <a:xfrm>
            <a:off x="707949" y="1261154"/>
            <a:ext cx="11026339" cy="1381360"/>
          </a:xfrm>
          <a:prstGeom prst="rect">
            <a:avLst/>
          </a:prstGeom>
        </p:spPr>
        <p:txBody>
          <a:bodyPr>
            <a:normAutofit/>
          </a:bodyPr>
          <a:lstStyle>
            <a:lvl1pPr marL="0" indent="0" algn="l">
              <a:buNone/>
              <a:defRPr sz="4000" b="1" i="0" baseline="0">
                <a:solidFill>
                  <a:schemeClr val="accent5"/>
                </a:solidFill>
                <a:latin typeface="+mj-lt"/>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60" y="2779872"/>
            <a:ext cx="5561403"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20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5" y="3285743"/>
            <a:ext cx="3798903"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pic>
        <p:nvPicPr>
          <p:cNvPr id="9" name="object 896">
            <a:extLst>
              <a:ext uri="{FF2B5EF4-FFF2-40B4-BE49-F238E27FC236}">
                <a16:creationId xmlns:a16="http://schemas.microsoft.com/office/drawing/2014/main" id="{BB305558-8CA8-0312-BC63-364EE87CF25B}"/>
              </a:ext>
            </a:extLst>
          </p:cNvPr>
          <p:cNvPicPr/>
          <p:nvPr userDrawn="1"/>
        </p:nvPicPr>
        <p:blipFill>
          <a:blip r:embed="rId2" cstate="print"/>
          <a:stretch>
            <a:fillRect/>
          </a:stretch>
        </p:blipFill>
        <p:spPr>
          <a:xfrm>
            <a:off x="4174" y="3635949"/>
            <a:ext cx="2237152" cy="3223089"/>
          </a:xfrm>
          <a:prstGeom prst="rect">
            <a:avLst/>
          </a:prstGeom>
        </p:spPr>
      </p:pic>
      <p:pic>
        <p:nvPicPr>
          <p:cNvPr id="10" name="object 897">
            <a:extLst>
              <a:ext uri="{FF2B5EF4-FFF2-40B4-BE49-F238E27FC236}">
                <a16:creationId xmlns:a16="http://schemas.microsoft.com/office/drawing/2014/main" id="{6EE05FB5-DF1A-3485-60DD-F81997CA43B5}"/>
              </a:ext>
            </a:extLst>
          </p:cNvPr>
          <p:cNvPicPr/>
          <p:nvPr userDrawn="1"/>
        </p:nvPicPr>
        <p:blipFill>
          <a:blip r:embed="rId3" cstate="print"/>
          <a:stretch>
            <a:fillRect/>
          </a:stretch>
        </p:blipFill>
        <p:spPr>
          <a:xfrm>
            <a:off x="2607534" y="3635949"/>
            <a:ext cx="3284673" cy="3223097"/>
          </a:xfrm>
          <a:prstGeom prst="rect">
            <a:avLst/>
          </a:prstGeom>
        </p:spPr>
      </p:pic>
      <p:pic>
        <p:nvPicPr>
          <p:cNvPr id="11" name="object 898">
            <a:extLst>
              <a:ext uri="{FF2B5EF4-FFF2-40B4-BE49-F238E27FC236}">
                <a16:creationId xmlns:a16="http://schemas.microsoft.com/office/drawing/2014/main" id="{0CD524DB-3546-0773-AF1E-55E462FFBF9A}"/>
              </a:ext>
            </a:extLst>
          </p:cNvPr>
          <p:cNvPicPr/>
          <p:nvPr userDrawn="1"/>
        </p:nvPicPr>
        <p:blipFill>
          <a:blip r:embed="rId4" cstate="print"/>
          <a:stretch>
            <a:fillRect/>
          </a:stretch>
        </p:blipFill>
        <p:spPr>
          <a:xfrm>
            <a:off x="6260516" y="3635949"/>
            <a:ext cx="3284673" cy="3223089"/>
          </a:xfrm>
          <a:prstGeom prst="rect">
            <a:avLst/>
          </a:prstGeom>
        </p:spPr>
      </p:pic>
      <p:pic>
        <p:nvPicPr>
          <p:cNvPr id="12" name="object 899">
            <a:extLst>
              <a:ext uri="{FF2B5EF4-FFF2-40B4-BE49-F238E27FC236}">
                <a16:creationId xmlns:a16="http://schemas.microsoft.com/office/drawing/2014/main" id="{D4B8747E-5D0C-4ED4-CFE1-B9C5592A000E}"/>
              </a:ext>
            </a:extLst>
          </p:cNvPr>
          <p:cNvPicPr/>
          <p:nvPr userDrawn="1"/>
        </p:nvPicPr>
        <p:blipFill>
          <a:blip r:embed="rId5" cstate="print"/>
          <a:stretch>
            <a:fillRect/>
          </a:stretch>
        </p:blipFill>
        <p:spPr>
          <a:xfrm>
            <a:off x="9913498" y="3635949"/>
            <a:ext cx="2259213" cy="3223097"/>
          </a:xfrm>
          <a:prstGeom prst="rect">
            <a:avLst/>
          </a:prstGeom>
        </p:spPr>
      </p:pic>
      <p:pic>
        <p:nvPicPr>
          <p:cNvPr id="14" name="object 5">
            <a:extLst>
              <a:ext uri="{FF2B5EF4-FFF2-40B4-BE49-F238E27FC236}">
                <a16:creationId xmlns:a16="http://schemas.microsoft.com/office/drawing/2014/main" id="{1C3BA4BC-FAC8-271F-17C7-7D3DAFF6E6D7}"/>
              </a:ext>
            </a:extLst>
          </p:cNvPr>
          <p:cNvPicPr/>
          <p:nvPr userDrawn="1"/>
        </p:nvPicPr>
        <p:blipFill>
          <a:blip r:embed="rId6" cstate="print"/>
          <a:stretch>
            <a:fillRect/>
          </a:stretch>
        </p:blipFill>
        <p:spPr>
          <a:xfrm>
            <a:off x="1466710" y="3635949"/>
            <a:ext cx="1915440" cy="3227832"/>
          </a:xfrm>
          <a:prstGeom prst="rect">
            <a:avLst/>
          </a:prstGeom>
        </p:spPr>
      </p:pic>
      <p:pic>
        <p:nvPicPr>
          <p:cNvPr id="15" name="object 6">
            <a:extLst>
              <a:ext uri="{FF2B5EF4-FFF2-40B4-BE49-F238E27FC236}">
                <a16:creationId xmlns:a16="http://schemas.microsoft.com/office/drawing/2014/main" id="{8EC67741-270A-4DC5-53B0-2B67C2411B88}"/>
              </a:ext>
            </a:extLst>
          </p:cNvPr>
          <p:cNvPicPr/>
          <p:nvPr userDrawn="1"/>
        </p:nvPicPr>
        <p:blipFill>
          <a:blip r:embed="rId7" cstate="print"/>
          <a:stretch>
            <a:fillRect/>
          </a:stretch>
        </p:blipFill>
        <p:spPr>
          <a:xfrm>
            <a:off x="5117591" y="3635949"/>
            <a:ext cx="1917541" cy="3227832"/>
          </a:xfrm>
          <a:prstGeom prst="rect">
            <a:avLst/>
          </a:prstGeom>
        </p:spPr>
      </p:pic>
      <p:pic>
        <p:nvPicPr>
          <p:cNvPr id="16" name="object 7">
            <a:extLst>
              <a:ext uri="{FF2B5EF4-FFF2-40B4-BE49-F238E27FC236}">
                <a16:creationId xmlns:a16="http://schemas.microsoft.com/office/drawing/2014/main" id="{C2868144-C3AC-DAD2-732B-7F168BE04CF2}"/>
              </a:ext>
            </a:extLst>
          </p:cNvPr>
          <p:cNvPicPr/>
          <p:nvPr userDrawn="1"/>
        </p:nvPicPr>
        <p:blipFill>
          <a:blip r:embed="rId8" cstate="print"/>
          <a:stretch>
            <a:fillRect/>
          </a:stretch>
        </p:blipFill>
        <p:spPr>
          <a:xfrm>
            <a:off x="8770573" y="3635949"/>
            <a:ext cx="1917541" cy="3227832"/>
          </a:xfrm>
          <a:prstGeom prst="rect">
            <a:avLst/>
          </a:prstGeom>
        </p:spPr>
      </p:pic>
      <p:pic>
        <p:nvPicPr>
          <p:cNvPr id="18" name="Picture 17">
            <a:extLst>
              <a:ext uri="{FF2B5EF4-FFF2-40B4-BE49-F238E27FC236}">
                <a16:creationId xmlns:a16="http://schemas.microsoft.com/office/drawing/2014/main" id="{D87B9FFA-F7F6-93D4-D770-B7F388E192F3}"/>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8424951" y="236994"/>
            <a:ext cx="3428999" cy="914400"/>
          </a:xfrm>
          <a:prstGeom prst="rect">
            <a:avLst/>
          </a:prstGeom>
        </p:spPr>
      </p:pic>
    </p:spTree>
    <p:extLst>
      <p:ext uri="{BB962C8B-B14F-4D97-AF65-F5344CB8AC3E}">
        <p14:creationId xmlns:p14="http://schemas.microsoft.com/office/powerpoint/2010/main" val="34313942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230B5-A936-ABB3-0919-4AC28AAE7B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AD2BDD5-303B-F09D-4E2F-1814EDCBEC28}"/>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969E1F7-3D26-C0DA-A932-4CB1F1FB3C8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94715BC-FA7E-EDF5-AD75-38ECDC4787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F6256E-379D-E164-2A7E-56BF26D3BAF6}"/>
              </a:ext>
            </a:extLst>
          </p:cNvPr>
          <p:cNvSpPr>
            <a:spLocks noGrp="1"/>
          </p:cNvSpPr>
          <p:nvPr>
            <p:ph type="sldNum" sz="quarter" idx="12"/>
          </p:nvPr>
        </p:nvSpPr>
        <p:spPr/>
        <p:txBody>
          <a:bodyPr/>
          <a:lstStyle/>
          <a:p>
            <a:fld id="{02B5F485-982A-41B4-B657-C5770F0E9220}" type="slidenum">
              <a:rPr lang="en-US" smtClean="0"/>
              <a:t>‹#›</a:t>
            </a:fld>
            <a:endParaRPr lang="en-US"/>
          </a:p>
        </p:txBody>
      </p:sp>
      <p:sp>
        <p:nvSpPr>
          <p:cNvPr id="7" name="bg object 17">
            <a:extLst>
              <a:ext uri="{FF2B5EF4-FFF2-40B4-BE49-F238E27FC236}">
                <a16:creationId xmlns:a16="http://schemas.microsoft.com/office/drawing/2014/main" id="{425995A7-A0EA-D9C1-BD6D-9CB7255F5025}"/>
              </a:ext>
            </a:extLst>
          </p:cNvPr>
          <p:cNvSpPr/>
          <p:nvPr userDrawn="1"/>
        </p:nvSpPr>
        <p:spPr>
          <a:xfrm>
            <a:off x="8631" y="6040231"/>
            <a:ext cx="12192000" cy="508748"/>
          </a:xfrm>
          <a:custGeom>
            <a:avLst/>
            <a:gdLst>
              <a:gd name="connsiteX0" fmla="*/ 10058400 w 10058400"/>
              <a:gd name="connsiteY0" fmla="*/ 576580 h 576580"/>
              <a:gd name="connsiteX1" fmla="*/ 2574607 w 10058400"/>
              <a:gd name="connsiteY1" fmla="*/ 576580 h 576580"/>
              <a:gd name="connsiteX2" fmla="*/ 1801725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801725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901360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929828 w 10058400"/>
              <a:gd name="connsiteY2" fmla="*/ 0 h 576580"/>
              <a:gd name="connsiteX3" fmla="*/ 0 w 10058400"/>
              <a:gd name="connsiteY3" fmla="*/ 0 h 576580"/>
            </a:gdLst>
            <a:ahLst/>
            <a:cxnLst>
              <a:cxn ang="0">
                <a:pos x="connsiteX0" y="connsiteY0"/>
              </a:cxn>
              <a:cxn ang="0">
                <a:pos x="connsiteX1" y="connsiteY1"/>
              </a:cxn>
              <a:cxn ang="0">
                <a:pos x="connsiteX2" y="connsiteY2"/>
              </a:cxn>
              <a:cxn ang="0">
                <a:pos x="connsiteX3" y="connsiteY3"/>
              </a:cxn>
            </a:cxnLst>
            <a:rect l="l" t="t" r="r" b="b"/>
            <a:pathLst>
              <a:path w="10058400" h="576580">
                <a:moveTo>
                  <a:pt x="10058400" y="576580"/>
                </a:moveTo>
                <a:lnTo>
                  <a:pt x="2133366" y="557027"/>
                </a:lnTo>
                <a:lnTo>
                  <a:pt x="1929828" y="0"/>
                </a:lnTo>
                <a:lnTo>
                  <a:pt x="0" y="0"/>
                </a:lnTo>
              </a:path>
            </a:pathLst>
          </a:custGeom>
          <a:ln w="12699">
            <a:solidFill>
              <a:srgbClr val="2460AD"/>
            </a:solidFill>
          </a:ln>
        </p:spPr>
        <p:txBody>
          <a:bodyPr wrap="square" lIns="0" tIns="0" rIns="0" bIns="0" rtlCol="0"/>
          <a:lstStyle/>
          <a:p>
            <a:endParaRPr sz="1588"/>
          </a:p>
        </p:txBody>
      </p:sp>
      <p:pic>
        <p:nvPicPr>
          <p:cNvPr id="8" name="Picture 7">
            <a:extLst>
              <a:ext uri="{FF2B5EF4-FFF2-40B4-BE49-F238E27FC236}">
                <a16:creationId xmlns:a16="http://schemas.microsoft.com/office/drawing/2014/main" id="{F578F0B0-CDC1-1E75-0330-8668E3DB054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25288" y="6099848"/>
            <a:ext cx="1888315" cy="503551"/>
          </a:xfrm>
          <a:prstGeom prst="rect">
            <a:avLst/>
          </a:prstGeom>
        </p:spPr>
      </p:pic>
    </p:spTree>
    <p:extLst>
      <p:ext uri="{BB962C8B-B14F-4D97-AF65-F5344CB8AC3E}">
        <p14:creationId xmlns:p14="http://schemas.microsoft.com/office/powerpoint/2010/main" val="256269479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831850" y="702571"/>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831850" y="3582296"/>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656DEA3-78D1-571F-643E-BEED039E0230}"/>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861EE3B-1630-C87F-1380-14C897427F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9B4AC03-8C35-D780-29BB-60666260E526}"/>
              </a:ext>
            </a:extLst>
          </p:cNvPr>
          <p:cNvSpPr>
            <a:spLocks noGrp="1"/>
          </p:cNvSpPr>
          <p:nvPr>
            <p:ph type="sldNum" sz="quarter" idx="12"/>
          </p:nvPr>
        </p:nvSpPr>
        <p:spPr/>
        <p:txBody>
          <a:bodyPr/>
          <a:lstStyle/>
          <a:p>
            <a:fld id="{02B5F485-982A-41B4-B657-C5770F0E9220}" type="slidenum">
              <a:rPr lang="en-US" smtClean="0"/>
              <a:t>‹#›</a:t>
            </a:fld>
            <a:endParaRPr lang="en-US"/>
          </a:p>
        </p:txBody>
      </p:sp>
      <p:sp>
        <p:nvSpPr>
          <p:cNvPr id="9" name="bg object 17">
            <a:extLst>
              <a:ext uri="{FF2B5EF4-FFF2-40B4-BE49-F238E27FC236}">
                <a16:creationId xmlns:a16="http://schemas.microsoft.com/office/drawing/2014/main" id="{57654BA1-6E09-C07A-F1D1-7086182B18EC}"/>
              </a:ext>
            </a:extLst>
          </p:cNvPr>
          <p:cNvSpPr/>
          <p:nvPr userDrawn="1"/>
        </p:nvSpPr>
        <p:spPr>
          <a:xfrm>
            <a:off x="8631" y="6040231"/>
            <a:ext cx="12192000" cy="508748"/>
          </a:xfrm>
          <a:custGeom>
            <a:avLst/>
            <a:gdLst>
              <a:gd name="connsiteX0" fmla="*/ 10058400 w 10058400"/>
              <a:gd name="connsiteY0" fmla="*/ 576580 h 576580"/>
              <a:gd name="connsiteX1" fmla="*/ 2574607 w 10058400"/>
              <a:gd name="connsiteY1" fmla="*/ 576580 h 576580"/>
              <a:gd name="connsiteX2" fmla="*/ 1801725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801725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901360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929828 w 10058400"/>
              <a:gd name="connsiteY2" fmla="*/ 0 h 576580"/>
              <a:gd name="connsiteX3" fmla="*/ 0 w 10058400"/>
              <a:gd name="connsiteY3" fmla="*/ 0 h 576580"/>
            </a:gdLst>
            <a:ahLst/>
            <a:cxnLst>
              <a:cxn ang="0">
                <a:pos x="connsiteX0" y="connsiteY0"/>
              </a:cxn>
              <a:cxn ang="0">
                <a:pos x="connsiteX1" y="connsiteY1"/>
              </a:cxn>
              <a:cxn ang="0">
                <a:pos x="connsiteX2" y="connsiteY2"/>
              </a:cxn>
              <a:cxn ang="0">
                <a:pos x="connsiteX3" y="connsiteY3"/>
              </a:cxn>
            </a:cxnLst>
            <a:rect l="l" t="t" r="r" b="b"/>
            <a:pathLst>
              <a:path w="10058400" h="576580">
                <a:moveTo>
                  <a:pt x="10058400" y="576580"/>
                </a:moveTo>
                <a:lnTo>
                  <a:pt x="2133366" y="557027"/>
                </a:lnTo>
                <a:lnTo>
                  <a:pt x="1929828" y="0"/>
                </a:lnTo>
                <a:lnTo>
                  <a:pt x="0" y="0"/>
                </a:lnTo>
              </a:path>
            </a:pathLst>
          </a:custGeom>
          <a:ln w="12699">
            <a:solidFill>
              <a:srgbClr val="2460AD"/>
            </a:solidFill>
          </a:ln>
        </p:spPr>
        <p:txBody>
          <a:bodyPr wrap="square" lIns="0" tIns="0" rIns="0" bIns="0" rtlCol="0"/>
          <a:lstStyle/>
          <a:p>
            <a:endParaRPr sz="1588"/>
          </a:p>
        </p:txBody>
      </p:sp>
      <p:pic>
        <p:nvPicPr>
          <p:cNvPr id="10" name="Picture 9">
            <a:extLst>
              <a:ext uri="{FF2B5EF4-FFF2-40B4-BE49-F238E27FC236}">
                <a16:creationId xmlns:a16="http://schemas.microsoft.com/office/drawing/2014/main" id="{2540A91F-2C39-9254-5422-C94E27AE5E7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25288" y="6099848"/>
            <a:ext cx="1888315" cy="503551"/>
          </a:xfrm>
          <a:prstGeom prst="rect">
            <a:avLst/>
          </a:prstGeom>
        </p:spPr>
      </p:pic>
    </p:spTree>
    <p:extLst>
      <p:ext uri="{BB962C8B-B14F-4D97-AF65-F5344CB8AC3E}">
        <p14:creationId xmlns:p14="http://schemas.microsoft.com/office/powerpoint/2010/main" val="150329466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39D4ABE-6EDB-C877-0CDC-9601136D06E9}"/>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9628F66-E1BF-CAE7-D00F-F62127B4A4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11F234-6FA3-EEA0-278A-FF8F8A26F17C}"/>
              </a:ext>
            </a:extLst>
          </p:cNvPr>
          <p:cNvSpPr>
            <a:spLocks noGrp="1"/>
          </p:cNvSpPr>
          <p:nvPr>
            <p:ph type="sldNum" sz="quarter" idx="12"/>
          </p:nvPr>
        </p:nvSpPr>
        <p:spPr/>
        <p:txBody>
          <a:bodyPr/>
          <a:lstStyle/>
          <a:p>
            <a:fld id="{02B5F485-982A-41B4-B657-C5770F0E9220}" type="slidenum">
              <a:rPr lang="en-US" smtClean="0"/>
              <a:t>‹#›</a:t>
            </a:fld>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182880"/>
            <a:ext cx="10560941" cy="914400"/>
          </a:xfrm>
          <a:prstGeom prst="rect">
            <a:avLst/>
          </a:prstGeom>
        </p:spPr>
        <p:txBody>
          <a:bodyPr wrap="square" lIns="91440" tIns="0" rIns="91440" bIns="0" anchor="b" anchorCtr="0">
            <a:spAutoFit/>
          </a:bodyPr>
          <a:lstStyle>
            <a:lvl1pPr>
              <a:defRPr sz="3000" b="1" i="0">
                <a:solidFill>
                  <a:srgbClr val="1CA6DF"/>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136665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Blue Transition Title">
    <p:bg>
      <p:bgPr>
        <a:solidFill>
          <a:schemeClr val="tx2"/>
        </a:solidFill>
        <a:effectLst/>
      </p:bgPr>
    </p:bg>
    <p:spTree>
      <p:nvGrpSpPr>
        <p:cNvPr id="1" name=""/>
        <p:cNvGrpSpPr/>
        <p:nvPr/>
      </p:nvGrpSpPr>
      <p:grpSpPr>
        <a:xfrm>
          <a:off x="0" y="0"/>
          <a:ext cx="0" cy="0"/>
          <a:chOff x="0" y="0"/>
          <a:chExt cx="0" cy="0"/>
        </a:xfrm>
      </p:grpSpPr>
      <p:pic>
        <p:nvPicPr>
          <p:cNvPr id="13" name="object 6">
            <a:extLst>
              <a:ext uri="{FF2B5EF4-FFF2-40B4-BE49-F238E27FC236}">
                <a16:creationId xmlns:a16="http://schemas.microsoft.com/office/drawing/2014/main" id="{0D874A40-24C6-290C-82C7-2282B302CCC8}"/>
              </a:ext>
            </a:extLst>
          </p:cNvPr>
          <p:cNvPicPr/>
          <p:nvPr userDrawn="1"/>
        </p:nvPicPr>
        <p:blipFill rotWithShape="1">
          <a:blip r:embed="rId2" cstate="screen">
            <a:duotone>
              <a:schemeClr val="accent1">
                <a:shade val="45000"/>
                <a:satMod val="135000"/>
              </a:schemeClr>
              <a:prstClr val="white"/>
            </a:duotone>
            <a:alphaModFix amt="50000"/>
            <a:extLst>
              <a:ext uri="{28A0092B-C50C-407E-A947-70E740481C1C}">
                <a14:useLocalDpi xmlns:a14="http://schemas.microsoft.com/office/drawing/2010/main"/>
              </a:ext>
            </a:extLst>
          </a:blip>
          <a:srcRect/>
          <a:stretch/>
        </p:blipFill>
        <p:spPr>
          <a:xfrm>
            <a:off x="-18586" y="-11119"/>
            <a:ext cx="3484162" cy="6860768"/>
          </a:xfrm>
          <a:prstGeom prst="rect">
            <a:avLst/>
          </a:prstGeom>
        </p:spPr>
      </p:pic>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4946008" y="1748117"/>
            <a:ext cx="6530788" cy="2420471"/>
          </a:xfrm>
        </p:spPr>
        <p:txBody>
          <a:bodyPr lIns="0" tIns="0" rIns="0" bIns="0">
            <a:noAutofit/>
          </a:bodyPr>
          <a:lstStyle>
            <a:lvl1pPr>
              <a:defRPr sz="5824" b="0" i="0">
                <a:solidFill>
                  <a:schemeClr val="bg2"/>
                </a:solidFill>
                <a:latin typeface="Avenir LT Std 65 Medium"/>
                <a:cs typeface="Avenir LT Std 65 Medium"/>
              </a:defRPr>
            </a:lvl1pPr>
          </a:lstStyle>
          <a:p>
            <a:r>
              <a:rPr lang="en-US"/>
              <a:t>Click to edit Master title style</a:t>
            </a:r>
            <a:endParaRPr/>
          </a:p>
        </p:txBody>
      </p:sp>
      <p:sp>
        <p:nvSpPr>
          <p:cNvPr id="10" name="Holder 3">
            <a:extLst>
              <a:ext uri="{FF2B5EF4-FFF2-40B4-BE49-F238E27FC236}">
                <a16:creationId xmlns:a16="http://schemas.microsoft.com/office/drawing/2014/main" id="{3E6289C2-E677-5144-9ECA-42D077D6C5DA}"/>
              </a:ext>
            </a:extLst>
          </p:cNvPr>
          <p:cNvSpPr>
            <a:spLocks noGrp="1"/>
          </p:cNvSpPr>
          <p:nvPr>
            <p:ph type="body" idx="1"/>
          </p:nvPr>
        </p:nvSpPr>
        <p:spPr>
          <a:xfrm>
            <a:off x="4946008" y="4370294"/>
            <a:ext cx="6530788" cy="1011933"/>
          </a:xfrm>
        </p:spPr>
        <p:txBody>
          <a:bodyPr lIns="0" tIns="0" rIns="0" bIns="0">
            <a:noAutofit/>
          </a:bodyPr>
          <a:lstStyle>
            <a:lvl1pPr marL="0" indent="0">
              <a:buNone/>
              <a:defRPr sz="2400" b="0" i="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3" name="Picture 2">
            <a:extLst>
              <a:ext uri="{FF2B5EF4-FFF2-40B4-BE49-F238E27FC236}">
                <a16:creationId xmlns:a16="http://schemas.microsoft.com/office/drawing/2014/main" id="{A5D17ECB-5AE6-B554-6835-6302745786E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grpSp>
        <p:nvGrpSpPr>
          <p:cNvPr id="12" name="Group 11">
            <a:extLst>
              <a:ext uri="{FF2B5EF4-FFF2-40B4-BE49-F238E27FC236}">
                <a16:creationId xmlns:a16="http://schemas.microsoft.com/office/drawing/2014/main" id="{9F55642F-109E-2CBA-5EE2-10599D153DB1}"/>
              </a:ext>
            </a:extLst>
          </p:cNvPr>
          <p:cNvGrpSpPr/>
          <p:nvPr userDrawn="1"/>
        </p:nvGrpSpPr>
        <p:grpSpPr>
          <a:xfrm>
            <a:off x="-18586" y="-4768"/>
            <a:ext cx="5315494" cy="6873870"/>
            <a:chOff x="-27147" y="-9427"/>
            <a:chExt cx="5315494" cy="6873870"/>
          </a:xfrm>
        </p:grpSpPr>
        <p:sp>
          <p:nvSpPr>
            <p:cNvPr id="2" name="Freeform 1">
              <a:extLst>
                <a:ext uri="{FF2B5EF4-FFF2-40B4-BE49-F238E27FC236}">
                  <a16:creationId xmlns:a16="http://schemas.microsoft.com/office/drawing/2014/main" id="{66192D26-603C-C231-26B0-E23FE4D180DF}"/>
                </a:ext>
              </a:extLst>
            </p:cNvPr>
            <p:cNvSpPr/>
            <p:nvPr userDrawn="1"/>
          </p:nvSpPr>
          <p:spPr>
            <a:xfrm>
              <a:off x="-27146" y="-92"/>
              <a:ext cx="1492294" cy="6852884"/>
            </a:xfrm>
            <a:custGeom>
              <a:avLst/>
              <a:gdLst>
                <a:gd name="connsiteX0" fmla="*/ 0 w 1428645"/>
                <a:gd name="connsiteY0" fmla="*/ 0 h 6852884"/>
                <a:gd name="connsiteX1" fmla="*/ 13778 w 1428645"/>
                <a:gd name="connsiteY1" fmla="*/ 6852885 h 6852884"/>
                <a:gd name="connsiteX2" fmla="*/ 45526 w 1428645"/>
                <a:gd name="connsiteY2" fmla="*/ 6852885 h 6852884"/>
                <a:gd name="connsiteX3" fmla="*/ 1428646 w 1428645"/>
                <a:gd name="connsiteY3" fmla="*/ 0 h 6852884"/>
                <a:gd name="connsiteX4" fmla="*/ 0 w 1428645"/>
                <a:gd name="connsiteY4" fmla="*/ 0 h 6852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645" h="6852884">
                  <a:moveTo>
                    <a:pt x="0" y="0"/>
                  </a:moveTo>
                  <a:lnTo>
                    <a:pt x="13778" y="6852885"/>
                  </a:lnTo>
                  <a:lnTo>
                    <a:pt x="45526" y="6852885"/>
                  </a:lnTo>
                  <a:lnTo>
                    <a:pt x="1428646" y="0"/>
                  </a:lnTo>
                  <a:lnTo>
                    <a:pt x="0" y="0"/>
                  </a:lnTo>
                  <a:close/>
                </a:path>
              </a:pathLst>
            </a:custGeom>
            <a:solidFill>
              <a:schemeClr val="accent2">
                <a:alpha val="50000"/>
              </a:schemeClr>
            </a:solidFill>
            <a:ln w="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3881C514-88DB-8614-F29D-6AE27F65E4A2}"/>
                </a:ext>
              </a:extLst>
            </p:cNvPr>
            <p:cNvSpPr/>
            <p:nvPr userDrawn="1"/>
          </p:nvSpPr>
          <p:spPr>
            <a:xfrm>
              <a:off x="-27147" y="-9427"/>
              <a:ext cx="948057" cy="6858092"/>
            </a:xfrm>
            <a:custGeom>
              <a:avLst/>
              <a:gdLst>
                <a:gd name="connsiteX0" fmla="*/ 0 w 876236"/>
                <a:gd name="connsiteY0" fmla="*/ 0 h 6859235"/>
                <a:gd name="connsiteX1" fmla="*/ 25398 w 876236"/>
                <a:gd name="connsiteY1" fmla="*/ 6859236 h 6859235"/>
                <a:gd name="connsiteX2" fmla="*/ 120641 w 876236"/>
                <a:gd name="connsiteY2" fmla="*/ 6859236 h 6859235"/>
                <a:gd name="connsiteX3" fmla="*/ 876236 w 876236"/>
                <a:gd name="connsiteY3" fmla="*/ 0 h 6859235"/>
                <a:gd name="connsiteX4" fmla="*/ 0 w 876236"/>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36" h="6859235">
                  <a:moveTo>
                    <a:pt x="0" y="0"/>
                  </a:moveTo>
                  <a:lnTo>
                    <a:pt x="25398" y="6859236"/>
                  </a:lnTo>
                  <a:lnTo>
                    <a:pt x="120641" y="6859236"/>
                  </a:lnTo>
                  <a:lnTo>
                    <a:pt x="876236" y="0"/>
                  </a:lnTo>
                  <a:lnTo>
                    <a:pt x="0" y="0"/>
                  </a:lnTo>
                  <a:close/>
                </a:path>
              </a:pathLst>
            </a:custGeom>
            <a:solidFill>
              <a:schemeClr val="tx2">
                <a:alpha val="70000"/>
              </a:scheme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24CF829-BFA0-8F05-CF3A-2A187E6E8F7A}"/>
                </a:ext>
              </a:extLst>
            </p:cNvPr>
            <p:cNvSpPr/>
            <p:nvPr userDrawn="1"/>
          </p:nvSpPr>
          <p:spPr>
            <a:xfrm>
              <a:off x="2811638" y="3866703"/>
              <a:ext cx="793692" cy="2997739"/>
            </a:xfrm>
            <a:custGeom>
              <a:avLst/>
              <a:gdLst>
                <a:gd name="connsiteX0" fmla="*/ 0 w 793692"/>
                <a:gd name="connsiteY0" fmla="*/ 2997740 h 2997739"/>
                <a:gd name="connsiteX1" fmla="*/ 793692 w 793692"/>
                <a:gd name="connsiteY1" fmla="*/ 2997740 h 2997739"/>
                <a:gd name="connsiteX2" fmla="*/ 666701 w 793692"/>
                <a:gd name="connsiteY2" fmla="*/ 0 h 2997739"/>
                <a:gd name="connsiteX3" fmla="*/ 0 w 793692"/>
                <a:gd name="connsiteY3" fmla="*/ 2997740 h 2997739"/>
              </a:gdLst>
              <a:ahLst/>
              <a:cxnLst>
                <a:cxn ang="0">
                  <a:pos x="connsiteX0" y="connsiteY0"/>
                </a:cxn>
                <a:cxn ang="0">
                  <a:pos x="connsiteX1" y="connsiteY1"/>
                </a:cxn>
                <a:cxn ang="0">
                  <a:pos x="connsiteX2" y="connsiteY2"/>
                </a:cxn>
                <a:cxn ang="0">
                  <a:pos x="connsiteX3" y="connsiteY3"/>
                </a:cxn>
              </a:cxnLst>
              <a:rect l="l" t="t" r="r" b="b"/>
              <a:pathLst>
                <a:path w="793692" h="2997739">
                  <a:moveTo>
                    <a:pt x="0" y="2997740"/>
                  </a:moveTo>
                  <a:lnTo>
                    <a:pt x="793692" y="2997740"/>
                  </a:lnTo>
                  <a:lnTo>
                    <a:pt x="666701" y="0"/>
                  </a:lnTo>
                  <a:lnTo>
                    <a:pt x="0" y="2997740"/>
                  </a:lnTo>
                  <a:close/>
                </a:path>
              </a:pathLst>
            </a:custGeom>
            <a:solidFill>
              <a:schemeClr val="accent5"/>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1483D69-3EC1-8E4C-BC12-3EF5450F649A}"/>
                </a:ext>
              </a:extLst>
            </p:cNvPr>
            <p:cNvSpPr/>
            <p:nvPr userDrawn="1"/>
          </p:nvSpPr>
          <p:spPr>
            <a:xfrm>
              <a:off x="2805678" y="-1143"/>
              <a:ext cx="2482669" cy="6859235"/>
            </a:xfrm>
            <a:custGeom>
              <a:avLst/>
              <a:gdLst>
                <a:gd name="connsiteX0" fmla="*/ 869887 w 2482669"/>
                <a:gd name="connsiteY0" fmla="*/ 0 h 6859235"/>
                <a:gd name="connsiteX1" fmla="*/ 0 w 2482669"/>
                <a:gd name="connsiteY1" fmla="*/ 6859236 h 6859235"/>
                <a:gd name="connsiteX2" fmla="*/ 0 w 2482669"/>
                <a:gd name="connsiteY2" fmla="*/ 6859236 h 6859235"/>
                <a:gd name="connsiteX3" fmla="*/ 2482669 w 2482669"/>
                <a:gd name="connsiteY3" fmla="*/ 0 h 6859235"/>
                <a:gd name="connsiteX4" fmla="*/ 869887 w 2482669"/>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2669" h="6859235">
                  <a:moveTo>
                    <a:pt x="869887" y="0"/>
                  </a:moveTo>
                  <a:lnTo>
                    <a:pt x="0" y="6859236"/>
                  </a:lnTo>
                  <a:lnTo>
                    <a:pt x="0" y="6859236"/>
                  </a:lnTo>
                  <a:lnTo>
                    <a:pt x="2482669" y="0"/>
                  </a:lnTo>
                  <a:lnTo>
                    <a:pt x="869887" y="0"/>
                  </a:lnTo>
                  <a:close/>
                </a:path>
              </a:pathLst>
            </a:custGeom>
            <a:solidFill>
              <a:schemeClr val="accent2">
                <a:alpha val="50000"/>
              </a:schemeClr>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293022D-9045-4CD8-D2AC-2CC9CB117B73}"/>
                </a:ext>
              </a:extLst>
            </p:cNvPr>
            <p:cNvSpPr/>
            <p:nvPr userDrawn="1"/>
          </p:nvSpPr>
          <p:spPr>
            <a:xfrm>
              <a:off x="3186455" y="-1143"/>
              <a:ext cx="666701" cy="6865586"/>
            </a:xfrm>
            <a:custGeom>
              <a:avLst/>
              <a:gdLst>
                <a:gd name="connsiteX0" fmla="*/ 634954 w 666701"/>
                <a:gd name="connsiteY0" fmla="*/ 0 h 6865586"/>
                <a:gd name="connsiteX1" fmla="*/ 0 w 666701"/>
                <a:gd name="connsiteY1" fmla="*/ 6859236 h 6865586"/>
                <a:gd name="connsiteX2" fmla="*/ 666701 w 666701"/>
                <a:gd name="connsiteY2" fmla="*/ 6865587 h 6865586"/>
                <a:gd name="connsiteX3" fmla="*/ 666701 w 666701"/>
                <a:gd name="connsiteY3" fmla="*/ 0 h 6865586"/>
                <a:gd name="connsiteX4" fmla="*/ 634954 w 666701"/>
                <a:gd name="connsiteY4" fmla="*/ 0 h 686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01" h="6865586">
                  <a:moveTo>
                    <a:pt x="634954" y="0"/>
                  </a:moveTo>
                  <a:lnTo>
                    <a:pt x="0" y="6859236"/>
                  </a:lnTo>
                  <a:lnTo>
                    <a:pt x="666701" y="6865587"/>
                  </a:lnTo>
                  <a:lnTo>
                    <a:pt x="666701" y="0"/>
                  </a:lnTo>
                  <a:lnTo>
                    <a:pt x="634954" y="0"/>
                  </a:lnTo>
                  <a:close/>
                </a:path>
              </a:pathLst>
            </a:custGeom>
            <a:solidFill>
              <a:schemeClr val="tx2">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166410592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332138"/>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172200" y="1332138"/>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5903381-019C-E52B-3441-6DA21A3165C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A171969-2C39-9A23-4D93-C8F92D8CEAC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CAE0F5-F3DD-805D-03C7-78573CFC1D98}"/>
              </a:ext>
            </a:extLst>
          </p:cNvPr>
          <p:cNvSpPr>
            <a:spLocks noGrp="1"/>
          </p:cNvSpPr>
          <p:nvPr>
            <p:ph type="sldNum" sz="quarter" idx="12"/>
          </p:nvPr>
        </p:nvSpPr>
        <p:spPr/>
        <p:txBody>
          <a:bodyPr/>
          <a:lstStyle/>
          <a:p>
            <a:fld id="{02B5F485-982A-41B4-B657-C5770F0E9220}" type="slidenum">
              <a:rPr lang="en-US" smtClean="0"/>
              <a:t>‹#›</a:t>
            </a:fld>
            <a:endParaRPr lang="en-US"/>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182880"/>
            <a:ext cx="10560941" cy="914400"/>
          </a:xfrm>
          <a:prstGeom prst="rect">
            <a:avLst/>
          </a:prstGeom>
        </p:spPr>
        <p:txBody>
          <a:bodyPr wrap="square" lIns="91440" tIns="0" rIns="91440" bIns="0" anchor="b" anchorCtr="0">
            <a:spAutoFit/>
          </a:bodyPr>
          <a:lstStyle>
            <a:lvl1pPr>
              <a:defRPr sz="3000" b="1" i="0">
                <a:solidFill>
                  <a:srgbClr val="1CA6DF"/>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20997016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A7C0111-8D38-DADB-3FF9-AFA33A3C5848}"/>
              </a:ext>
            </a:extLst>
          </p:cNvPr>
          <p:cNvSpPr>
            <a:spLocks noGrp="1"/>
          </p:cNvSpPr>
          <p:nvPr>
            <p:ph type="body" idx="1"/>
          </p:nvPr>
        </p:nvSpPr>
        <p:spPr>
          <a:xfrm>
            <a:off x="839788" y="1303797"/>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6795097-975E-D965-7F9D-330C57FDAC4D}"/>
              </a:ext>
            </a:extLst>
          </p:cNvPr>
          <p:cNvSpPr>
            <a:spLocks noGrp="1"/>
          </p:cNvSpPr>
          <p:nvPr>
            <p:ph sz="half" idx="2"/>
          </p:nvPr>
        </p:nvSpPr>
        <p:spPr>
          <a:xfrm>
            <a:off x="839788" y="2127709"/>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334921-9959-0168-45D0-EB0D5CE4BD5B}"/>
              </a:ext>
            </a:extLst>
          </p:cNvPr>
          <p:cNvSpPr>
            <a:spLocks noGrp="1"/>
          </p:cNvSpPr>
          <p:nvPr>
            <p:ph type="body" sz="quarter" idx="3"/>
          </p:nvPr>
        </p:nvSpPr>
        <p:spPr>
          <a:xfrm>
            <a:off x="6172200" y="1303797"/>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D05A5C-6F72-F7AD-5044-5A688D33FBDB}"/>
              </a:ext>
            </a:extLst>
          </p:cNvPr>
          <p:cNvSpPr>
            <a:spLocks noGrp="1"/>
          </p:cNvSpPr>
          <p:nvPr>
            <p:ph sz="quarter" idx="4"/>
          </p:nvPr>
        </p:nvSpPr>
        <p:spPr>
          <a:xfrm>
            <a:off x="6172200" y="2127709"/>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CD3B3BC-ED78-15AB-5C49-8768FFF6B80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7AC26B84-F5D1-7495-EA7B-58C1B95D4C7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017A9E5-68A8-19E8-11AA-8D1C690516A4}"/>
              </a:ext>
            </a:extLst>
          </p:cNvPr>
          <p:cNvSpPr>
            <a:spLocks noGrp="1"/>
          </p:cNvSpPr>
          <p:nvPr>
            <p:ph type="sldNum" sz="quarter" idx="12"/>
          </p:nvPr>
        </p:nvSpPr>
        <p:spPr/>
        <p:txBody>
          <a:bodyPr/>
          <a:lstStyle/>
          <a:p>
            <a:fld id="{02B5F485-982A-41B4-B657-C5770F0E9220}" type="slidenum">
              <a:rPr lang="en-US" smtClean="0"/>
              <a:t>‹#›</a:t>
            </a:fld>
            <a:endParaRPr lang="en-US"/>
          </a:p>
        </p:txBody>
      </p:sp>
      <p:sp>
        <p:nvSpPr>
          <p:cNvPr id="10" name="Holder 2">
            <a:extLst>
              <a:ext uri="{FF2B5EF4-FFF2-40B4-BE49-F238E27FC236}">
                <a16:creationId xmlns:a16="http://schemas.microsoft.com/office/drawing/2014/main" id="{26FB0911-599B-24FD-FF61-45D3BF31A35D}"/>
              </a:ext>
            </a:extLst>
          </p:cNvPr>
          <p:cNvSpPr>
            <a:spLocks noGrp="1"/>
          </p:cNvSpPr>
          <p:nvPr>
            <p:ph type="title"/>
          </p:nvPr>
        </p:nvSpPr>
        <p:spPr>
          <a:xfrm>
            <a:off x="822960" y="182880"/>
            <a:ext cx="10560941" cy="914400"/>
          </a:xfrm>
          <a:prstGeom prst="rect">
            <a:avLst/>
          </a:prstGeom>
        </p:spPr>
        <p:txBody>
          <a:bodyPr wrap="square" lIns="91440" tIns="0" rIns="91440" bIns="0" anchor="b" anchorCtr="0">
            <a:spAutoFit/>
          </a:bodyPr>
          <a:lstStyle>
            <a:lvl1pPr>
              <a:defRPr sz="3000" b="1" i="0">
                <a:solidFill>
                  <a:srgbClr val="1CA6DF"/>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287065491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5B92B2B-8B4D-03A0-43EC-D548F832D00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1014E55-3D28-2C1C-0B73-94B68980528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850C90F-A27E-309E-8970-741AADA8B9F1}"/>
              </a:ext>
            </a:extLst>
          </p:cNvPr>
          <p:cNvSpPr>
            <a:spLocks noGrp="1"/>
          </p:cNvSpPr>
          <p:nvPr>
            <p:ph type="sldNum" sz="quarter" idx="12"/>
          </p:nvPr>
        </p:nvSpPr>
        <p:spPr/>
        <p:txBody>
          <a:bodyPr/>
          <a:lstStyle/>
          <a:p>
            <a:fld id="{02B5F485-982A-41B4-B657-C5770F0E9220}" type="slidenum">
              <a:rPr lang="en-US" smtClean="0"/>
              <a:t>‹#›</a:t>
            </a:fld>
            <a:endParaRPr lang="en-US"/>
          </a:p>
        </p:txBody>
      </p:sp>
      <p:sp>
        <p:nvSpPr>
          <p:cNvPr id="6" name="Holder 2">
            <a:extLst>
              <a:ext uri="{FF2B5EF4-FFF2-40B4-BE49-F238E27FC236}">
                <a16:creationId xmlns:a16="http://schemas.microsoft.com/office/drawing/2014/main" id="{01781982-66D4-28DD-56BE-FB835AE0845C}"/>
              </a:ext>
            </a:extLst>
          </p:cNvPr>
          <p:cNvSpPr>
            <a:spLocks noGrp="1"/>
          </p:cNvSpPr>
          <p:nvPr>
            <p:ph type="title"/>
          </p:nvPr>
        </p:nvSpPr>
        <p:spPr>
          <a:xfrm>
            <a:off x="822960" y="182880"/>
            <a:ext cx="10560941" cy="914400"/>
          </a:xfrm>
          <a:prstGeom prst="rect">
            <a:avLst/>
          </a:prstGeom>
        </p:spPr>
        <p:txBody>
          <a:bodyPr wrap="square" lIns="91440" tIns="0" rIns="91440" bIns="0" anchor="b" anchorCtr="0">
            <a:spAutoFit/>
          </a:bodyPr>
          <a:lstStyle>
            <a:lvl1pPr>
              <a:defRPr sz="3000" b="1" i="0">
                <a:solidFill>
                  <a:srgbClr val="1CA6DF"/>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41712999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89C0E84-821B-BBF3-BCA1-2250B2CE850D}"/>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F7745506-DCCB-EFAB-6C8C-45EAA94418A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CB38F0B-29D1-B5FB-6BFC-71E0F3241323}"/>
              </a:ext>
            </a:extLst>
          </p:cNvPr>
          <p:cNvSpPr>
            <a:spLocks noGrp="1"/>
          </p:cNvSpPr>
          <p:nvPr>
            <p:ph type="sldNum" sz="quarter" idx="12"/>
          </p:nvPr>
        </p:nvSpPr>
        <p:spPr/>
        <p:txBody>
          <a:bodyPr/>
          <a:lstStyle/>
          <a:p>
            <a:fld id="{02B5F485-982A-41B4-B657-C5770F0E9220}" type="slidenum">
              <a:rPr lang="en-US" smtClean="0"/>
              <a:t>‹#›</a:t>
            </a:fld>
            <a:endParaRPr lang="en-US"/>
          </a:p>
        </p:txBody>
      </p:sp>
    </p:spTree>
    <p:extLst>
      <p:ext uri="{BB962C8B-B14F-4D97-AF65-F5344CB8AC3E}">
        <p14:creationId xmlns:p14="http://schemas.microsoft.com/office/powerpoint/2010/main" val="207481911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Break">
    <p:bg>
      <p:bgPr>
        <a:gradFill>
          <a:gsLst>
            <a:gs pos="0">
              <a:schemeClr val="bg1">
                <a:lumMod val="95000"/>
              </a:schemeClr>
            </a:gs>
            <a:gs pos="48000">
              <a:schemeClr val="bg2"/>
            </a:gs>
            <a:gs pos="69000">
              <a:schemeClr val="bg2"/>
            </a:gs>
            <a:gs pos="100000">
              <a:schemeClr val="bg2"/>
            </a:gs>
          </a:gsLst>
          <a:lin ang="5400000" scaled="1"/>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0A29267-EAF7-92F9-CD14-E134D53B6258}"/>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830E0C4E-3DA6-FC0E-D0AF-3CE47DF9E831}"/>
              </a:ext>
            </a:extLst>
          </p:cNvPr>
          <p:cNvSpPr>
            <a:spLocks noGrp="1"/>
          </p:cNvSpPr>
          <p:nvPr>
            <p:ph type="dt" sz="half" idx="11"/>
          </p:nvPr>
        </p:nvSpPr>
        <p:spPr/>
        <p:txBody>
          <a:bodyPr/>
          <a:lstStyle/>
          <a:p>
            <a:endParaRPr lang="en-US"/>
          </a:p>
        </p:txBody>
      </p:sp>
      <p:sp>
        <p:nvSpPr>
          <p:cNvPr id="5" name="Slide Number Placeholder 4">
            <a:extLst>
              <a:ext uri="{FF2B5EF4-FFF2-40B4-BE49-F238E27FC236}">
                <a16:creationId xmlns:a16="http://schemas.microsoft.com/office/drawing/2014/main" id="{5E51FD7E-5D50-B530-5FB3-327F61A33B16}"/>
              </a:ext>
            </a:extLst>
          </p:cNvPr>
          <p:cNvSpPr>
            <a:spLocks noGrp="1"/>
          </p:cNvSpPr>
          <p:nvPr>
            <p:ph type="sldNum" sz="quarter" idx="12"/>
          </p:nvPr>
        </p:nvSpPr>
        <p:spPr/>
        <p:txBody>
          <a:bodyPr/>
          <a:lstStyle/>
          <a:p>
            <a:fld id="{B6F15528-21DE-4FAA-801E-634DDDAF4B2B}" type="slidenum">
              <a:rPr lang="en-US" smtClean="0"/>
              <a:pPr/>
              <a:t>‹#›</a:t>
            </a:fld>
            <a:endParaRPr lang="en-US"/>
          </a:p>
        </p:txBody>
      </p:sp>
      <p:sp>
        <p:nvSpPr>
          <p:cNvPr id="8" name="object 4">
            <a:extLst>
              <a:ext uri="{FF2B5EF4-FFF2-40B4-BE49-F238E27FC236}">
                <a16:creationId xmlns:a16="http://schemas.microsoft.com/office/drawing/2014/main" id="{FD3AB405-A20F-5C5A-41AA-BCF4CC9D5924}"/>
              </a:ext>
            </a:extLst>
          </p:cNvPr>
          <p:cNvSpPr/>
          <p:nvPr/>
        </p:nvSpPr>
        <p:spPr>
          <a:xfrm>
            <a:off x="948973" y="1539604"/>
            <a:ext cx="4914900" cy="3474720"/>
          </a:xfrm>
          <a:custGeom>
            <a:avLst/>
            <a:gdLst/>
            <a:ahLst/>
            <a:cxnLst/>
            <a:rect l="l" t="t" r="r" b="b"/>
            <a:pathLst>
              <a:path w="4914900" h="3474720">
                <a:moveTo>
                  <a:pt x="4914900" y="0"/>
                </a:moveTo>
                <a:lnTo>
                  <a:pt x="0" y="0"/>
                </a:lnTo>
                <a:lnTo>
                  <a:pt x="0" y="3474720"/>
                </a:lnTo>
                <a:lnTo>
                  <a:pt x="4175252" y="3474720"/>
                </a:lnTo>
                <a:lnTo>
                  <a:pt x="4914900" y="0"/>
                </a:lnTo>
                <a:close/>
              </a:path>
            </a:pathLst>
          </a:custGeom>
          <a:solidFill>
            <a:srgbClr val="FFFFFF"/>
          </a:solidFill>
        </p:spPr>
        <p:txBody>
          <a:bodyPr wrap="square" lIns="0" tIns="0" rIns="0" bIns="0" rtlCol="0"/>
          <a:lstStyle/>
          <a:p>
            <a:endParaRPr/>
          </a:p>
        </p:txBody>
      </p:sp>
      <p:pic>
        <p:nvPicPr>
          <p:cNvPr id="9" name="object 5">
            <a:extLst>
              <a:ext uri="{FF2B5EF4-FFF2-40B4-BE49-F238E27FC236}">
                <a16:creationId xmlns:a16="http://schemas.microsoft.com/office/drawing/2014/main" id="{EFE82CF4-E877-C820-ED8E-686A08932444}"/>
              </a:ext>
            </a:extLst>
          </p:cNvPr>
          <p:cNvPicPr/>
          <p:nvPr/>
        </p:nvPicPr>
        <p:blipFill>
          <a:blip r:embed="rId2" cstate="print"/>
          <a:stretch>
            <a:fillRect/>
          </a:stretch>
        </p:blipFill>
        <p:spPr>
          <a:xfrm>
            <a:off x="5319652" y="1561452"/>
            <a:ext cx="2108250" cy="3449319"/>
          </a:xfrm>
          <a:prstGeom prst="rect">
            <a:avLst/>
          </a:prstGeom>
        </p:spPr>
      </p:pic>
      <p:pic>
        <p:nvPicPr>
          <p:cNvPr id="10" name="object 6">
            <a:extLst>
              <a:ext uri="{FF2B5EF4-FFF2-40B4-BE49-F238E27FC236}">
                <a16:creationId xmlns:a16="http://schemas.microsoft.com/office/drawing/2014/main" id="{4C2F2ADB-A0F5-1969-1F35-6278D55F028F}"/>
              </a:ext>
            </a:extLst>
          </p:cNvPr>
          <p:cNvPicPr/>
          <p:nvPr/>
        </p:nvPicPr>
        <p:blipFill>
          <a:blip r:embed="rId3" cstate="print"/>
          <a:stretch>
            <a:fillRect/>
          </a:stretch>
        </p:blipFill>
        <p:spPr>
          <a:xfrm>
            <a:off x="6756301" y="1550784"/>
            <a:ext cx="2110562" cy="3459988"/>
          </a:xfrm>
          <a:prstGeom prst="rect">
            <a:avLst/>
          </a:prstGeom>
        </p:spPr>
      </p:pic>
      <p:pic>
        <p:nvPicPr>
          <p:cNvPr id="11" name="object 7">
            <a:extLst>
              <a:ext uri="{FF2B5EF4-FFF2-40B4-BE49-F238E27FC236}">
                <a16:creationId xmlns:a16="http://schemas.microsoft.com/office/drawing/2014/main" id="{BD040AF6-75BE-E27E-72D6-C0461369C269}"/>
              </a:ext>
            </a:extLst>
          </p:cNvPr>
          <p:cNvPicPr/>
          <p:nvPr/>
        </p:nvPicPr>
        <p:blipFill>
          <a:blip r:embed="rId4" cstate="print"/>
          <a:stretch>
            <a:fillRect/>
          </a:stretch>
        </p:blipFill>
        <p:spPr>
          <a:xfrm>
            <a:off x="8192951" y="1550784"/>
            <a:ext cx="2110562" cy="3459988"/>
          </a:xfrm>
          <a:prstGeom prst="rect">
            <a:avLst/>
          </a:prstGeom>
        </p:spPr>
      </p:pic>
      <p:pic>
        <p:nvPicPr>
          <p:cNvPr id="12" name="object 8">
            <a:extLst>
              <a:ext uri="{FF2B5EF4-FFF2-40B4-BE49-F238E27FC236}">
                <a16:creationId xmlns:a16="http://schemas.microsoft.com/office/drawing/2014/main" id="{A5995094-1AE6-99CC-1523-34760375C03E}"/>
              </a:ext>
            </a:extLst>
          </p:cNvPr>
          <p:cNvPicPr/>
          <p:nvPr/>
        </p:nvPicPr>
        <p:blipFill>
          <a:blip r:embed="rId5" cstate="print"/>
          <a:stretch>
            <a:fillRect/>
          </a:stretch>
        </p:blipFill>
        <p:spPr>
          <a:xfrm>
            <a:off x="9629600" y="1550784"/>
            <a:ext cx="1377772" cy="3459988"/>
          </a:xfrm>
          <a:prstGeom prst="rect">
            <a:avLst/>
          </a:prstGeom>
        </p:spPr>
      </p:pic>
      <p:sp>
        <p:nvSpPr>
          <p:cNvPr id="2" name="Title 1">
            <a:extLst>
              <a:ext uri="{FF2B5EF4-FFF2-40B4-BE49-F238E27FC236}">
                <a16:creationId xmlns:a16="http://schemas.microsoft.com/office/drawing/2014/main" id="{95EBD9F8-4730-C8B7-584E-1BBD01D5465C}"/>
              </a:ext>
            </a:extLst>
          </p:cNvPr>
          <p:cNvSpPr>
            <a:spLocks noGrp="1"/>
          </p:cNvSpPr>
          <p:nvPr>
            <p:ph type="title"/>
          </p:nvPr>
        </p:nvSpPr>
        <p:spPr>
          <a:xfrm>
            <a:off x="1021459" y="2403573"/>
            <a:ext cx="3840827" cy="1500777"/>
          </a:xfrm>
        </p:spPr>
        <p:txBody>
          <a:bodyPr/>
          <a:lstStyle/>
          <a:p>
            <a:r>
              <a:rPr lang="en-US"/>
              <a:t>Click to edit Master title style</a:t>
            </a:r>
          </a:p>
        </p:txBody>
      </p:sp>
    </p:spTree>
    <p:extLst>
      <p:ext uri="{BB962C8B-B14F-4D97-AF65-F5344CB8AC3E}">
        <p14:creationId xmlns:p14="http://schemas.microsoft.com/office/powerpoint/2010/main" val="3492910079"/>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447CD-6AFA-2464-D277-E5CFB6688D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2BCEB5D-6918-C885-D348-DDF3BF241BFD}"/>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68FF44-697F-3F27-D476-B7C972BBCB4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277242-84D3-E587-21E5-D96814318F1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2E69AD9-6767-3DAD-D066-C7440FA3E7C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E4F1C44-2276-139E-8F00-05C9554735C4}"/>
              </a:ext>
            </a:extLst>
          </p:cNvPr>
          <p:cNvSpPr>
            <a:spLocks noGrp="1"/>
          </p:cNvSpPr>
          <p:nvPr>
            <p:ph type="sldNum" sz="quarter" idx="12"/>
          </p:nvPr>
        </p:nvSpPr>
        <p:spPr/>
        <p:txBody>
          <a:bodyPr/>
          <a:lstStyle/>
          <a:p>
            <a:fld id="{02B5F485-982A-41B4-B657-C5770F0E9220}" type="slidenum">
              <a:rPr lang="en-US" smtClean="0"/>
              <a:t>‹#›</a:t>
            </a:fld>
            <a:endParaRPr lang="en-US"/>
          </a:p>
        </p:txBody>
      </p:sp>
    </p:spTree>
    <p:extLst>
      <p:ext uri="{BB962C8B-B14F-4D97-AF65-F5344CB8AC3E}">
        <p14:creationId xmlns:p14="http://schemas.microsoft.com/office/powerpoint/2010/main" val="112523530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CE46A-509B-CFDE-C5BB-E2A7B52A4E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6C2C4D2-D9D1-A7A8-0DDE-9DF0D0A5AC2E}"/>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9816BD0-A2F7-438D-AB6A-67542E4CB3A2}"/>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32C014-104C-EA46-B66D-7C5F1A2E4C1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E2A86A4F-94D0-5B77-318C-C0608333347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368248-BAC2-342F-9195-A7DD186D57DA}"/>
              </a:ext>
            </a:extLst>
          </p:cNvPr>
          <p:cNvSpPr>
            <a:spLocks noGrp="1"/>
          </p:cNvSpPr>
          <p:nvPr>
            <p:ph type="sldNum" sz="quarter" idx="12"/>
          </p:nvPr>
        </p:nvSpPr>
        <p:spPr/>
        <p:txBody>
          <a:bodyPr/>
          <a:lstStyle/>
          <a:p>
            <a:fld id="{02B5F485-982A-41B4-B657-C5770F0E9220}" type="slidenum">
              <a:rPr lang="en-US" smtClean="0"/>
              <a:t>‹#›</a:t>
            </a:fld>
            <a:endParaRPr lang="en-US"/>
          </a:p>
        </p:txBody>
      </p:sp>
    </p:spTree>
    <p:extLst>
      <p:ext uri="{BB962C8B-B14F-4D97-AF65-F5344CB8AC3E}">
        <p14:creationId xmlns:p14="http://schemas.microsoft.com/office/powerpoint/2010/main" val="33478837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19" name="Subtitle 2"/>
          <p:cNvSpPr>
            <a:spLocks noGrp="1"/>
          </p:cNvSpPr>
          <p:nvPr>
            <p:ph type="subTitle" idx="1"/>
          </p:nvPr>
        </p:nvSpPr>
        <p:spPr>
          <a:xfrm>
            <a:off x="707949" y="1261154"/>
            <a:ext cx="11026339" cy="1381360"/>
          </a:xfrm>
          <a:prstGeom prst="rect">
            <a:avLst/>
          </a:prstGeom>
        </p:spPr>
        <p:txBody>
          <a:bodyPr>
            <a:normAutofit/>
          </a:bodyPr>
          <a:lstStyle>
            <a:lvl1pPr marL="0" indent="0" algn="l">
              <a:buNone/>
              <a:defRPr sz="4000" b="1" i="0" baseline="0">
                <a:solidFill>
                  <a:schemeClr val="accent5"/>
                </a:solidFill>
                <a:latin typeface="+mj-lt"/>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20" name="Text Placeholder 17"/>
          <p:cNvSpPr>
            <a:spLocks noGrp="1"/>
          </p:cNvSpPr>
          <p:nvPr>
            <p:ph type="body" sz="quarter" idx="10"/>
          </p:nvPr>
        </p:nvSpPr>
        <p:spPr>
          <a:xfrm>
            <a:off x="739560" y="2779872"/>
            <a:ext cx="5561403"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2000" b="1" i="0" u="none" strike="noStrike" kern="1200" cap="none" spc="0" normalizeH="0" baseline="0" noProof="0">
                <a:ln>
                  <a:noFill/>
                </a:ln>
                <a:solidFill>
                  <a:srgbClr val="282B2E"/>
                </a:solidFill>
                <a:effectLst/>
                <a:uLnTx/>
                <a:uFillTx/>
                <a:latin typeface="+mn-lt"/>
                <a:cs typeface="Arial"/>
              </a:defRPr>
            </a:lvl1pPr>
          </a:lstStyle>
          <a:p>
            <a:pPr lvl="0"/>
            <a:r>
              <a:rPr lang="en-US" noProof="0"/>
              <a:t>Click to edit Master text styles</a:t>
            </a:r>
          </a:p>
        </p:txBody>
      </p:sp>
      <p:sp>
        <p:nvSpPr>
          <p:cNvPr id="22" name="Text Placeholder 18"/>
          <p:cNvSpPr>
            <a:spLocks noGrp="1"/>
          </p:cNvSpPr>
          <p:nvPr>
            <p:ph type="body" sz="quarter" idx="13"/>
          </p:nvPr>
        </p:nvSpPr>
        <p:spPr>
          <a:xfrm>
            <a:off x="745475" y="3285743"/>
            <a:ext cx="3798903" cy="288687"/>
          </a:xfrm>
          <a:prstGeom prst="rect">
            <a:avLst/>
          </a:prstGeom>
        </p:spPr>
        <p:txBody>
          <a:bodyPr>
            <a:normAutofit/>
          </a:bodyPr>
          <a:lstStyle>
            <a:lvl1pPr>
              <a:buNone/>
              <a:defRPr sz="1200">
                <a:solidFill>
                  <a:srgbClr val="282B2E"/>
                </a:solidFill>
                <a:latin typeface="+mn-lt"/>
                <a:cs typeface="Arial"/>
              </a:defRPr>
            </a:lvl1pPr>
            <a:lvl5pPr>
              <a:defRPr/>
            </a:lvl5pPr>
          </a:lstStyle>
          <a:p>
            <a:pPr lvl="0"/>
            <a:r>
              <a:rPr lang="en-US"/>
              <a:t>Click to edit Master text styles</a:t>
            </a:r>
          </a:p>
        </p:txBody>
      </p:sp>
      <p:pic>
        <p:nvPicPr>
          <p:cNvPr id="9" name="object 896">
            <a:extLst>
              <a:ext uri="{FF2B5EF4-FFF2-40B4-BE49-F238E27FC236}">
                <a16:creationId xmlns:a16="http://schemas.microsoft.com/office/drawing/2014/main" id="{BB305558-8CA8-0312-BC63-364EE87CF25B}"/>
              </a:ext>
            </a:extLst>
          </p:cNvPr>
          <p:cNvPicPr/>
          <p:nvPr userDrawn="1"/>
        </p:nvPicPr>
        <p:blipFill>
          <a:blip r:embed="rId2" cstate="print"/>
          <a:stretch>
            <a:fillRect/>
          </a:stretch>
        </p:blipFill>
        <p:spPr>
          <a:xfrm>
            <a:off x="4174" y="3635949"/>
            <a:ext cx="2237152" cy="3223089"/>
          </a:xfrm>
          <a:prstGeom prst="rect">
            <a:avLst/>
          </a:prstGeom>
        </p:spPr>
      </p:pic>
      <p:pic>
        <p:nvPicPr>
          <p:cNvPr id="11" name="object 898">
            <a:extLst>
              <a:ext uri="{FF2B5EF4-FFF2-40B4-BE49-F238E27FC236}">
                <a16:creationId xmlns:a16="http://schemas.microsoft.com/office/drawing/2014/main" id="{0CD524DB-3546-0773-AF1E-55E462FFBF9A}"/>
              </a:ext>
            </a:extLst>
          </p:cNvPr>
          <p:cNvPicPr/>
          <p:nvPr userDrawn="1"/>
        </p:nvPicPr>
        <p:blipFill>
          <a:blip r:embed="rId3" cstate="print"/>
          <a:stretch>
            <a:fillRect/>
          </a:stretch>
        </p:blipFill>
        <p:spPr>
          <a:xfrm>
            <a:off x="4434025" y="3635949"/>
            <a:ext cx="3284673" cy="3223089"/>
          </a:xfrm>
          <a:prstGeom prst="rect">
            <a:avLst/>
          </a:prstGeom>
        </p:spPr>
      </p:pic>
      <p:pic>
        <p:nvPicPr>
          <p:cNvPr id="12" name="object 899">
            <a:extLst>
              <a:ext uri="{FF2B5EF4-FFF2-40B4-BE49-F238E27FC236}">
                <a16:creationId xmlns:a16="http://schemas.microsoft.com/office/drawing/2014/main" id="{D4B8747E-5D0C-4ED4-CFE1-B9C5592A000E}"/>
              </a:ext>
            </a:extLst>
          </p:cNvPr>
          <p:cNvPicPr/>
          <p:nvPr userDrawn="1"/>
        </p:nvPicPr>
        <p:blipFill>
          <a:blip r:embed="rId4" cstate="print"/>
          <a:stretch>
            <a:fillRect/>
          </a:stretch>
        </p:blipFill>
        <p:spPr>
          <a:xfrm>
            <a:off x="9913498" y="3635949"/>
            <a:ext cx="2259213" cy="3223097"/>
          </a:xfrm>
          <a:prstGeom prst="rect">
            <a:avLst/>
          </a:prstGeom>
        </p:spPr>
      </p:pic>
      <p:pic>
        <p:nvPicPr>
          <p:cNvPr id="14" name="object 5">
            <a:extLst>
              <a:ext uri="{FF2B5EF4-FFF2-40B4-BE49-F238E27FC236}">
                <a16:creationId xmlns:a16="http://schemas.microsoft.com/office/drawing/2014/main" id="{1C3BA4BC-FAC8-271F-17C7-7D3DAFF6E6D7}"/>
              </a:ext>
            </a:extLst>
          </p:cNvPr>
          <p:cNvPicPr/>
          <p:nvPr userDrawn="1"/>
        </p:nvPicPr>
        <p:blipFill>
          <a:blip r:embed="rId5" cstate="print"/>
          <a:stretch>
            <a:fillRect/>
          </a:stretch>
        </p:blipFill>
        <p:spPr>
          <a:xfrm>
            <a:off x="2379956" y="3635949"/>
            <a:ext cx="1915440" cy="3227832"/>
          </a:xfrm>
          <a:prstGeom prst="rect">
            <a:avLst/>
          </a:prstGeom>
        </p:spPr>
      </p:pic>
      <p:pic>
        <p:nvPicPr>
          <p:cNvPr id="16" name="object 7">
            <a:extLst>
              <a:ext uri="{FF2B5EF4-FFF2-40B4-BE49-F238E27FC236}">
                <a16:creationId xmlns:a16="http://schemas.microsoft.com/office/drawing/2014/main" id="{C2868144-C3AC-DAD2-732B-7F168BE04CF2}"/>
              </a:ext>
            </a:extLst>
          </p:cNvPr>
          <p:cNvPicPr/>
          <p:nvPr userDrawn="1"/>
        </p:nvPicPr>
        <p:blipFill>
          <a:blip r:embed="rId6" cstate="print"/>
          <a:stretch>
            <a:fillRect/>
          </a:stretch>
        </p:blipFill>
        <p:spPr>
          <a:xfrm>
            <a:off x="7857327" y="3635949"/>
            <a:ext cx="1917541" cy="3227832"/>
          </a:xfrm>
          <a:prstGeom prst="rect">
            <a:avLst/>
          </a:prstGeom>
        </p:spPr>
      </p:pic>
      <p:pic>
        <p:nvPicPr>
          <p:cNvPr id="18" name="Picture 17">
            <a:extLst>
              <a:ext uri="{FF2B5EF4-FFF2-40B4-BE49-F238E27FC236}">
                <a16:creationId xmlns:a16="http://schemas.microsoft.com/office/drawing/2014/main" id="{D87B9FFA-F7F6-93D4-D770-B7F388E192F3}"/>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8424951" y="236994"/>
            <a:ext cx="3428999" cy="914400"/>
          </a:xfrm>
          <a:prstGeom prst="rect">
            <a:avLst/>
          </a:prstGeom>
        </p:spPr>
      </p:pic>
    </p:spTree>
    <p:extLst>
      <p:ext uri="{BB962C8B-B14F-4D97-AF65-F5344CB8AC3E}">
        <p14:creationId xmlns:p14="http://schemas.microsoft.com/office/powerpoint/2010/main" val="83070075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obj" preserve="1">
  <p:cSld name="2_Agenda/Table of Contents">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CD782B5D-9C17-1145-AC4C-FE14151F547C}"/>
              </a:ext>
            </a:extLst>
          </p:cNvPr>
          <p:cNvSpPr/>
          <p:nvPr userDrawn="1"/>
        </p:nvSpPr>
        <p:spPr>
          <a:xfrm>
            <a:off x="0" y="8201"/>
            <a:ext cx="6969512" cy="6841598"/>
          </a:xfrm>
          <a:custGeom>
            <a:avLst/>
            <a:gdLst>
              <a:gd name="connsiteX0" fmla="*/ 0 w 4425387"/>
              <a:gd name="connsiteY0" fmla="*/ 0 h 6841598"/>
              <a:gd name="connsiteX1" fmla="*/ 4425387 w 4425387"/>
              <a:gd name="connsiteY1" fmla="*/ 0 h 6841598"/>
              <a:gd name="connsiteX2" fmla="*/ 2723908 w 4425387"/>
              <a:gd name="connsiteY2" fmla="*/ 6823276 h 6841598"/>
              <a:gd name="connsiteX3" fmla="*/ 0 w 4425387"/>
              <a:gd name="connsiteY3" fmla="*/ 6841598 h 6841598"/>
            </a:gdLst>
            <a:ahLst/>
            <a:cxnLst>
              <a:cxn ang="0">
                <a:pos x="connsiteX0" y="connsiteY0"/>
              </a:cxn>
              <a:cxn ang="0">
                <a:pos x="connsiteX1" y="connsiteY1"/>
              </a:cxn>
              <a:cxn ang="0">
                <a:pos x="connsiteX2" y="connsiteY2"/>
              </a:cxn>
              <a:cxn ang="0">
                <a:pos x="connsiteX3" y="connsiteY3"/>
              </a:cxn>
            </a:cxnLst>
            <a:rect l="l" t="t" r="r" b="b"/>
            <a:pathLst>
              <a:path w="4425387" h="6841598">
                <a:moveTo>
                  <a:pt x="0" y="0"/>
                </a:moveTo>
                <a:lnTo>
                  <a:pt x="4425387" y="0"/>
                </a:lnTo>
                <a:lnTo>
                  <a:pt x="2723908" y="6823276"/>
                </a:lnTo>
                <a:lnTo>
                  <a:pt x="0" y="6841598"/>
                </a:lnTo>
                <a:close/>
              </a:path>
            </a:pathLst>
          </a:custGeom>
          <a:gradFill>
            <a:gsLst>
              <a:gs pos="100000">
                <a:schemeClr val="accent1"/>
              </a:gs>
              <a:gs pos="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2" name="Title 1">
            <a:extLst>
              <a:ext uri="{FF2B5EF4-FFF2-40B4-BE49-F238E27FC236}">
                <a16:creationId xmlns:a16="http://schemas.microsoft.com/office/drawing/2014/main" id="{3CD92285-F352-9541-8330-7DC8FD581F09}"/>
              </a:ext>
            </a:extLst>
          </p:cNvPr>
          <p:cNvSpPr>
            <a:spLocks noGrp="1"/>
          </p:cNvSpPr>
          <p:nvPr>
            <p:ph type="title"/>
          </p:nvPr>
        </p:nvSpPr>
        <p:spPr>
          <a:xfrm>
            <a:off x="636608" y="1165381"/>
            <a:ext cx="4809152" cy="2184400"/>
          </a:xfrm>
        </p:spPr>
        <p:txBody>
          <a:bodyPr anchor="t" anchorCtr="0">
            <a:noAutofit/>
          </a:bodyPr>
          <a:lstStyle>
            <a:lvl1pPr>
              <a:defRPr sz="2222">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7E32CD3-B617-8E44-B78F-97440E1B200C}"/>
              </a:ext>
            </a:extLst>
          </p:cNvPr>
          <p:cNvSpPr>
            <a:spLocks noGrp="1"/>
          </p:cNvSpPr>
          <p:nvPr>
            <p:ph idx="1"/>
          </p:nvPr>
        </p:nvSpPr>
        <p:spPr>
          <a:xfrm>
            <a:off x="6096000" y="1165381"/>
            <a:ext cx="5257800" cy="4785200"/>
          </a:xfrm>
        </p:spPr>
        <p:txBody>
          <a:bodyPr anchor="b" anchorCtr="0"/>
          <a:lstStyle>
            <a:lvl1pPr marL="0" indent="0">
              <a:spcBef>
                <a:spcPts val="889"/>
              </a:spcBef>
              <a:buNone/>
              <a:tabLst>
                <a:tab pos="2793846"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Holder 5">
            <a:extLst>
              <a:ext uri="{FF2B5EF4-FFF2-40B4-BE49-F238E27FC236}">
                <a16:creationId xmlns:a16="http://schemas.microsoft.com/office/drawing/2014/main" id="{8C581976-4828-4385-15DB-3D1883B0A5CD}"/>
              </a:ext>
            </a:extLst>
          </p:cNvPr>
          <p:cNvSpPr>
            <a:spLocks noGrp="1"/>
          </p:cNvSpPr>
          <p:nvPr>
            <p:ph type="dt" sz="half" idx="6"/>
          </p:nvPr>
        </p:nvSpPr>
        <p:spPr>
          <a:xfrm>
            <a:off x="9093197" y="6597061"/>
            <a:ext cx="1799771" cy="138499"/>
          </a:xfrm>
          <a:prstGeom prst="rect">
            <a:avLst/>
          </a:prstGeom>
        </p:spPr>
        <p:txBody>
          <a:bodyPr wrap="square" lIns="0" tIns="0" rIns="0" bIns="0">
            <a:spAutoFit/>
          </a:bodyPr>
          <a:lstStyle>
            <a:lvl1pPr algn="r">
              <a:defRPr sz="900">
                <a:solidFill>
                  <a:schemeClr val="bg1"/>
                </a:solidFill>
                <a:latin typeface="Arial" panose="020B0604020202020204" pitchFamily="34" charset="0"/>
                <a:cs typeface="Arial" panose="020B0604020202020204" pitchFamily="34" charset="0"/>
              </a:defRPr>
            </a:lvl1pPr>
          </a:lstStyle>
          <a:p>
            <a:endParaRPr lang="en-US"/>
          </a:p>
        </p:txBody>
      </p:sp>
      <p:sp>
        <p:nvSpPr>
          <p:cNvPr id="12" name="Holder 6">
            <a:extLst>
              <a:ext uri="{FF2B5EF4-FFF2-40B4-BE49-F238E27FC236}">
                <a16:creationId xmlns:a16="http://schemas.microsoft.com/office/drawing/2014/main" id="{32D18E56-39BD-8944-B8DF-C01AFC70E393}"/>
              </a:ext>
            </a:extLst>
          </p:cNvPr>
          <p:cNvSpPr>
            <a:spLocks noGrp="1"/>
          </p:cNvSpPr>
          <p:nvPr>
            <p:ph type="sldNum" sz="quarter" idx="7"/>
          </p:nvPr>
        </p:nvSpPr>
        <p:spPr>
          <a:xfrm>
            <a:off x="11074400" y="6597061"/>
            <a:ext cx="508000" cy="138499"/>
          </a:xfrm>
          <a:prstGeom prst="rect">
            <a:avLst/>
          </a:prstGeom>
        </p:spPr>
        <p:txBody>
          <a:bodyPr wrap="square" lIns="0" tIns="0" rIns="0" bIns="0">
            <a:spAutoFit/>
          </a:bodyPr>
          <a:lstStyle>
            <a:lvl1pPr algn="r">
              <a:defRPr sz="900">
                <a:solidFill>
                  <a:schemeClr val="bg1"/>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6491470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bg>
      <p:bgPr>
        <a:gradFill>
          <a:gsLst>
            <a:gs pos="100000">
              <a:schemeClr val="accent5"/>
            </a:gs>
            <a:gs pos="0">
              <a:schemeClr val="accent1"/>
            </a:gs>
          </a:gsLst>
          <a:lin ang="5400000" scaled="1"/>
        </a:gradFill>
        <a:effectLst/>
      </p:bgPr>
    </p:bg>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D242ED7F-31F3-6240-B2C8-6FF2D7AC45B3}"/>
              </a:ext>
            </a:extLst>
          </p:cNvPr>
          <p:cNvSpPr/>
          <p:nvPr userDrawn="1"/>
        </p:nvSpPr>
        <p:spPr>
          <a:xfrm>
            <a:off x="1" y="0"/>
            <a:ext cx="6863787" cy="6858000"/>
          </a:xfrm>
          <a:custGeom>
            <a:avLst/>
            <a:gdLst>
              <a:gd name="connsiteX0" fmla="*/ 0 w 6863787"/>
              <a:gd name="connsiteY0" fmla="*/ 0 h 6858000"/>
              <a:gd name="connsiteX1" fmla="*/ 6863787 w 6863787"/>
              <a:gd name="connsiteY1" fmla="*/ 0 h 6858000"/>
              <a:gd name="connsiteX2" fmla="*/ 6863787 w 6863787"/>
              <a:gd name="connsiteY2" fmla="*/ 6858000 h 6858000"/>
              <a:gd name="connsiteX3" fmla="*/ 0 w 6863787"/>
              <a:gd name="connsiteY3" fmla="*/ 6858000 h 6858000"/>
              <a:gd name="connsiteX4" fmla="*/ 0 w 6863787"/>
              <a:gd name="connsiteY4" fmla="*/ 0 h 6858000"/>
              <a:gd name="connsiteX0" fmla="*/ 0 w 6863787"/>
              <a:gd name="connsiteY0" fmla="*/ 0 h 6858000"/>
              <a:gd name="connsiteX1" fmla="*/ 6863787 w 6863787"/>
              <a:gd name="connsiteY1" fmla="*/ 0 h 6858000"/>
              <a:gd name="connsiteX2" fmla="*/ 5162308 w 6863787"/>
              <a:gd name="connsiteY2" fmla="*/ 6823276 h 6858000"/>
              <a:gd name="connsiteX3" fmla="*/ 0 w 6863787"/>
              <a:gd name="connsiteY3" fmla="*/ 6858000 h 6858000"/>
              <a:gd name="connsiteX4" fmla="*/ 0 w 686378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3787" h="6858000">
                <a:moveTo>
                  <a:pt x="0" y="0"/>
                </a:moveTo>
                <a:lnTo>
                  <a:pt x="6863787" y="0"/>
                </a:lnTo>
                <a:lnTo>
                  <a:pt x="5162308" y="6823276"/>
                </a:lnTo>
                <a:lnTo>
                  <a:pt x="0" y="6858000"/>
                </a:lnTo>
                <a:lnTo>
                  <a:pt x="0" y="0"/>
                </a:lnTo>
                <a:close/>
              </a:path>
            </a:pathLst>
          </a:custGeom>
          <a:solidFill>
            <a:schemeClr val="tx2">
              <a:alpha val="4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 name="Title 1">
            <a:extLst>
              <a:ext uri="{FF2B5EF4-FFF2-40B4-BE49-F238E27FC236}">
                <a16:creationId xmlns:a16="http://schemas.microsoft.com/office/drawing/2014/main" id="{A73F09E8-B747-B84C-A2B2-F829044B9C4F}"/>
              </a:ext>
            </a:extLst>
          </p:cNvPr>
          <p:cNvSpPr>
            <a:spLocks noGrp="1"/>
          </p:cNvSpPr>
          <p:nvPr>
            <p:ph type="title"/>
          </p:nvPr>
        </p:nvSpPr>
        <p:spPr>
          <a:xfrm>
            <a:off x="831850" y="576266"/>
            <a:ext cx="6726419" cy="2852737"/>
          </a:xfrm>
        </p:spPr>
        <p:txBody>
          <a:bodyPr anchor="b"/>
          <a:lstStyle>
            <a:lvl1pPr>
              <a:defRPr sz="3333">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03C786F-4AAA-A648-948F-3845C013615E}"/>
              </a:ext>
            </a:extLst>
          </p:cNvPr>
          <p:cNvSpPr>
            <a:spLocks noGrp="1"/>
          </p:cNvSpPr>
          <p:nvPr>
            <p:ph type="body" idx="1"/>
          </p:nvPr>
        </p:nvSpPr>
        <p:spPr>
          <a:xfrm>
            <a:off x="6445407" y="4258878"/>
            <a:ext cx="4904279" cy="1500187"/>
          </a:xfrm>
        </p:spPr>
        <p:txBody>
          <a:bodyPr/>
          <a:lstStyle>
            <a:lvl1pPr marL="0" indent="0">
              <a:buNone/>
              <a:defRPr sz="1333">
                <a:solidFill>
                  <a:schemeClr val="bg1"/>
                </a:solidFill>
              </a:defRPr>
            </a:lvl1pPr>
            <a:lvl2pPr marL="253986" indent="0">
              <a:buNone/>
              <a:defRPr sz="1111">
                <a:solidFill>
                  <a:schemeClr val="tx1">
                    <a:tint val="75000"/>
                  </a:schemeClr>
                </a:solidFill>
              </a:defRPr>
            </a:lvl2pPr>
            <a:lvl3pPr marL="507972" indent="0">
              <a:buNone/>
              <a:defRPr sz="1000">
                <a:solidFill>
                  <a:schemeClr val="tx1">
                    <a:tint val="75000"/>
                  </a:schemeClr>
                </a:solidFill>
              </a:defRPr>
            </a:lvl3pPr>
            <a:lvl4pPr marL="761958" indent="0">
              <a:buNone/>
              <a:defRPr sz="889">
                <a:solidFill>
                  <a:schemeClr val="tx1">
                    <a:tint val="75000"/>
                  </a:schemeClr>
                </a:solidFill>
              </a:defRPr>
            </a:lvl4pPr>
            <a:lvl5pPr marL="1015944" indent="0">
              <a:buNone/>
              <a:defRPr sz="889">
                <a:solidFill>
                  <a:schemeClr val="tx1">
                    <a:tint val="75000"/>
                  </a:schemeClr>
                </a:solidFill>
              </a:defRPr>
            </a:lvl5pPr>
            <a:lvl6pPr marL="1269930" indent="0">
              <a:buNone/>
              <a:defRPr sz="889">
                <a:solidFill>
                  <a:schemeClr val="tx1">
                    <a:tint val="75000"/>
                  </a:schemeClr>
                </a:solidFill>
              </a:defRPr>
            </a:lvl6pPr>
            <a:lvl7pPr marL="1523916" indent="0">
              <a:buNone/>
              <a:defRPr sz="889">
                <a:solidFill>
                  <a:schemeClr val="tx1">
                    <a:tint val="75000"/>
                  </a:schemeClr>
                </a:solidFill>
              </a:defRPr>
            </a:lvl7pPr>
            <a:lvl8pPr marL="1777902" indent="0">
              <a:buNone/>
              <a:defRPr sz="889">
                <a:solidFill>
                  <a:schemeClr val="tx1">
                    <a:tint val="75000"/>
                  </a:schemeClr>
                </a:solidFill>
              </a:defRPr>
            </a:lvl8pPr>
            <a:lvl9pPr marL="2031888" indent="0">
              <a:buNone/>
              <a:defRPr sz="889">
                <a:solidFill>
                  <a:schemeClr val="tx1">
                    <a:tint val="75000"/>
                  </a:schemeClr>
                </a:solidFill>
              </a:defRPr>
            </a:lvl9pPr>
          </a:lstStyle>
          <a:p>
            <a:pPr lvl="0"/>
            <a:r>
              <a:rPr lang="en-US"/>
              <a:t>Click to edit Master text styles</a:t>
            </a:r>
          </a:p>
        </p:txBody>
      </p:sp>
      <p:sp>
        <p:nvSpPr>
          <p:cNvPr id="7" name="Slide Number Placeholder 6">
            <a:extLst>
              <a:ext uri="{FF2B5EF4-FFF2-40B4-BE49-F238E27FC236}">
                <a16:creationId xmlns:a16="http://schemas.microsoft.com/office/drawing/2014/main" id="{FD94B43F-3B82-374E-B7B1-1092D697BBBC}"/>
              </a:ext>
            </a:extLst>
          </p:cNvPr>
          <p:cNvSpPr>
            <a:spLocks noGrp="1"/>
          </p:cNvSpPr>
          <p:nvPr>
            <p:ph type="sldNum" sz="quarter" idx="10"/>
          </p:nvPr>
        </p:nvSpPr>
        <p:spPr/>
        <p:txBody>
          <a:bodyPr/>
          <a:lstStyle/>
          <a:p>
            <a:fld id="{E773C8E2-B35B-254F-A137-6F2F570DAACB}" type="slidenum">
              <a:rPr lang="en-US" smtClean="0"/>
              <a:pPr/>
              <a:t>‹#›</a:t>
            </a:fld>
            <a:endParaRPr lang="en-US"/>
          </a:p>
        </p:txBody>
      </p:sp>
      <p:sp>
        <p:nvSpPr>
          <p:cNvPr id="10" name="Holder 4">
            <a:extLst>
              <a:ext uri="{FF2B5EF4-FFF2-40B4-BE49-F238E27FC236}">
                <a16:creationId xmlns:a16="http://schemas.microsoft.com/office/drawing/2014/main" id="{15AD9895-1CC2-E700-5FFC-CD04A9576ECD}"/>
              </a:ext>
            </a:extLst>
          </p:cNvPr>
          <p:cNvSpPr>
            <a:spLocks noGrp="1"/>
          </p:cNvSpPr>
          <p:nvPr>
            <p:ph type="ftr" sz="quarter" idx="5"/>
          </p:nvPr>
        </p:nvSpPr>
        <p:spPr>
          <a:xfrm>
            <a:off x="496395" y="6647861"/>
            <a:ext cx="5905864" cy="138499"/>
          </a:xfrm>
          <a:prstGeom prst="rect">
            <a:avLst/>
          </a:prstGeom>
        </p:spPr>
        <p:txBody>
          <a:bodyPr wrap="square" lIns="0" tIns="0" rIns="0" bIns="0">
            <a:spAutoFit/>
          </a:bodyPr>
          <a:lstStyle>
            <a:lvl1pPr algn="l">
              <a:defRPr sz="900">
                <a:solidFill>
                  <a:schemeClr val="bg1"/>
                </a:solidFill>
                <a:latin typeface="Arial" panose="020B0604020202020204" pitchFamily="34" charset="0"/>
                <a:cs typeface="Arial" panose="020B0604020202020204" pitchFamily="34" charset="0"/>
              </a:defRPr>
            </a:lvl1pPr>
          </a:lstStyle>
          <a:p>
            <a:endParaRPr lang="en-US"/>
          </a:p>
        </p:txBody>
      </p:sp>
      <p:sp>
        <p:nvSpPr>
          <p:cNvPr id="11" name="Holder 5">
            <a:extLst>
              <a:ext uri="{FF2B5EF4-FFF2-40B4-BE49-F238E27FC236}">
                <a16:creationId xmlns:a16="http://schemas.microsoft.com/office/drawing/2014/main" id="{141FC0B9-3E02-334E-7A64-92EF22976F1E}"/>
              </a:ext>
            </a:extLst>
          </p:cNvPr>
          <p:cNvSpPr>
            <a:spLocks noGrp="1"/>
          </p:cNvSpPr>
          <p:nvPr>
            <p:ph type="dt" sz="half" idx="6"/>
          </p:nvPr>
        </p:nvSpPr>
        <p:spPr>
          <a:xfrm>
            <a:off x="9085943" y="6647861"/>
            <a:ext cx="1799771" cy="138499"/>
          </a:xfrm>
          <a:prstGeom prst="rect">
            <a:avLst/>
          </a:prstGeom>
        </p:spPr>
        <p:txBody>
          <a:bodyPr wrap="square" lIns="0" tIns="0" rIns="0" bIns="0">
            <a:spAutoFit/>
          </a:bodyPr>
          <a:lstStyle>
            <a:lvl1pPr algn="r">
              <a:defRPr sz="900">
                <a:solidFill>
                  <a:schemeClr val="bg1"/>
                </a:solidFill>
                <a:latin typeface="Arial" panose="020B0604020202020204" pitchFamily="34" charset="0"/>
                <a:cs typeface="Arial" panose="020B0604020202020204" pitchFamily="34" charset="0"/>
              </a:defRPr>
            </a:lvl1pPr>
          </a:lstStyle>
          <a:p>
            <a:endParaRPr lang="en-US"/>
          </a:p>
        </p:txBody>
      </p:sp>
      <p:sp>
        <p:nvSpPr>
          <p:cNvPr id="12" name="Holder 6">
            <a:extLst>
              <a:ext uri="{FF2B5EF4-FFF2-40B4-BE49-F238E27FC236}">
                <a16:creationId xmlns:a16="http://schemas.microsoft.com/office/drawing/2014/main" id="{FADF5524-1C97-8DF4-BFB3-615B18D2E8C4}"/>
              </a:ext>
            </a:extLst>
          </p:cNvPr>
          <p:cNvSpPr txBox="1">
            <a:spLocks/>
          </p:cNvSpPr>
          <p:nvPr userDrawn="1"/>
        </p:nvSpPr>
        <p:spPr>
          <a:xfrm>
            <a:off x="11067146" y="6647861"/>
            <a:ext cx="508000" cy="138499"/>
          </a:xfrm>
          <a:prstGeom prst="rect">
            <a:avLst/>
          </a:prstGeom>
        </p:spPr>
        <p:txBody>
          <a:bodyPr wrap="square" lIns="0" tIns="0" rIns="0" bIns="0">
            <a:spAutoFit/>
          </a:bodyPr>
          <a:lstStyle>
            <a:defPPr>
              <a:defRPr lang="en-US"/>
            </a:defPPr>
            <a:lvl1pPr marL="0" algn="r" defTabSz="914400"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US" smtClean="0"/>
              <a:pPr/>
              <a:t>‹#›</a:t>
            </a:fld>
            <a:endParaRPr lang="en-US"/>
          </a:p>
        </p:txBody>
      </p:sp>
    </p:spTree>
    <p:extLst>
      <p:ext uri="{BB962C8B-B14F-4D97-AF65-F5344CB8AC3E}">
        <p14:creationId xmlns:p14="http://schemas.microsoft.com/office/powerpoint/2010/main" val="1035858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Blue Transition Title">
    <p:bg>
      <p:bgPr>
        <a:solidFill>
          <a:schemeClr val="accent5"/>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4946008" y="1748117"/>
            <a:ext cx="6530788" cy="2420471"/>
          </a:xfrm>
        </p:spPr>
        <p:txBody>
          <a:bodyPr lIns="0" tIns="0" rIns="0" bIns="0">
            <a:noAutofit/>
          </a:bodyPr>
          <a:lstStyle>
            <a:lvl1pPr>
              <a:defRPr sz="5824" b="0" i="0">
                <a:solidFill>
                  <a:schemeClr val="accent3"/>
                </a:solidFill>
                <a:latin typeface="Avenir LT Std 65 Medium"/>
                <a:cs typeface="Avenir LT Std 65 Medium"/>
              </a:defRPr>
            </a:lvl1pPr>
          </a:lstStyle>
          <a:p>
            <a:r>
              <a:rPr lang="en-US"/>
              <a:t>Click to edit Master title style</a:t>
            </a:r>
            <a:endParaRPr/>
          </a:p>
        </p:txBody>
      </p:sp>
      <p:sp>
        <p:nvSpPr>
          <p:cNvPr id="10" name="Holder 3">
            <a:extLst>
              <a:ext uri="{FF2B5EF4-FFF2-40B4-BE49-F238E27FC236}">
                <a16:creationId xmlns:a16="http://schemas.microsoft.com/office/drawing/2014/main" id="{3E6289C2-E677-5144-9ECA-42D077D6C5DA}"/>
              </a:ext>
            </a:extLst>
          </p:cNvPr>
          <p:cNvSpPr>
            <a:spLocks noGrp="1"/>
          </p:cNvSpPr>
          <p:nvPr>
            <p:ph type="body" idx="1"/>
          </p:nvPr>
        </p:nvSpPr>
        <p:spPr>
          <a:xfrm>
            <a:off x="4946008" y="4370294"/>
            <a:ext cx="6530788" cy="1011933"/>
          </a:xfrm>
        </p:spPr>
        <p:txBody>
          <a:bodyPr lIns="0" tIns="0" rIns="0" bIns="0">
            <a:noAutofit/>
          </a:bodyPr>
          <a:lstStyle>
            <a:lvl1pPr marL="0" indent="0">
              <a:buNone/>
              <a:defRPr sz="2400" b="0" i="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3" name="Picture 2">
            <a:extLst>
              <a:ext uri="{FF2B5EF4-FFF2-40B4-BE49-F238E27FC236}">
                <a16:creationId xmlns:a16="http://schemas.microsoft.com/office/drawing/2014/main" id="{A5D17ECB-5AE6-B554-6835-6302745786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pic>
        <p:nvPicPr>
          <p:cNvPr id="4" name="object 6">
            <a:extLst>
              <a:ext uri="{FF2B5EF4-FFF2-40B4-BE49-F238E27FC236}">
                <a16:creationId xmlns:a16="http://schemas.microsoft.com/office/drawing/2014/main" id="{DF08B347-8400-5559-573D-2EC8097C7016}"/>
              </a:ext>
            </a:extLst>
          </p:cNvPr>
          <p:cNvPicPr/>
          <p:nvPr userDrawn="1"/>
        </p:nvPicPr>
        <p:blipFill rotWithShape="1">
          <a:blip r:embed="rId3" cstate="screen">
            <a:duotone>
              <a:schemeClr val="accent5">
                <a:shade val="45000"/>
                <a:satMod val="135000"/>
              </a:schemeClr>
              <a:prstClr val="white"/>
            </a:duotone>
            <a:alphaModFix amt="40000"/>
            <a:extLst>
              <a:ext uri="{28A0092B-C50C-407E-A947-70E740481C1C}">
                <a14:useLocalDpi xmlns:a14="http://schemas.microsoft.com/office/drawing/2010/main"/>
              </a:ext>
            </a:extLst>
          </a:blip>
          <a:srcRect t="-231"/>
          <a:stretch/>
        </p:blipFill>
        <p:spPr>
          <a:xfrm>
            <a:off x="0" y="0"/>
            <a:ext cx="4331374" cy="6858000"/>
          </a:xfrm>
          <a:prstGeom prst="rect">
            <a:avLst/>
          </a:prstGeom>
        </p:spPr>
      </p:pic>
      <p:sp>
        <p:nvSpPr>
          <p:cNvPr id="2" name="Freeform 1">
            <a:extLst>
              <a:ext uri="{FF2B5EF4-FFF2-40B4-BE49-F238E27FC236}">
                <a16:creationId xmlns:a16="http://schemas.microsoft.com/office/drawing/2014/main" id="{66192D26-603C-C231-26B0-E23FE4D180DF}"/>
              </a:ext>
            </a:extLst>
          </p:cNvPr>
          <p:cNvSpPr/>
          <p:nvPr userDrawn="1"/>
        </p:nvSpPr>
        <p:spPr>
          <a:xfrm>
            <a:off x="-27146" y="-92"/>
            <a:ext cx="1492294" cy="6852884"/>
          </a:xfrm>
          <a:custGeom>
            <a:avLst/>
            <a:gdLst>
              <a:gd name="connsiteX0" fmla="*/ 0 w 1428645"/>
              <a:gd name="connsiteY0" fmla="*/ 0 h 6852884"/>
              <a:gd name="connsiteX1" fmla="*/ 13778 w 1428645"/>
              <a:gd name="connsiteY1" fmla="*/ 6852885 h 6852884"/>
              <a:gd name="connsiteX2" fmla="*/ 45526 w 1428645"/>
              <a:gd name="connsiteY2" fmla="*/ 6852885 h 6852884"/>
              <a:gd name="connsiteX3" fmla="*/ 1428646 w 1428645"/>
              <a:gd name="connsiteY3" fmla="*/ 0 h 6852884"/>
              <a:gd name="connsiteX4" fmla="*/ 0 w 1428645"/>
              <a:gd name="connsiteY4" fmla="*/ 0 h 6852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645" h="6852884">
                <a:moveTo>
                  <a:pt x="0" y="0"/>
                </a:moveTo>
                <a:lnTo>
                  <a:pt x="13778" y="6852885"/>
                </a:lnTo>
                <a:lnTo>
                  <a:pt x="45526" y="6852885"/>
                </a:lnTo>
                <a:lnTo>
                  <a:pt x="1428646" y="0"/>
                </a:lnTo>
                <a:lnTo>
                  <a:pt x="0" y="0"/>
                </a:lnTo>
                <a:close/>
              </a:path>
            </a:pathLst>
          </a:custGeom>
          <a:solidFill>
            <a:schemeClr val="accent2">
              <a:alpha val="50000"/>
            </a:schemeClr>
          </a:solidFill>
          <a:ln w="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3881C514-88DB-8614-F29D-6AE27F65E4A2}"/>
              </a:ext>
            </a:extLst>
          </p:cNvPr>
          <p:cNvSpPr/>
          <p:nvPr userDrawn="1"/>
        </p:nvSpPr>
        <p:spPr>
          <a:xfrm>
            <a:off x="-27147" y="-9427"/>
            <a:ext cx="948057" cy="6858092"/>
          </a:xfrm>
          <a:custGeom>
            <a:avLst/>
            <a:gdLst>
              <a:gd name="connsiteX0" fmla="*/ 0 w 876236"/>
              <a:gd name="connsiteY0" fmla="*/ 0 h 6859235"/>
              <a:gd name="connsiteX1" fmla="*/ 25398 w 876236"/>
              <a:gd name="connsiteY1" fmla="*/ 6859236 h 6859235"/>
              <a:gd name="connsiteX2" fmla="*/ 120641 w 876236"/>
              <a:gd name="connsiteY2" fmla="*/ 6859236 h 6859235"/>
              <a:gd name="connsiteX3" fmla="*/ 876236 w 876236"/>
              <a:gd name="connsiteY3" fmla="*/ 0 h 6859235"/>
              <a:gd name="connsiteX4" fmla="*/ 0 w 876236"/>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36" h="6859235">
                <a:moveTo>
                  <a:pt x="0" y="0"/>
                </a:moveTo>
                <a:lnTo>
                  <a:pt x="25398" y="6859236"/>
                </a:lnTo>
                <a:lnTo>
                  <a:pt x="120641" y="6859236"/>
                </a:lnTo>
                <a:lnTo>
                  <a:pt x="876236" y="0"/>
                </a:lnTo>
                <a:lnTo>
                  <a:pt x="0" y="0"/>
                </a:lnTo>
                <a:close/>
              </a:path>
            </a:pathLst>
          </a:custGeom>
          <a:solidFill>
            <a:schemeClr val="accent5">
              <a:alpha val="70000"/>
            </a:scheme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24CF829-BFA0-8F05-CF3A-2A187E6E8F7A}"/>
              </a:ext>
            </a:extLst>
          </p:cNvPr>
          <p:cNvSpPr/>
          <p:nvPr userDrawn="1"/>
        </p:nvSpPr>
        <p:spPr>
          <a:xfrm>
            <a:off x="3286130" y="3850926"/>
            <a:ext cx="793692" cy="2997739"/>
          </a:xfrm>
          <a:custGeom>
            <a:avLst/>
            <a:gdLst>
              <a:gd name="connsiteX0" fmla="*/ 0 w 793692"/>
              <a:gd name="connsiteY0" fmla="*/ 2997740 h 2997739"/>
              <a:gd name="connsiteX1" fmla="*/ 793692 w 793692"/>
              <a:gd name="connsiteY1" fmla="*/ 2997740 h 2997739"/>
              <a:gd name="connsiteX2" fmla="*/ 666701 w 793692"/>
              <a:gd name="connsiteY2" fmla="*/ 0 h 2997739"/>
              <a:gd name="connsiteX3" fmla="*/ 0 w 793692"/>
              <a:gd name="connsiteY3" fmla="*/ 2997740 h 2997739"/>
            </a:gdLst>
            <a:ahLst/>
            <a:cxnLst>
              <a:cxn ang="0">
                <a:pos x="connsiteX0" y="connsiteY0"/>
              </a:cxn>
              <a:cxn ang="0">
                <a:pos x="connsiteX1" y="connsiteY1"/>
              </a:cxn>
              <a:cxn ang="0">
                <a:pos x="connsiteX2" y="connsiteY2"/>
              </a:cxn>
              <a:cxn ang="0">
                <a:pos x="connsiteX3" y="connsiteY3"/>
              </a:cxn>
            </a:cxnLst>
            <a:rect l="l" t="t" r="r" b="b"/>
            <a:pathLst>
              <a:path w="793692" h="2997739">
                <a:moveTo>
                  <a:pt x="0" y="2997740"/>
                </a:moveTo>
                <a:lnTo>
                  <a:pt x="793692" y="2997740"/>
                </a:lnTo>
                <a:lnTo>
                  <a:pt x="666701" y="0"/>
                </a:lnTo>
                <a:lnTo>
                  <a:pt x="0" y="2997740"/>
                </a:lnTo>
                <a:close/>
              </a:path>
            </a:pathLst>
          </a:custGeom>
          <a:solidFill>
            <a:schemeClr val="accent5"/>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1483D69-3EC1-8E4C-BC12-3EF5450F649A}"/>
              </a:ext>
            </a:extLst>
          </p:cNvPr>
          <p:cNvSpPr/>
          <p:nvPr userDrawn="1"/>
        </p:nvSpPr>
        <p:spPr>
          <a:xfrm>
            <a:off x="3283974" y="-9427"/>
            <a:ext cx="2000060" cy="6890523"/>
          </a:xfrm>
          <a:custGeom>
            <a:avLst/>
            <a:gdLst>
              <a:gd name="connsiteX0" fmla="*/ 869887 w 2482669"/>
              <a:gd name="connsiteY0" fmla="*/ 0 h 6859235"/>
              <a:gd name="connsiteX1" fmla="*/ 0 w 2482669"/>
              <a:gd name="connsiteY1" fmla="*/ 6859236 h 6859235"/>
              <a:gd name="connsiteX2" fmla="*/ 0 w 2482669"/>
              <a:gd name="connsiteY2" fmla="*/ 6859236 h 6859235"/>
              <a:gd name="connsiteX3" fmla="*/ 2482669 w 2482669"/>
              <a:gd name="connsiteY3" fmla="*/ 0 h 6859235"/>
              <a:gd name="connsiteX4" fmla="*/ 869887 w 2482669"/>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2669" h="6859235">
                <a:moveTo>
                  <a:pt x="869887" y="0"/>
                </a:moveTo>
                <a:lnTo>
                  <a:pt x="0" y="6859236"/>
                </a:lnTo>
                <a:lnTo>
                  <a:pt x="0" y="6859236"/>
                </a:lnTo>
                <a:lnTo>
                  <a:pt x="2482669" y="0"/>
                </a:lnTo>
                <a:lnTo>
                  <a:pt x="869887" y="0"/>
                </a:lnTo>
                <a:close/>
              </a:path>
            </a:pathLst>
          </a:custGeom>
          <a:solidFill>
            <a:schemeClr val="tx2">
              <a:alpha val="50000"/>
            </a:schemeClr>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293022D-9045-4CD8-D2AC-2CC9CB117B73}"/>
              </a:ext>
            </a:extLst>
          </p:cNvPr>
          <p:cNvSpPr/>
          <p:nvPr userDrawn="1"/>
        </p:nvSpPr>
        <p:spPr>
          <a:xfrm>
            <a:off x="3664673" y="-1143"/>
            <a:ext cx="666701" cy="6865586"/>
          </a:xfrm>
          <a:custGeom>
            <a:avLst/>
            <a:gdLst>
              <a:gd name="connsiteX0" fmla="*/ 634954 w 666701"/>
              <a:gd name="connsiteY0" fmla="*/ 0 h 6865586"/>
              <a:gd name="connsiteX1" fmla="*/ 0 w 666701"/>
              <a:gd name="connsiteY1" fmla="*/ 6859236 h 6865586"/>
              <a:gd name="connsiteX2" fmla="*/ 666701 w 666701"/>
              <a:gd name="connsiteY2" fmla="*/ 6865587 h 6865586"/>
              <a:gd name="connsiteX3" fmla="*/ 666701 w 666701"/>
              <a:gd name="connsiteY3" fmla="*/ 0 h 6865586"/>
              <a:gd name="connsiteX4" fmla="*/ 634954 w 666701"/>
              <a:gd name="connsiteY4" fmla="*/ 0 h 686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01" h="6865586">
                <a:moveTo>
                  <a:pt x="634954" y="0"/>
                </a:moveTo>
                <a:lnTo>
                  <a:pt x="0" y="6859236"/>
                </a:lnTo>
                <a:lnTo>
                  <a:pt x="666701" y="6865587"/>
                </a:lnTo>
                <a:lnTo>
                  <a:pt x="666701" y="0"/>
                </a:lnTo>
                <a:lnTo>
                  <a:pt x="634954" y="0"/>
                </a:lnTo>
                <a:close/>
              </a:path>
            </a:pathLst>
          </a:custGeom>
          <a:solidFill>
            <a:schemeClr val="accent2">
              <a:alpha val="50000"/>
            </a:schemeClr>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8944548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1 column -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477615" y="1046533"/>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086567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6FB22-0DB0-487A-9127-3979B139B1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C713BE4-5B3D-4BF7-9C41-C01C5804D202}"/>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7783027-0A50-432B-96A8-D509DEEA72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F6521FC-0ECC-483E-94FA-C7A3954A9042}"/>
              </a:ext>
            </a:extLst>
          </p:cNvPr>
          <p:cNvSpPr>
            <a:spLocks noGrp="1"/>
          </p:cNvSpPr>
          <p:nvPr>
            <p:ph type="sldNum" sz="quarter" idx="12"/>
          </p:nvPr>
        </p:nvSpPr>
        <p:spPr/>
        <p:txBody>
          <a:bodyPr/>
          <a:lstStyle/>
          <a:p>
            <a:fld id="{C49FFCB8-B38E-4214-874B-E919E46EB600}" type="slidenum">
              <a:rPr lang="en-US" smtClean="0"/>
              <a:t>‹#›</a:t>
            </a:fld>
            <a:endParaRPr lang="en-US"/>
          </a:p>
        </p:txBody>
      </p:sp>
    </p:spTree>
    <p:extLst>
      <p:ext uri="{BB962C8B-B14F-4D97-AF65-F5344CB8AC3E}">
        <p14:creationId xmlns:p14="http://schemas.microsoft.com/office/powerpoint/2010/main" val="363657390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1B8420-C696-A8CA-B649-01BDB9CB0971}"/>
              </a:ext>
            </a:extLst>
          </p:cNvPr>
          <p:cNvSpPr>
            <a:spLocks noGrp="1"/>
          </p:cNvSpPr>
          <p:nvPr>
            <p:ph type="dt" sz="half" idx="10"/>
          </p:nvPr>
        </p:nvSpPr>
        <p:spPr/>
        <p:txBody>
          <a:bodyPr/>
          <a:lstStyle/>
          <a:p>
            <a:fld id="{91373DF6-6300-44FE-84EE-B805CD4A0B73}" type="datetimeFigureOut">
              <a:rPr lang="en-US" smtClean="0"/>
              <a:t>11/16/2023</a:t>
            </a:fld>
            <a:endParaRPr lang="en-US"/>
          </a:p>
        </p:txBody>
      </p:sp>
      <p:sp>
        <p:nvSpPr>
          <p:cNvPr id="3" name="Footer Placeholder 2">
            <a:extLst>
              <a:ext uri="{FF2B5EF4-FFF2-40B4-BE49-F238E27FC236}">
                <a16:creationId xmlns:a16="http://schemas.microsoft.com/office/drawing/2014/main" id="{9D3CF17D-9AA6-CA0B-2399-2FCE79C329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A9DA24D-8378-106C-D655-F8610BC12DB9}"/>
              </a:ext>
            </a:extLst>
          </p:cNvPr>
          <p:cNvSpPr>
            <a:spLocks noGrp="1"/>
          </p:cNvSpPr>
          <p:nvPr>
            <p:ph type="sldNum" sz="quarter" idx="12"/>
          </p:nvPr>
        </p:nvSpPr>
        <p:spPr/>
        <p:txBody>
          <a:bodyPr/>
          <a:lstStyle/>
          <a:p>
            <a:fld id="{713006B1-3717-4886-8AC2-F8E44D0375EC}" type="slidenum">
              <a:rPr lang="en-US" smtClean="0"/>
              <a:t>‹#›</a:t>
            </a:fld>
            <a:endParaRPr lang="en-US"/>
          </a:p>
        </p:txBody>
      </p:sp>
    </p:spTree>
    <p:extLst>
      <p:ext uri="{BB962C8B-B14F-4D97-AF65-F5344CB8AC3E}">
        <p14:creationId xmlns:p14="http://schemas.microsoft.com/office/powerpoint/2010/main" val="9420103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D0D8B-AA4B-77A7-6E7E-1F2E4E739B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5051E6A-AC36-B20E-57A4-8707A4093E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D05B99E-C5B9-D9BF-54D6-53F17C42303E}"/>
              </a:ext>
            </a:extLst>
          </p:cNvPr>
          <p:cNvSpPr>
            <a:spLocks noGrp="1"/>
          </p:cNvSpPr>
          <p:nvPr>
            <p:ph type="dt" sz="half" idx="10"/>
          </p:nvPr>
        </p:nvSpPr>
        <p:spPr/>
        <p:txBody>
          <a:bodyPr/>
          <a:lstStyle/>
          <a:p>
            <a:fld id="{91373DF6-6300-44FE-84EE-B805CD4A0B73}" type="datetimeFigureOut">
              <a:rPr lang="en-US" smtClean="0"/>
              <a:t>11/16/2023</a:t>
            </a:fld>
            <a:endParaRPr lang="en-US"/>
          </a:p>
        </p:txBody>
      </p:sp>
      <p:sp>
        <p:nvSpPr>
          <p:cNvPr id="5" name="Footer Placeholder 4">
            <a:extLst>
              <a:ext uri="{FF2B5EF4-FFF2-40B4-BE49-F238E27FC236}">
                <a16:creationId xmlns:a16="http://schemas.microsoft.com/office/drawing/2014/main" id="{8A9054E9-E995-F3A8-BEFC-860718E884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ED0173-2BE6-0557-F58C-D7FE1266E87C}"/>
              </a:ext>
            </a:extLst>
          </p:cNvPr>
          <p:cNvSpPr>
            <a:spLocks noGrp="1"/>
          </p:cNvSpPr>
          <p:nvPr>
            <p:ph type="sldNum" sz="quarter" idx="12"/>
          </p:nvPr>
        </p:nvSpPr>
        <p:spPr/>
        <p:txBody>
          <a:bodyPr/>
          <a:lstStyle/>
          <a:p>
            <a:fld id="{713006B1-3717-4886-8AC2-F8E44D0375EC}" type="slidenum">
              <a:rPr lang="en-US" smtClean="0"/>
              <a:t>‹#›</a:t>
            </a:fld>
            <a:endParaRPr lang="en-US"/>
          </a:p>
        </p:txBody>
      </p:sp>
    </p:spTree>
    <p:extLst>
      <p:ext uri="{BB962C8B-B14F-4D97-AF65-F5344CB8AC3E}">
        <p14:creationId xmlns:p14="http://schemas.microsoft.com/office/powerpoint/2010/main" val="39043781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Title White - Light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831850" y="702571"/>
            <a:ext cx="10515600" cy="2726429"/>
          </a:xfrm>
          <a:prstGeom prst="rect">
            <a:avLst/>
          </a:prstGeom>
        </p:spPr>
        <p:txBody>
          <a:bodyPr anchor="b">
            <a:normAutofit/>
          </a:bodyPr>
          <a:lstStyle>
            <a:lvl1pPr algn="ctr">
              <a:defRPr sz="5500">
                <a:solidFill>
                  <a:schemeClr val="accent2"/>
                </a:solidFill>
              </a:defRPr>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831850" y="3582296"/>
            <a:ext cx="10515600" cy="1500187"/>
          </a:xfrm>
          <a:prstGeom prst="rect">
            <a:avLst/>
          </a:prstGeom>
        </p:spPr>
        <p:txBody>
          <a:bodyPr/>
          <a:lstStyle>
            <a:lvl1pPr marL="0" indent="0" algn="ctr">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Footer Placeholder 4">
            <a:extLst>
              <a:ext uri="{FF2B5EF4-FFF2-40B4-BE49-F238E27FC236}">
                <a16:creationId xmlns:a16="http://schemas.microsoft.com/office/drawing/2014/main" id="{6DF94216-5596-4A68-866A-C5A3E744171C}"/>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9DB8B79-1580-FFBE-E9B7-662C4A9596A8}"/>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48A4E40F-D76F-52C0-646F-72823D77014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2909607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ection Title Whit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230B5-A936-ABB3-0919-4AC28AAE7B7B}"/>
              </a:ext>
            </a:extLst>
          </p:cNvPr>
          <p:cNvSpPr>
            <a:spLocks noGrp="1"/>
          </p:cNvSpPr>
          <p:nvPr>
            <p:ph type="ctrTitle"/>
          </p:nvPr>
        </p:nvSpPr>
        <p:spPr>
          <a:xfrm>
            <a:off x="1035424" y="685800"/>
            <a:ext cx="10340788" cy="2084575"/>
          </a:xfrm>
          <a:prstGeom prst="rect">
            <a:avLst/>
          </a:prstGeom>
        </p:spPr>
        <p:txBody>
          <a:bodyPr anchor="b"/>
          <a:lstStyle>
            <a:lvl1pPr algn="ctr">
              <a:defRPr sz="4500" b="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EAD2BDD5-303B-F09D-4E2F-1814EDCBEC28}"/>
              </a:ext>
            </a:extLst>
          </p:cNvPr>
          <p:cNvSpPr>
            <a:spLocks noGrp="1"/>
          </p:cNvSpPr>
          <p:nvPr>
            <p:ph type="subTitle" idx="1"/>
          </p:nvPr>
        </p:nvSpPr>
        <p:spPr>
          <a:xfrm>
            <a:off x="1035424" y="2943132"/>
            <a:ext cx="10340788"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Footer Placeholder 4">
            <a:extLst>
              <a:ext uri="{FF2B5EF4-FFF2-40B4-BE49-F238E27FC236}">
                <a16:creationId xmlns:a16="http://schemas.microsoft.com/office/drawing/2014/main" id="{D6CF46EB-4CE6-3348-1A9B-AA6A6EF60800}"/>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9" name="Slide Number Placeholder 5">
            <a:extLst>
              <a:ext uri="{FF2B5EF4-FFF2-40B4-BE49-F238E27FC236}">
                <a16:creationId xmlns:a16="http://schemas.microsoft.com/office/drawing/2014/main" id="{7F09A90A-C4BE-FFE6-C03A-90E489E3FB1E}"/>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20" name="Holder 5">
            <a:extLst>
              <a:ext uri="{FF2B5EF4-FFF2-40B4-BE49-F238E27FC236}">
                <a16:creationId xmlns:a16="http://schemas.microsoft.com/office/drawing/2014/main" id="{186919C5-B833-DB51-E249-8A088306FA8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17693764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entered Title with Wide Conten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34513172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ue Title with Wid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36584940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Navy Title with Wid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4583469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Wide Blue Title_Hidden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25261651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Wide Navy Title_Hidden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676018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_MESC 1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739559" y="1690698"/>
            <a:ext cx="5356440"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a:t>
            </a:r>
            <a:br>
              <a:rPr lang="en-US"/>
            </a:br>
            <a:r>
              <a:rPr lang="en-US"/>
              <a:t>Master title style</a:t>
            </a:r>
          </a:p>
        </p:txBody>
      </p:sp>
      <p:sp>
        <p:nvSpPr>
          <p:cNvPr id="20" name="Text Placeholder 17"/>
          <p:cNvSpPr>
            <a:spLocks noGrp="1"/>
          </p:cNvSpPr>
          <p:nvPr>
            <p:ph type="body" sz="quarter" idx="10" hasCustomPrompt="1"/>
          </p:nvPr>
        </p:nvSpPr>
        <p:spPr>
          <a:xfrm>
            <a:off x="739560" y="4996580"/>
            <a:ext cx="5356440"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745474" y="5754624"/>
            <a:ext cx="3798903"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4596" y="360944"/>
            <a:ext cx="4287614" cy="1143364"/>
          </a:xfrm>
          <a:prstGeom prst="rect">
            <a:avLst/>
          </a:prstGeom>
        </p:spPr>
      </p:pic>
      <p:pic>
        <p:nvPicPr>
          <p:cNvPr id="4" name="Picture 3" descr="Worker with a tablet configuring robotics">
            <a:extLst>
              <a:ext uri="{FF2B5EF4-FFF2-40B4-BE49-F238E27FC236}">
                <a16:creationId xmlns:a16="http://schemas.microsoft.com/office/drawing/2014/main" id="{85D9CC86-4E94-EBFE-494B-6B3AF30284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70" b="-1560"/>
          <a:stretch/>
        </p:blipFill>
        <p:spPr>
          <a:xfrm>
            <a:off x="6285081" y="-29900"/>
            <a:ext cx="5955045" cy="7053671"/>
          </a:xfrm>
          <a:prstGeom prst="rect">
            <a:avLst/>
          </a:prstGeom>
          <a:ln>
            <a:noFill/>
          </a:ln>
        </p:spPr>
      </p:pic>
    </p:spTree>
    <p:extLst>
      <p:ext uri="{BB962C8B-B14F-4D97-AF65-F5344CB8AC3E}">
        <p14:creationId xmlns:p14="http://schemas.microsoft.com/office/powerpoint/2010/main" val="40249964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 Centered Title with Wide Content">
    <p:bg>
      <p:bgPr>
        <a:solidFill>
          <a:schemeClr val="accent5"/>
        </a:solid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2" name="Picture 1">
            <a:extLst>
              <a:ext uri="{FF2B5EF4-FFF2-40B4-BE49-F238E27FC236}">
                <a16:creationId xmlns:a16="http://schemas.microsoft.com/office/drawing/2014/main" id="{2BCE8BD3-72E1-041A-86ED-0249B7A6F40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
        <p:nvSpPr>
          <p:cNvPr id="3" name="Holder 2">
            <a:extLst>
              <a:ext uri="{FF2B5EF4-FFF2-40B4-BE49-F238E27FC236}">
                <a16:creationId xmlns:a16="http://schemas.microsoft.com/office/drawing/2014/main" id="{10B758DD-4EA5-8EE5-70C5-FDB12445DEF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22226885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Wide Content Navy Grid Texture">
    <p:bg>
      <p:bgPr>
        <a:solidFill>
          <a:schemeClr val="accent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hqprint">
            <a:alphaModFix amt="30000"/>
            <a:extLst>
              <a:ext uri="{28A0092B-C50C-407E-A947-70E740481C1C}">
                <a14:useLocalDpi xmlns:a14="http://schemas.microsoft.com/office/drawing/2010/main"/>
              </a:ext>
            </a:extLst>
          </a:blip>
          <a:srcRect/>
          <a:stretch/>
        </p:blipFill>
        <p:spPr>
          <a:xfrm>
            <a:off x="7430" y="-14625"/>
            <a:ext cx="12192000"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3602147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Wide Content Blue Grid Texture">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hqprint">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3334444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Wide Content Navy Blue Network Texture">
    <p:bg>
      <p:bgPr>
        <a:solidFill>
          <a:schemeClr val="accent5"/>
        </a:solidFill>
        <a:effectLst/>
      </p:bgPr>
    </p:bg>
    <p:spTree>
      <p:nvGrpSpPr>
        <p:cNvPr id="1" name=""/>
        <p:cNvGrpSpPr/>
        <p:nvPr/>
      </p:nvGrpSpPr>
      <p:grpSpPr>
        <a:xfrm>
          <a:off x="0" y="0"/>
          <a:ext cx="0" cy="0"/>
          <a:chOff x="0" y="0"/>
          <a:chExt cx="0" cy="0"/>
        </a:xfrm>
      </p:grpSpPr>
      <p:pic>
        <p:nvPicPr>
          <p:cNvPr id="3" name="Picture 2" descr="A close up of a network&#10;&#10;Description automatically generated">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34342749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5_Wide Content Blue Network Texture">
    <p:bg>
      <p:bgPr>
        <a:solidFill>
          <a:schemeClr val="tx2"/>
        </a:solidFill>
        <a:effectLst/>
      </p:bgPr>
    </p:bg>
    <p:spTree>
      <p:nvGrpSpPr>
        <p:cNvPr id="1" name=""/>
        <p:cNvGrpSpPr/>
        <p:nvPr/>
      </p:nvGrpSpPr>
      <p:grpSpPr>
        <a:xfrm>
          <a:off x="0" y="0"/>
          <a:ext cx="0" cy="0"/>
          <a:chOff x="0" y="0"/>
          <a:chExt cx="0" cy="0"/>
        </a:xfrm>
      </p:grpSpPr>
      <p:pic>
        <p:nvPicPr>
          <p:cNvPr id="3" name="Picture 2" descr="A close up of a network&#10;&#10;Description automatically generated">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37687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 Left with Bulleted List - MESC 10">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Rectangle 3">
            <a:extLst>
              <a:ext uri="{FF2B5EF4-FFF2-40B4-BE49-F238E27FC236}">
                <a16:creationId xmlns:a16="http://schemas.microsoft.com/office/drawing/2014/main" id="{280BED45-B0A8-6B8C-2E94-DC417DC64E31}"/>
              </a:ext>
            </a:extLst>
          </p:cNvPr>
          <p:cNvSpPr/>
          <p:nvPr userDrawn="1"/>
        </p:nvSpPr>
        <p:spPr>
          <a:xfrm>
            <a:off x="0" y="0"/>
            <a:ext cx="6105927"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3E1A5F9-C969-5058-0580-4EEB2009F315}"/>
              </a:ext>
            </a:extLst>
          </p:cNvPr>
          <p:cNvPicPr>
            <a:picLocks noChangeAspect="1"/>
          </p:cNvPicPr>
          <p:nvPr userDrawn="1"/>
        </p:nvPicPr>
        <p:blipFill rotWithShape="1">
          <a:blip r:embed="rId2" cstate="screen">
            <a:duotone>
              <a:schemeClr val="accent1">
                <a:shade val="45000"/>
                <a:satMod val="135000"/>
              </a:schemeClr>
              <a:prstClr val="white"/>
            </a:duotone>
            <a:alphaModFix amt="45000"/>
            <a:extLst>
              <a:ext uri="{28A0092B-C50C-407E-A947-70E740481C1C}">
                <a14:useLocalDpi xmlns:a14="http://schemas.microsoft.com/office/drawing/2010/main"/>
              </a:ext>
            </a:extLst>
          </a:blip>
          <a:srcRect/>
          <a:stretch/>
        </p:blipFill>
        <p:spPr>
          <a:xfrm>
            <a:off x="0" y="0"/>
            <a:ext cx="6110991" cy="6858000"/>
          </a:xfrm>
          <a:prstGeom prst="rect">
            <a:avLst/>
          </a:prstGeom>
        </p:spPr>
      </p:pic>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597219" y="850392"/>
            <a:ext cx="4911487" cy="2772727"/>
          </a:xfrm>
        </p:spPr>
        <p:txBody>
          <a:bodyPr lIns="0" tIns="0" rIns="0" bIns="0" anchor="t">
            <a:noAutofit/>
          </a:bodyPr>
          <a:lstStyle>
            <a:lvl1pPr>
              <a:defRPr sz="4800" b="0" i="0">
                <a:solidFill>
                  <a:schemeClr val="bg1"/>
                </a:solidFill>
                <a:latin typeface="Avenir LT Std 65 Medium"/>
                <a:cs typeface="Avenir LT Std 65 Medium"/>
              </a:defRPr>
            </a:lvl1pPr>
          </a:lstStyle>
          <a:p>
            <a:r>
              <a:rPr lang="en-US"/>
              <a:t>Click to edit Master title style</a:t>
            </a:r>
            <a:endParaRPr/>
          </a:p>
        </p:txBody>
      </p:sp>
      <p:sp>
        <p:nvSpPr>
          <p:cNvPr id="6" name="Content Placeholder 2">
            <a:extLst>
              <a:ext uri="{FF2B5EF4-FFF2-40B4-BE49-F238E27FC236}">
                <a16:creationId xmlns:a16="http://schemas.microsoft.com/office/drawing/2014/main" id="{32EBC87D-FA8F-CCE8-F32B-338A4D6AE9C4}"/>
              </a:ext>
            </a:extLst>
          </p:cNvPr>
          <p:cNvSpPr>
            <a:spLocks noGrp="1"/>
          </p:cNvSpPr>
          <p:nvPr>
            <p:ph idx="1"/>
          </p:nvPr>
        </p:nvSpPr>
        <p:spPr>
          <a:xfrm>
            <a:off x="6281532" y="850392"/>
            <a:ext cx="5072267" cy="484760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5">
            <a:extLst>
              <a:ext uri="{FF2B5EF4-FFF2-40B4-BE49-F238E27FC236}">
                <a16:creationId xmlns:a16="http://schemas.microsoft.com/office/drawing/2014/main" id="{0CA04354-EFC7-DDFF-1B9F-733F1568351B}"/>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7" name="Holder 5">
            <a:extLst>
              <a:ext uri="{FF2B5EF4-FFF2-40B4-BE49-F238E27FC236}">
                <a16:creationId xmlns:a16="http://schemas.microsoft.com/office/drawing/2014/main" id="{41A9BA2A-40BC-2E3D-472C-DD3C1C175DE0}"/>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23893226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 Left with Bulleted List - MESC 30">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Rectangle 3">
            <a:extLst>
              <a:ext uri="{FF2B5EF4-FFF2-40B4-BE49-F238E27FC236}">
                <a16:creationId xmlns:a16="http://schemas.microsoft.com/office/drawing/2014/main" id="{280BED45-B0A8-6B8C-2E94-DC417DC64E31}"/>
              </a:ext>
            </a:extLst>
          </p:cNvPr>
          <p:cNvSpPr/>
          <p:nvPr userDrawn="1"/>
        </p:nvSpPr>
        <p:spPr>
          <a:xfrm>
            <a:off x="0" y="0"/>
            <a:ext cx="6105927"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3E1A5F9-C969-5058-0580-4EEB2009F315}"/>
              </a:ext>
            </a:extLst>
          </p:cNvPr>
          <p:cNvPicPr>
            <a:picLocks noChangeAspect="1"/>
          </p:cNvPicPr>
          <p:nvPr userDrawn="1"/>
        </p:nvPicPr>
        <p:blipFill>
          <a:blip r:embed="rId2" cstate="screen">
            <a:duotone>
              <a:schemeClr val="accent5">
                <a:shade val="45000"/>
                <a:satMod val="135000"/>
              </a:schemeClr>
              <a:prstClr val="white"/>
            </a:duotone>
            <a:alphaModFix amt="30000"/>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597219" y="838030"/>
            <a:ext cx="4911487" cy="2722469"/>
          </a:xfrm>
        </p:spPr>
        <p:txBody>
          <a:bodyPr lIns="0" tIns="0" rIns="0" bIns="0" anchor="t">
            <a:noAutofit/>
          </a:bodyPr>
          <a:lstStyle>
            <a:lvl1pPr>
              <a:defRPr sz="4800" b="0" i="0">
                <a:solidFill>
                  <a:schemeClr val="bg1"/>
                </a:solidFill>
                <a:latin typeface="Avenir LT Std 65 Medium"/>
                <a:cs typeface="Avenir LT Std 65 Medium"/>
              </a:defRPr>
            </a:lvl1pPr>
          </a:lstStyle>
          <a:p>
            <a:r>
              <a:rPr lang="en-US"/>
              <a:t>Click to edit Master title style</a:t>
            </a:r>
            <a:endParaRPr/>
          </a:p>
        </p:txBody>
      </p:sp>
      <p:sp>
        <p:nvSpPr>
          <p:cNvPr id="2" name="Slide Number Placeholder 5">
            <a:extLst>
              <a:ext uri="{FF2B5EF4-FFF2-40B4-BE49-F238E27FC236}">
                <a16:creationId xmlns:a16="http://schemas.microsoft.com/office/drawing/2014/main" id="{2CD0CAD9-B3E4-D5D2-C4A0-4220466091CB}"/>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7" name="Holder 5">
            <a:extLst>
              <a:ext uri="{FF2B5EF4-FFF2-40B4-BE49-F238E27FC236}">
                <a16:creationId xmlns:a16="http://schemas.microsoft.com/office/drawing/2014/main" id="{D667040C-CC82-967D-B9FC-50B3335D9C41}"/>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8" name="Content Placeholder 2">
            <a:extLst>
              <a:ext uri="{FF2B5EF4-FFF2-40B4-BE49-F238E27FC236}">
                <a16:creationId xmlns:a16="http://schemas.microsoft.com/office/drawing/2014/main" id="{3A19628A-FAA7-4F4B-1974-65E9C9B3F9E0}"/>
              </a:ext>
            </a:extLst>
          </p:cNvPr>
          <p:cNvSpPr>
            <a:spLocks noGrp="1"/>
          </p:cNvSpPr>
          <p:nvPr>
            <p:ph idx="1"/>
          </p:nvPr>
        </p:nvSpPr>
        <p:spPr>
          <a:xfrm>
            <a:off x="6281532" y="850392"/>
            <a:ext cx="5072267" cy="484760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86665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 Left with Bulleted List - MESC 20">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Rectangle 3">
            <a:extLst>
              <a:ext uri="{FF2B5EF4-FFF2-40B4-BE49-F238E27FC236}">
                <a16:creationId xmlns:a16="http://schemas.microsoft.com/office/drawing/2014/main" id="{280BED45-B0A8-6B8C-2E94-DC417DC64E31}"/>
              </a:ext>
            </a:extLst>
          </p:cNvPr>
          <p:cNvSpPr/>
          <p:nvPr userDrawn="1"/>
        </p:nvSpPr>
        <p:spPr>
          <a:xfrm>
            <a:off x="0" y="0"/>
            <a:ext cx="6105927"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Solar panel array and wind turbines in a foggy field">
            <a:extLst>
              <a:ext uri="{FF2B5EF4-FFF2-40B4-BE49-F238E27FC236}">
                <a16:creationId xmlns:a16="http://schemas.microsoft.com/office/drawing/2014/main" id="{63E1A5F9-C969-5058-0580-4EEB2009F315}"/>
              </a:ext>
            </a:extLst>
          </p:cNvPr>
          <p:cNvPicPr>
            <a:picLocks noChangeAspect="1"/>
          </p:cNvPicPr>
          <p:nvPr userDrawn="1"/>
        </p:nvPicPr>
        <p:blipFill rotWithShape="1">
          <a:blip r:embed="rId2" cstate="screen">
            <a:alphaModFix amt="53000"/>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597219" y="850392"/>
            <a:ext cx="4911487" cy="2772727"/>
          </a:xfrm>
        </p:spPr>
        <p:txBody>
          <a:bodyPr lIns="0" tIns="0" rIns="0" bIns="0" anchor="t">
            <a:noAutofit/>
          </a:bodyPr>
          <a:lstStyle>
            <a:lvl1pPr>
              <a:defRPr sz="4800" b="0" i="0">
                <a:solidFill>
                  <a:schemeClr val="bg1"/>
                </a:solidFill>
                <a:latin typeface="Avenir LT Std 65 Medium"/>
                <a:cs typeface="Avenir LT Std 65 Medium"/>
              </a:defRPr>
            </a:lvl1pPr>
          </a:lstStyle>
          <a:p>
            <a:r>
              <a:rPr lang="en-US"/>
              <a:t>Click to edit Master title style</a:t>
            </a:r>
            <a:endParaRPr/>
          </a:p>
        </p:txBody>
      </p:sp>
      <p:sp>
        <p:nvSpPr>
          <p:cNvPr id="6" name="Content Placeholder 2">
            <a:extLst>
              <a:ext uri="{FF2B5EF4-FFF2-40B4-BE49-F238E27FC236}">
                <a16:creationId xmlns:a16="http://schemas.microsoft.com/office/drawing/2014/main" id="{32EBC87D-FA8F-CCE8-F32B-338A4D6AE9C4}"/>
              </a:ext>
            </a:extLst>
          </p:cNvPr>
          <p:cNvSpPr>
            <a:spLocks noGrp="1"/>
          </p:cNvSpPr>
          <p:nvPr>
            <p:ph idx="1"/>
          </p:nvPr>
        </p:nvSpPr>
        <p:spPr>
          <a:xfrm>
            <a:off x="6281532" y="850392"/>
            <a:ext cx="5072267" cy="484760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5">
            <a:extLst>
              <a:ext uri="{FF2B5EF4-FFF2-40B4-BE49-F238E27FC236}">
                <a16:creationId xmlns:a16="http://schemas.microsoft.com/office/drawing/2014/main" id="{0CA04354-EFC7-DDFF-1B9F-733F1568351B}"/>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7" name="Holder 5">
            <a:extLst>
              <a:ext uri="{FF2B5EF4-FFF2-40B4-BE49-F238E27FC236}">
                <a16:creationId xmlns:a16="http://schemas.microsoft.com/office/drawing/2014/main" id="{41A9BA2A-40BC-2E3D-472C-DD3C1C175DE0}"/>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3254473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 Left with Bulleted List - MESC 40">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Rectangle 3">
            <a:extLst>
              <a:ext uri="{FF2B5EF4-FFF2-40B4-BE49-F238E27FC236}">
                <a16:creationId xmlns:a16="http://schemas.microsoft.com/office/drawing/2014/main" id="{280BED45-B0A8-6B8C-2E94-DC417DC64E31}"/>
              </a:ext>
            </a:extLst>
          </p:cNvPr>
          <p:cNvSpPr/>
          <p:nvPr userDrawn="1"/>
        </p:nvSpPr>
        <p:spPr>
          <a:xfrm>
            <a:off x="0" y="0"/>
            <a:ext cx="6105927"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3E1A5F9-C969-5058-0580-4EEB2009F315}"/>
              </a:ext>
            </a:extLst>
          </p:cNvPr>
          <p:cNvPicPr>
            <a:picLocks noChangeAspect="1"/>
          </p:cNvPicPr>
          <p:nvPr userDrawn="1"/>
        </p:nvPicPr>
        <p:blipFill>
          <a:blip r:embed="rId2" cstate="screen">
            <a:duotone>
              <a:schemeClr val="accent2">
                <a:shade val="45000"/>
                <a:satMod val="135000"/>
              </a:schemeClr>
              <a:prstClr val="white"/>
            </a:duotone>
            <a:alphaModFix amt="50000"/>
            <a:extLst>
              <a:ext uri="{28A0092B-C50C-407E-A947-70E740481C1C}">
                <a14:useLocalDpi xmlns:a14="http://schemas.microsoft.com/office/drawing/2010/main"/>
              </a:ext>
            </a:extLst>
          </a:blip>
          <a:srcRect/>
          <a:stretch/>
        </p:blipFill>
        <p:spPr>
          <a:xfrm>
            <a:off x="9927" y="0"/>
            <a:ext cx="6096000" cy="6858000"/>
          </a:xfrm>
          <a:prstGeom prst="rect">
            <a:avLst/>
          </a:prstGeom>
        </p:spPr>
      </p:pic>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597219" y="832105"/>
            <a:ext cx="4911487" cy="2728394"/>
          </a:xfrm>
        </p:spPr>
        <p:txBody>
          <a:bodyPr lIns="0" tIns="0" rIns="0" bIns="0" anchor="t">
            <a:noAutofit/>
          </a:bodyPr>
          <a:lstStyle>
            <a:lvl1pPr>
              <a:defRPr sz="4800" b="0" i="0">
                <a:solidFill>
                  <a:schemeClr val="accent5"/>
                </a:solidFill>
                <a:latin typeface="Avenir LT Std 65 Medium"/>
                <a:cs typeface="Avenir LT Std 65 Medium"/>
              </a:defRPr>
            </a:lvl1pPr>
          </a:lstStyle>
          <a:p>
            <a:r>
              <a:rPr lang="en-US"/>
              <a:t>Click to edit Master title style</a:t>
            </a:r>
            <a:endParaRPr/>
          </a:p>
        </p:txBody>
      </p:sp>
      <p:sp>
        <p:nvSpPr>
          <p:cNvPr id="2" name="Slide Number Placeholder 5">
            <a:extLst>
              <a:ext uri="{FF2B5EF4-FFF2-40B4-BE49-F238E27FC236}">
                <a16:creationId xmlns:a16="http://schemas.microsoft.com/office/drawing/2014/main" id="{214E0667-83D7-9E28-5302-29FD37CD27F7}"/>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5"/>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7" name="Holder 5">
            <a:extLst>
              <a:ext uri="{FF2B5EF4-FFF2-40B4-BE49-F238E27FC236}">
                <a16:creationId xmlns:a16="http://schemas.microsoft.com/office/drawing/2014/main" id="{6A92A7FB-B557-F85B-28F3-38EE6C3EA1FB}"/>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8" name="Content Placeholder 2">
            <a:extLst>
              <a:ext uri="{FF2B5EF4-FFF2-40B4-BE49-F238E27FC236}">
                <a16:creationId xmlns:a16="http://schemas.microsoft.com/office/drawing/2014/main" id="{77CC683C-DB08-27C9-636F-18EA46034DDF}"/>
              </a:ext>
            </a:extLst>
          </p:cNvPr>
          <p:cNvSpPr>
            <a:spLocks noGrp="1"/>
          </p:cNvSpPr>
          <p:nvPr>
            <p:ph idx="1"/>
          </p:nvPr>
        </p:nvSpPr>
        <p:spPr>
          <a:xfrm>
            <a:off x="6281532" y="850392"/>
            <a:ext cx="5072267" cy="484760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56723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D6F8E53-8BE7-1921-B5FC-737D45F3676A}"/>
              </a:ext>
            </a:extLst>
          </p:cNvPr>
          <p:cNvSpPr/>
          <p:nvPr userDrawn="1"/>
        </p:nvSpPr>
        <p:spPr>
          <a:xfrm>
            <a:off x="-13252" y="0"/>
            <a:ext cx="610925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3" name="Slide Number Placeholder 5">
            <a:extLst>
              <a:ext uri="{FF2B5EF4-FFF2-40B4-BE49-F238E27FC236}">
                <a16:creationId xmlns:a16="http://schemas.microsoft.com/office/drawing/2014/main" id="{B93F0864-C2D7-A095-C456-D1D53449B040}"/>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5" name="Content Placeholder 2">
            <a:extLst>
              <a:ext uri="{FF2B5EF4-FFF2-40B4-BE49-F238E27FC236}">
                <a16:creationId xmlns:a16="http://schemas.microsoft.com/office/drawing/2014/main" id="{8EA9CE33-CBF2-1764-3551-C56CD9ACC469}"/>
              </a:ext>
            </a:extLst>
          </p:cNvPr>
          <p:cNvSpPr>
            <a:spLocks noGrp="1"/>
          </p:cNvSpPr>
          <p:nvPr>
            <p:ph idx="1"/>
          </p:nvPr>
        </p:nvSpPr>
        <p:spPr>
          <a:xfrm>
            <a:off x="6281532" y="984982"/>
            <a:ext cx="5072267" cy="471301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EBB033EF-BCD1-56A7-1B02-CD27D9D27A67}"/>
              </a:ext>
            </a:extLst>
          </p:cNvPr>
          <p:cNvSpPr>
            <a:spLocks noGrp="1"/>
          </p:cNvSpPr>
          <p:nvPr>
            <p:ph sz="half" idx="11"/>
          </p:nvPr>
        </p:nvSpPr>
        <p:spPr>
          <a:xfrm>
            <a:off x="838200" y="2186609"/>
            <a:ext cx="4790661" cy="349686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2">
            <a:extLst>
              <a:ext uri="{FF2B5EF4-FFF2-40B4-BE49-F238E27FC236}">
                <a16:creationId xmlns:a16="http://schemas.microsoft.com/office/drawing/2014/main" id="{A91E2A52-A9FF-FC1B-585F-E276101C0C3F}"/>
              </a:ext>
            </a:extLst>
          </p:cNvPr>
          <p:cNvSpPr>
            <a:spLocks noGrp="1"/>
          </p:cNvSpPr>
          <p:nvPr>
            <p:ph type="title"/>
          </p:nvPr>
        </p:nvSpPr>
        <p:spPr>
          <a:xfrm>
            <a:off x="822960" y="984982"/>
            <a:ext cx="4729701" cy="923330"/>
          </a:xfrm>
          <a:prstGeom prst="rect">
            <a:avLst/>
          </a:prstGeom>
        </p:spPr>
        <p:txBody>
          <a:bodyPr wrap="square" lIns="91440" tIns="0" rIns="91440" bIns="0" anchor="b" anchorCtr="0">
            <a:spAutoFit/>
          </a:bodyPr>
          <a:lstStyle>
            <a:lvl1pPr algn="l">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Tree>
    <p:extLst>
      <p:ext uri="{BB962C8B-B14F-4D97-AF65-F5344CB8AC3E}">
        <p14:creationId xmlns:p14="http://schemas.microsoft.com/office/powerpoint/2010/main" val="37147772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4_MESC 3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739560" y="1690698"/>
            <a:ext cx="5356440"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a:t>
            </a:r>
            <a:br>
              <a:rPr lang="en-US"/>
            </a:br>
            <a:r>
              <a:rPr lang="en-US"/>
              <a:t>Master title style</a:t>
            </a:r>
          </a:p>
        </p:txBody>
      </p:sp>
      <p:sp>
        <p:nvSpPr>
          <p:cNvPr id="20" name="Text Placeholder 17"/>
          <p:cNvSpPr>
            <a:spLocks noGrp="1"/>
          </p:cNvSpPr>
          <p:nvPr>
            <p:ph type="body" sz="quarter" idx="10" hasCustomPrompt="1"/>
          </p:nvPr>
        </p:nvSpPr>
        <p:spPr>
          <a:xfrm>
            <a:off x="739561" y="4996580"/>
            <a:ext cx="5356440"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745475" y="5754624"/>
            <a:ext cx="3798903"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descr="MESC Logotype: Office of Manufacturing and Energy Supply Chains">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4597" y="360944"/>
            <a:ext cx="4287614" cy="1143364"/>
          </a:xfrm>
          <a:prstGeom prst="rect">
            <a:avLst/>
          </a:prstGeom>
        </p:spPr>
      </p:pic>
      <p:pic>
        <p:nvPicPr>
          <p:cNvPr id="4" name="Picture 3" descr="Two workers wearing hard hats pointing at windmills">
            <a:extLst>
              <a:ext uri="{FF2B5EF4-FFF2-40B4-BE49-F238E27FC236}">
                <a16:creationId xmlns:a16="http://schemas.microsoft.com/office/drawing/2014/main" id="{85D9CC86-4E94-EBFE-494B-6B3AF30284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159"/>
          <a:stretch/>
        </p:blipFill>
        <p:spPr>
          <a:xfrm>
            <a:off x="6300963" y="-16042"/>
            <a:ext cx="5939307" cy="6994358"/>
          </a:xfrm>
          <a:prstGeom prst="rect">
            <a:avLst/>
          </a:prstGeom>
        </p:spPr>
      </p:pic>
    </p:spTree>
    <p:extLst>
      <p:ext uri="{BB962C8B-B14F-4D97-AF65-F5344CB8AC3E}">
        <p14:creationId xmlns:p14="http://schemas.microsoft.com/office/powerpoint/2010/main" val="12865322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s Nav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23BA9B-C71A-101D-7314-15CCC468BC76}"/>
              </a:ext>
            </a:extLst>
          </p:cNvPr>
          <p:cNvSpPr/>
          <p:nvPr userDrawn="1"/>
        </p:nvSpPr>
        <p:spPr>
          <a:xfrm>
            <a:off x="-13253" y="0"/>
            <a:ext cx="6109253"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2186609"/>
            <a:ext cx="4790661" cy="349686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288374" y="1683026"/>
            <a:ext cx="5065426" cy="4000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984982"/>
            <a:ext cx="4729701" cy="923330"/>
          </a:xfrm>
          <a:prstGeom prst="rect">
            <a:avLst/>
          </a:prstGeom>
        </p:spPr>
        <p:txBody>
          <a:bodyPr wrap="square" lIns="91440" tIns="0" rIns="91440" bIns="0" anchor="b" anchorCtr="0">
            <a:spAutoFit/>
          </a:bodyPr>
          <a:lstStyle>
            <a:lvl1pPr algn="l">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5" name="Text Placeholder 2">
            <a:extLst>
              <a:ext uri="{FF2B5EF4-FFF2-40B4-BE49-F238E27FC236}">
                <a16:creationId xmlns:a16="http://schemas.microsoft.com/office/drawing/2014/main" id="{1F598125-4E54-7538-B87F-16231A090425}"/>
              </a:ext>
            </a:extLst>
          </p:cNvPr>
          <p:cNvSpPr>
            <a:spLocks noGrp="1"/>
          </p:cNvSpPr>
          <p:nvPr>
            <p:ph type="body" idx="17" hasCustomPrompt="1"/>
          </p:nvPr>
        </p:nvSpPr>
        <p:spPr>
          <a:xfrm>
            <a:off x="6288373" y="984982"/>
            <a:ext cx="5065427"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Slide Number Placeholder 5">
            <a:extLst>
              <a:ext uri="{FF2B5EF4-FFF2-40B4-BE49-F238E27FC236}">
                <a16:creationId xmlns:a16="http://schemas.microsoft.com/office/drawing/2014/main" id="{42A04946-1E3F-C4E2-4818-1B897790A352}"/>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Tree>
    <p:extLst>
      <p:ext uri="{BB962C8B-B14F-4D97-AF65-F5344CB8AC3E}">
        <p14:creationId xmlns:p14="http://schemas.microsoft.com/office/powerpoint/2010/main" val="3742611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Callout Arrow">
    <p:spTree>
      <p:nvGrpSpPr>
        <p:cNvPr id="1" name=""/>
        <p:cNvGrpSpPr/>
        <p:nvPr/>
      </p:nvGrpSpPr>
      <p:grpSpPr>
        <a:xfrm>
          <a:off x="0" y="0"/>
          <a:ext cx="0" cy="0"/>
          <a:chOff x="0" y="0"/>
          <a:chExt cx="0" cy="0"/>
        </a:xfrm>
      </p:grpSpPr>
      <p:sp>
        <p:nvSpPr>
          <p:cNvPr id="11" name="Graphic 9">
            <a:extLst>
              <a:ext uri="{FF2B5EF4-FFF2-40B4-BE49-F238E27FC236}">
                <a16:creationId xmlns:a16="http://schemas.microsoft.com/office/drawing/2014/main" id="{41343A81-956E-817E-AA42-B2B3DEC65776}"/>
              </a:ext>
            </a:extLst>
          </p:cNvPr>
          <p:cNvSpPr/>
          <p:nvPr/>
        </p:nvSpPr>
        <p:spPr>
          <a:xfrm>
            <a:off x="1" y="0"/>
            <a:ext cx="6291372" cy="6858000"/>
          </a:xfrm>
          <a:custGeom>
            <a:avLst/>
            <a:gdLst>
              <a:gd name="connsiteX0" fmla="*/ 5962650 w 6207125"/>
              <a:gd name="connsiteY0" fmla="*/ 6858000 h 6858000"/>
              <a:gd name="connsiteX1" fmla="*/ 0 w 6207125"/>
              <a:gd name="connsiteY1" fmla="*/ 6858000 h 6858000"/>
              <a:gd name="connsiteX2" fmla="*/ 0 w 6207125"/>
              <a:gd name="connsiteY2" fmla="*/ 0 h 6858000"/>
              <a:gd name="connsiteX3" fmla="*/ 5962650 w 6207125"/>
              <a:gd name="connsiteY3" fmla="*/ 0 h 6858000"/>
              <a:gd name="connsiteX4" fmla="*/ 5962650 w 6207125"/>
              <a:gd name="connsiteY4" fmla="*/ 2740025 h 6858000"/>
              <a:gd name="connsiteX5" fmla="*/ 6207125 w 6207125"/>
              <a:gd name="connsiteY5" fmla="*/ 3425825 h 6858000"/>
              <a:gd name="connsiteX6" fmla="*/ 5962650 w 6207125"/>
              <a:gd name="connsiteY6" fmla="*/ 41116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7125" h="6858000">
                <a:moveTo>
                  <a:pt x="5962650" y="6858000"/>
                </a:moveTo>
                <a:lnTo>
                  <a:pt x="0" y="6858000"/>
                </a:lnTo>
                <a:lnTo>
                  <a:pt x="0" y="0"/>
                </a:lnTo>
                <a:lnTo>
                  <a:pt x="5962650" y="0"/>
                </a:lnTo>
                <a:lnTo>
                  <a:pt x="5962650" y="2740025"/>
                </a:lnTo>
                <a:lnTo>
                  <a:pt x="6207125" y="3425825"/>
                </a:lnTo>
                <a:lnTo>
                  <a:pt x="5962650" y="4111625"/>
                </a:lnTo>
                <a:close/>
              </a:path>
            </a:pathLst>
          </a:custGeom>
          <a:solidFill>
            <a:schemeClr val="accent5"/>
          </a:solidFill>
          <a:ln w="6350" cap="flat">
            <a:noFill/>
            <a:prstDash val="solid"/>
            <a:miter/>
          </a:ln>
        </p:spPr>
        <p:txBody>
          <a:bodyPr rtlCol="0" anchor="ctr"/>
          <a:lstStyle/>
          <a:p>
            <a:endParaRPr lang="en-US"/>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2186609"/>
            <a:ext cx="4790661" cy="349686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532880" y="1683026"/>
            <a:ext cx="4820919" cy="4000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984982"/>
            <a:ext cx="4729701" cy="923330"/>
          </a:xfrm>
          <a:prstGeom prst="rect">
            <a:avLst/>
          </a:prstGeom>
        </p:spPr>
        <p:txBody>
          <a:bodyPr wrap="square" lIns="91440" tIns="0" rIns="91440" bIns="0" anchor="b" anchorCtr="0">
            <a:spAutoFit/>
          </a:bodyPr>
          <a:lstStyle>
            <a:lvl1pPr algn="l">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5" name="Text Placeholder 2">
            <a:extLst>
              <a:ext uri="{FF2B5EF4-FFF2-40B4-BE49-F238E27FC236}">
                <a16:creationId xmlns:a16="http://schemas.microsoft.com/office/drawing/2014/main" id="{1F598125-4E54-7538-B87F-16231A090425}"/>
              </a:ext>
            </a:extLst>
          </p:cNvPr>
          <p:cNvSpPr>
            <a:spLocks noGrp="1"/>
          </p:cNvSpPr>
          <p:nvPr>
            <p:ph type="body" idx="17" hasCustomPrompt="1"/>
          </p:nvPr>
        </p:nvSpPr>
        <p:spPr>
          <a:xfrm>
            <a:off x="6532880" y="984982"/>
            <a:ext cx="4820920"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Slide Number Placeholder 5">
            <a:extLst>
              <a:ext uri="{FF2B5EF4-FFF2-40B4-BE49-F238E27FC236}">
                <a16:creationId xmlns:a16="http://schemas.microsoft.com/office/drawing/2014/main" id="{8624FDDF-C4D7-E9F6-B86F-F3FF94B7E7B7}"/>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Tree>
    <p:extLst>
      <p:ext uri="{BB962C8B-B14F-4D97-AF65-F5344CB8AC3E}">
        <p14:creationId xmlns:p14="http://schemas.microsoft.com/office/powerpoint/2010/main" val="3981146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allout Flag">
    <p:spTree>
      <p:nvGrpSpPr>
        <p:cNvPr id="1" name=""/>
        <p:cNvGrpSpPr/>
        <p:nvPr/>
      </p:nvGrpSpPr>
      <p:grpSpPr>
        <a:xfrm>
          <a:off x="0" y="0"/>
          <a:ext cx="0" cy="0"/>
          <a:chOff x="0" y="0"/>
          <a:chExt cx="0" cy="0"/>
        </a:xfrm>
      </p:grpSpPr>
      <p:sp>
        <p:nvSpPr>
          <p:cNvPr id="7" name="Graphic 5">
            <a:extLst>
              <a:ext uri="{FF2B5EF4-FFF2-40B4-BE49-F238E27FC236}">
                <a16:creationId xmlns:a16="http://schemas.microsoft.com/office/drawing/2014/main" id="{1855EFAB-D77E-8E40-ABC2-A3FC461C0759}"/>
              </a:ext>
            </a:extLst>
          </p:cNvPr>
          <p:cNvSpPr/>
          <p:nvPr/>
        </p:nvSpPr>
        <p:spPr>
          <a:xfrm>
            <a:off x="0" y="0"/>
            <a:ext cx="6410325" cy="6858000"/>
          </a:xfrm>
          <a:custGeom>
            <a:avLst/>
            <a:gdLst>
              <a:gd name="connsiteX0" fmla="*/ 5588000 w 6410325"/>
              <a:gd name="connsiteY0" fmla="*/ 6858000 h 6858000"/>
              <a:gd name="connsiteX1" fmla="*/ 0 w 6410325"/>
              <a:gd name="connsiteY1" fmla="*/ 6858000 h 6858000"/>
              <a:gd name="connsiteX2" fmla="*/ 0 w 6410325"/>
              <a:gd name="connsiteY2" fmla="*/ 0 h 6858000"/>
              <a:gd name="connsiteX3" fmla="*/ 5588000 w 6410325"/>
              <a:gd name="connsiteY3" fmla="*/ 0 h 6858000"/>
              <a:gd name="connsiteX4" fmla="*/ 6410325 w 6410325"/>
              <a:gd name="connsiteY4" fmla="*/ 3425825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0325" h="6858000">
                <a:moveTo>
                  <a:pt x="5588000" y="6858000"/>
                </a:moveTo>
                <a:lnTo>
                  <a:pt x="0" y="6858000"/>
                </a:lnTo>
                <a:lnTo>
                  <a:pt x="0" y="0"/>
                </a:lnTo>
                <a:lnTo>
                  <a:pt x="5588000" y="0"/>
                </a:lnTo>
                <a:lnTo>
                  <a:pt x="6410325" y="3425825"/>
                </a:lnTo>
                <a:close/>
              </a:path>
            </a:pathLst>
          </a:custGeom>
          <a:solidFill>
            <a:srgbClr val="1A325D"/>
          </a:solidFill>
          <a:ln w="6350" cap="flat">
            <a:noFill/>
            <a:prstDash val="solid"/>
            <a:miter/>
          </a:ln>
        </p:spPr>
        <p:txBody>
          <a:bodyPr rtlCol="0" anchor="ctr"/>
          <a:lstStyle/>
          <a:p>
            <a:endParaRPr lang="en-US"/>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2186609"/>
            <a:ext cx="4790661" cy="349686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532880" y="1683026"/>
            <a:ext cx="4820919" cy="4000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984982"/>
            <a:ext cx="4729701" cy="923330"/>
          </a:xfrm>
          <a:prstGeom prst="rect">
            <a:avLst/>
          </a:prstGeom>
        </p:spPr>
        <p:txBody>
          <a:bodyPr wrap="square" lIns="91440" tIns="0" rIns="91440" bIns="0" anchor="b" anchorCtr="0">
            <a:spAutoFit/>
          </a:bodyPr>
          <a:lstStyle>
            <a:lvl1pPr algn="l">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5" name="Text Placeholder 2">
            <a:extLst>
              <a:ext uri="{FF2B5EF4-FFF2-40B4-BE49-F238E27FC236}">
                <a16:creationId xmlns:a16="http://schemas.microsoft.com/office/drawing/2014/main" id="{1F598125-4E54-7538-B87F-16231A090425}"/>
              </a:ext>
            </a:extLst>
          </p:cNvPr>
          <p:cNvSpPr>
            <a:spLocks noGrp="1"/>
          </p:cNvSpPr>
          <p:nvPr>
            <p:ph type="body" idx="17" hasCustomPrompt="1"/>
          </p:nvPr>
        </p:nvSpPr>
        <p:spPr>
          <a:xfrm>
            <a:off x="6532880" y="984982"/>
            <a:ext cx="4820920"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Slide Number Placeholder 5">
            <a:extLst>
              <a:ext uri="{FF2B5EF4-FFF2-40B4-BE49-F238E27FC236}">
                <a16:creationId xmlns:a16="http://schemas.microsoft.com/office/drawing/2014/main" id="{E175E88A-4412-D957-D3A6-A1E60FF46429}"/>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Tree>
    <p:extLst>
      <p:ext uri="{BB962C8B-B14F-4D97-AF65-F5344CB8AC3E}">
        <p14:creationId xmlns:p14="http://schemas.microsoft.com/office/powerpoint/2010/main" val="34586004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332138"/>
            <a:ext cx="5181600" cy="435133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172200" y="1332138"/>
            <a:ext cx="5181600" cy="435133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Avenir LT Std 65 Medium"/>
                <a:cs typeface="Avenir LT Std 65 Medium"/>
              </a:defRPr>
            </a:lvl1pPr>
          </a:lstStyle>
          <a:p>
            <a:r>
              <a:rPr lang="en-US"/>
              <a:t>Click to edit Master title style</a:t>
            </a:r>
            <a:endParaRP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12869862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199" y="2165684"/>
            <a:ext cx="5081335" cy="3517791"/>
          </a:xfrm>
          <a:prstGeom prst="rect">
            <a:avLst/>
          </a:prstGeom>
        </p:spPr>
        <p:txBody>
          <a:bodyPr/>
          <a:lstStyle>
            <a:lvl1pPr>
              <a:buClr>
                <a:schemeClr val="tx2"/>
              </a:buClr>
              <a:defRPr b="0" i="0">
                <a:solidFill>
                  <a:schemeClr val="tx1"/>
                </a:solidFill>
                <a:latin typeface="Avenir Medium" panose="02000503020000020003" pitchFamily="2" charset="0"/>
              </a:defRPr>
            </a:lvl1pPr>
            <a:lvl2pPr>
              <a:buClr>
                <a:schemeClr val="tx2"/>
              </a:buClr>
              <a:defRPr b="0" i="0">
                <a:solidFill>
                  <a:schemeClr val="tx1"/>
                </a:solidFill>
                <a:latin typeface="Avenir Medium" panose="02000503020000020003" pitchFamily="2" charset="0"/>
              </a:defRPr>
            </a:lvl2pPr>
            <a:lvl3pPr>
              <a:buClr>
                <a:schemeClr val="tx2"/>
              </a:buClr>
              <a:defRPr b="0" i="0">
                <a:solidFill>
                  <a:schemeClr val="tx1"/>
                </a:solidFill>
                <a:latin typeface="Avenir Medium" panose="02000503020000020003" pitchFamily="2" charset="0"/>
              </a:defRPr>
            </a:lvl3pPr>
            <a:lvl4pPr>
              <a:buClr>
                <a:schemeClr val="tx2"/>
              </a:buClr>
              <a:defRPr b="0" i="0">
                <a:solidFill>
                  <a:schemeClr val="tx1"/>
                </a:solidFill>
                <a:latin typeface="Avenir Medium" panose="02000503020000020003" pitchFamily="2" charset="0"/>
              </a:defRPr>
            </a:lvl4pPr>
            <a:lvl5pPr>
              <a:buClr>
                <a:schemeClr val="tx2"/>
              </a:buClr>
              <a:defRPr b="0" i="0">
                <a:solidFill>
                  <a:schemeClr val="tx1"/>
                </a:solidFill>
                <a:latin typeface="Avenir Medium"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272463" y="2165684"/>
            <a:ext cx="5081336" cy="3517791"/>
          </a:xfrm>
          <a:prstGeom prst="rect">
            <a:avLst/>
          </a:prstGeo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2" name="Rectangle 1">
            <a:extLst>
              <a:ext uri="{FF2B5EF4-FFF2-40B4-BE49-F238E27FC236}">
                <a16:creationId xmlns:a16="http://schemas.microsoft.com/office/drawing/2014/main" id="{47F28861-A7F9-5EBD-0392-9FA92B429867}"/>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a:extLst>
              <a:ext uri="{FF2B5EF4-FFF2-40B4-BE49-F238E27FC236}">
                <a16:creationId xmlns:a16="http://schemas.microsoft.com/office/drawing/2014/main" id="{29D12DF0-F90B-9B03-C1AE-B8A94501783E}"/>
              </a:ext>
            </a:extLst>
          </p:cNvPr>
          <p:cNvSpPr>
            <a:spLocks noGrp="1"/>
          </p:cNvSpPr>
          <p:nvPr>
            <p:ph type="body" idx="17" hasCustomPrompt="1"/>
          </p:nvPr>
        </p:nvSpPr>
        <p:spPr>
          <a:xfrm>
            <a:off x="845363" y="1473991"/>
            <a:ext cx="5074172"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a:extLst>
              <a:ext uri="{FF2B5EF4-FFF2-40B4-BE49-F238E27FC236}">
                <a16:creationId xmlns:a16="http://schemas.microsoft.com/office/drawing/2014/main" id="{E042AEA2-DB87-78C3-E9EB-D5019D82C650}"/>
              </a:ext>
            </a:extLst>
          </p:cNvPr>
          <p:cNvSpPr>
            <a:spLocks noGrp="1"/>
          </p:cNvSpPr>
          <p:nvPr>
            <p:ph type="body" idx="18" hasCustomPrompt="1"/>
          </p:nvPr>
        </p:nvSpPr>
        <p:spPr>
          <a:xfrm>
            <a:off x="6276045" y="1473991"/>
            <a:ext cx="5074172"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Holder 2">
            <a:extLst>
              <a:ext uri="{FF2B5EF4-FFF2-40B4-BE49-F238E27FC236}">
                <a16:creationId xmlns:a16="http://schemas.microsoft.com/office/drawing/2014/main" id="{75DD30B6-1218-455A-D93F-43DE0C856423}"/>
              </a:ext>
            </a:extLst>
          </p:cNvPr>
          <p:cNvSpPr>
            <a:spLocks noGrp="1"/>
          </p:cNvSpPr>
          <p:nvPr>
            <p:ph type="title"/>
          </p:nvPr>
        </p:nvSpPr>
        <p:spPr>
          <a:xfrm>
            <a:off x="815529" y="397614"/>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8334256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470990"/>
            <a:ext cx="3892826" cy="4212485"/>
          </a:xfrm>
          <a:prstGeom prst="rect">
            <a:avLst/>
          </a:prstGeom>
        </p:spPr>
        <p:txBody>
          <a:bodyPr/>
          <a:lstStyle>
            <a:lvl1pPr>
              <a:buClr>
                <a:schemeClr val="tx2"/>
              </a:buClr>
              <a:defRPr b="0" i="0">
                <a:solidFill>
                  <a:schemeClr val="tx1"/>
                </a:solidFill>
                <a:latin typeface="Avenir Medium" panose="02000503020000020003" pitchFamily="2" charset="0"/>
              </a:defRPr>
            </a:lvl1pPr>
            <a:lvl2pPr>
              <a:buClr>
                <a:schemeClr val="tx2"/>
              </a:buClr>
              <a:defRPr b="0" i="0">
                <a:solidFill>
                  <a:schemeClr val="tx1"/>
                </a:solidFill>
                <a:latin typeface="Avenir Medium" panose="02000503020000020003" pitchFamily="2" charset="0"/>
              </a:defRPr>
            </a:lvl2pPr>
            <a:lvl3pPr>
              <a:buClr>
                <a:schemeClr val="tx2"/>
              </a:buClr>
              <a:defRPr b="0" i="0">
                <a:solidFill>
                  <a:schemeClr val="tx1"/>
                </a:solidFill>
                <a:latin typeface="Avenir Medium" panose="02000503020000020003" pitchFamily="2" charset="0"/>
              </a:defRPr>
            </a:lvl3pPr>
            <a:lvl4pPr>
              <a:buClr>
                <a:schemeClr val="tx2"/>
              </a:buClr>
              <a:defRPr b="0" i="0">
                <a:solidFill>
                  <a:schemeClr val="tx1"/>
                </a:solidFill>
                <a:latin typeface="Avenir Medium" panose="02000503020000020003" pitchFamily="2" charset="0"/>
              </a:defRPr>
            </a:lvl4pPr>
            <a:lvl5pPr>
              <a:buClr>
                <a:schemeClr val="tx2"/>
              </a:buClr>
              <a:defRPr b="0" i="0">
                <a:solidFill>
                  <a:schemeClr val="tx1"/>
                </a:solidFill>
                <a:latin typeface="Avenir Medium"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4996070" y="1470990"/>
            <a:ext cx="6357730" cy="4212485"/>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2" name="Rectangle 1">
            <a:extLst>
              <a:ext uri="{FF2B5EF4-FFF2-40B4-BE49-F238E27FC236}">
                <a16:creationId xmlns:a16="http://schemas.microsoft.com/office/drawing/2014/main" id="{47F28861-A7F9-5EBD-0392-9FA92B429867}"/>
              </a:ext>
            </a:extLst>
          </p:cNvPr>
          <p:cNvSpPr/>
          <p:nvPr userDrawn="1"/>
        </p:nvSpPr>
        <p:spPr>
          <a:xfrm>
            <a:off x="0" y="1892"/>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older 2">
            <a:extLst>
              <a:ext uri="{FF2B5EF4-FFF2-40B4-BE49-F238E27FC236}">
                <a16:creationId xmlns:a16="http://schemas.microsoft.com/office/drawing/2014/main" id="{997E9E8F-2FF5-81C1-BC47-7B55EEFD011B}"/>
              </a:ext>
            </a:extLst>
          </p:cNvPr>
          <p:cNvSpPr>
            <a:spLocks noGrp="1"/>
          </p:cNvSpPr>
          <p:nvPr>
            <p:ph type="title"/>
          </p:nvPr>
        </p:nvSpPr>
        <p:spPr>
          <a:xfrm>
            <a:off x="822960" y="406325"/>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28991145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wo Columns_Grey Call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23BA9B-C71A-101D-7314-15CCC468BC76}"/>
              </a:ext>
            </a:extLst>
          </p:cNvPr>
          <p:cNvSpPr/>
          <p:nvPr userDrawn="1"/>
        </p:nvSpPr>
        <p:spPr>
          <a:xfrm>
            <a:off x="0" y="1332138"/>
            <a:ext cx="6019800" cy="4351338"/>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332138"/>
            <a:ext cx="5181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172200" y="1332138"/>
            <a:ext cx="5181600" cy="4351338"/>
          </a:xfrm>
          <a:prstGeom prst="rect">
            <a:avLst/>
          </a:prstGeo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tx2"/>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35706764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365126"/>
            <a:ext cx="10515600" cy="1221628"/>
          </a:xfrm>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846698" y="1789111"/>
            <a:ext cx="3328988" cy="3965575"/>
          </a:xfr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431506" y="1789110"/>
            <a:ext cx="3328988" cy="39655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8024812" y="1789109"/>
            <a:ext cx="3328988" cy="39655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34374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ue Three Columns with Divid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845362" y="1504709"/>
            <a:ext cx="3328988" cy="4249975"/>
          </a:xfr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431506" y="1504710"/>
            <a:ext cx="3328988" cy="42499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8024812" y="1504709"/>
            <a:ext cx="3328988" cy="42499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C2654E4D-710D-7172-6067-ACFE460508F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64FF63B-C383-2D30-1609-187E01DCB959}"/>
              </a:ext>
            </a:extLst>
          </p:cNvPr>
          <p:cNvCxnSpPr>
            <a:cxnSpLocks/>
          </p:cNvCxnSpPr>
          <p:nvPr userDrawn="1"/>
        </p:nvCxnSpPr>
        <p:spPr>
          <a:xfrm>
            <a:off x="4294208"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189A3D-9C54-3C11-67D1-91FFD4EC5A9B}"/>
              </a:ext>
            </a:extLst>
          </p:cNvPr>
          <p:cNvCxnSpPr>
            <a:cxnSpLocks/>
          </p:cNvCxnSpPr>
          <p:nvPr userDrawn="1"/>
        </p:nvCxnSpPr>
        <p:spPr>
          <a:xfrm>
            <a:off x="7907439"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Holder 2">
            <a:extLst>
              <a:ext uri="{FF2B5EF4-FFF2-40B4-BE49-F238E27FC236}">
                <a16:creationId xmlns:a16="http://schemas.microsoft.com/office/drawing/2014/main" id="{D1E4FA86-3266-85EE-3DD5-92645DB7A6ED}"/>
              </a:ext>
            </a:extLst>
          </p:cNvPr>
          <p:cNvSpPr>
            <a:spLocks noGrp="1"/>
          </p:cNvSpPr>
          <p:nvPr>
            <p:ph type="title"/>
          </p:nvPr>
        </p:nvSpPr>
        <p:spPr>
          <a:xfrm>
            <a:off x="822960" y="406792"/>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368548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Navy Three Columns with Divid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845362" y="1504709"/>
            <a:ext cx="3328988" cy="4249975"/>
          </a:xfr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431506" y="1504710"/>
            <a:ext cx="3328988" cy="42499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8024812" y="1504709"/>
            <a:ext cx="3328988" cy="42499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C2654E4D-710D-7172-6067-ACFE460508F5}"/>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64FF63B-C383-2D30-1609-187E01DCB959}"/>
              </a:ext>
            </a:extLst>
          </p:cNvPr>
          <p:cNvCxnSpPr>
            <a:cxnSpLocks/>
          </p:cNvCxnSpPr>
          <p:nvPr userDrawn="1"/>
        </p:nvCxnSpPr>
        <p:spPr>
          <a:xfrm>
            <a:off x="4294208"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189A3D-9C54-3C11-67D1-91FFD4EC5A9B}"/>
              </a:ext>
            </a:extLst>
          </p:cNvPr>
          <p:cNvCxnSpPr>
            <a:cxnSpLocks/>
          </p:cNvCxnSpPr>
          <p:nvPr userDrawn="1"/>
        </p:nvCxnSpPr>
        <p:spPr>
          <a:xfrm>
            <a:off x="7907439"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Holder 2">
            <a:extLst>
              <a:ext uri="{FF2B5EF4-FFF2-40B4-BE49-F238E27FC236}">
                <a16:creationId xmlns:a16="http://schemas.microsoft.com/office/drawing/2014/main" id="{E06FFCDB-99DA-C355-27A3-32A8F179121E}"/>
              </a:ext>
            </a:extLst>
          </p:cNvPr>
          <p:cNvSpPr>
            <a:spLocks noGrp="1"/>
          </p:cNvSpPr>
          <p:nvPr>
            <p:ph type="title"/>
          </p:nvPr>
        </p:nvSpPr>
        <p:spPr>
          <a:xfrm>
            <a:off x="822960" y="406792"/>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34568175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3_MESC 2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6300964" y="1690698"/>
            <a:ext cx="5151475"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title style</a:t>
            </a:r>
          </a:p>
        </p:txBody>
      </p:sp>
      <p:sp>
        <p:nvSpPr>
          <p:cNvPr id="20" name="Text Placeholder 17"/>
          <p:cNvSpPr>
            <a:spLocks noGrp="1"/>
          </p:cNvSpPr>
          <p:nvPr>
            <p:ph type="body" sz="quarter" idx="10" hasCustomPrompt="1"/>
          </p:nvPr>
        </p:nvSpPr>
        <p:spPr>
          <a:xfrm>
            <a:off x="6300964" y="4996580"/>
            <a:ext cx="5151476"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6300964" y="5798775"/>
            <a:ext cx="5151475"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descr="MESC Logotype: Office of Manufacturing and Energy Supply Chains">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360944"/>
            <a:ext cx="4287614" cy="1143364"/>
          </a:xfrm>
          <a:prstGeom prst="rect">
            <a:avLst/>
          </a:prstGeom>
        </p:spPr>
      </p:pic>
      <p:pic>
        <p:nvPicPr>
          <p:cNvPr id="4" name="Picture 3" descr="Solar panels, wind turbines and an energy storage building in front of a city">
            <a:extLst>
              <a:ext uri="{FF2B5EF4-FFF2-40B4-BE49-F238E27FC236}">
                <a16:creationId xmlns:a16="http://schemas.microsoft.com/office/drawing/2014/main" id="{85D9CC86-4E94-EBFE-494B-6B3AF30284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159"/>
          <a:stretch/>
        </p:blipFill>
        <p:spPr>
          <a:xfrm>
            <a:off x="0" y="-90293"/>
            <a:ext cx="5891037" cy="6937513"/>
          </a:xfrm>
          <a:prstGeom prst="rect">
            <a:avLst/>
          </a:prstGeom>
        </p:spPr>
      </p:pic>
    </p:spTree>
    <p:extLst>
      <p:ext uri="{BB962C8B-B14F-4D97-AF65-F5344CB8AC3E}">
        <p14:creationId xmlns:p14="http://schemas.microsoft.com/office/powerpoint/2010/main" val="41005687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365126"/>
            <a:ext cx="10515600" cy="1221628"/>
          </a:xfrm>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16" name="Content Placeholder 15">
            <a:extLst>
              <a:ext uri="{FF2B5EF4-FFF2-40B4-BE49-F238E27FC236}">
                <a16:creationId xmlns:a16="http://schemas.microsoft.com/office/drawing/2014/main" id="{DC9F83AB-9D50-77B1-AB13-5795BF9AACFE}"/>
              </a:ext>
            </a:extLst>
          </p:cNvPr>
          <p:cNvSpPr>
            <a:spLocks noGrp="1"/>
          </p:cNvSpPr>
          <p:nvPr>
            <p:ph sz="quarter" idx="17"/>
          </p:nvPr>
        </p:nvSpPr>
        <p:spPr>
          <a:xfrm>
            <a:off x="845362" y="1803210"/>
            <a:ext cx="2435225" cy="3965575"/>
          </a:xfrm>
        </p:spPr>
        <p:txBody>
          <a:bodyPr/>
          <a:lstStyle>
            <a:lvl1pPr>
              <a:buClr>
                <a:schemeClr val="tx2"/>
              </a:buClr>
              <a:defRPr/>
            </a:lvl1pPr>
            <a:lvl2pPr>
              <a:buClr>
                <a:schemeClr val="tx2"/>
              </a:buClr>
              <a:defRPr/>
            </a:lvl2pPr>
            <a:lvl3pPr>
              <a:buClr>
                <a:schemeClr val="tx2"/>
              </a:buClr>
              <a:defRPr/>
            </a:lvl3pPr>
          </a:lstStyle>
          <a:p>
            <a:pPr lvl="0"/>
            <a:r>
              <a:rPr lang="en-US"/>
              <a:t>Click to edit Master text styles</a:t>
            </a:r>
          </a:p>
          <a:p>
            <a:pPr lvl="1"/>
            <a:r>
              <a:rPr lang="en-US"/>
              <a:t>Second level</a:t>
            </a:r>
          </a:p>
          <a:p>
            <a:pPr lvl="2"/>
            <a:r>
              <a:rPr lang="en-US"/>
              <a:t>Third level</a:t>
            </a:r>
          </a:p>
        </p:txBody>
      </p:sp>
      <p:sp>
        <p:nvSpPr>
          <p:cNvPr id="17" name="Content Placeholder 15">
            <a:extLst>
              <a:ext uri="{FF2B5EF4-FFF2-40B4-BE49-F238E27FC236}">
                <a16:creationId xmlns:a16="http://schemas.microsoft.com/office/drawing/2014/main" id="{E5267D86-6975-928F-095B-4D0D4F557E04}"/>
              </a:ext>
            </a:extLst>
          </p:cNvPr>
          <p:cNvSpPr>
            <a:spLocks noGrp="1"/>
          </p:cNvSpPr>
          <p:nvPr>
            <p:ph sz="quarter" idx="18"/>
          </p:nvPr>
        </p:nvSpPr>
        <p:spPr>
          <a:xfrm>
            <a:off x="3524718" y="1803208"/>
            <a:ext cx="2435225" cy="3965575"/>
          </a:xfrm>
        </p:spPr>
        <p:txBody>
          <a:bodyPr/>
          <a:lstStyle>
            <a:lvl1pPr>
              <a:buClr>
                <a:schemeClr val="tx2"/>
              </a:buClr>
              <a:defRPr/>
            </a:lvl1pPr>
            <a:lvl2pPr>
              <a:buClr>
                <a:schemeClr val="tx2"/>
              </a:buClr>
              <a:defRPr/>
            </a:lvl2pPr>
            <a:lvl3pPr>
              <a:buClr>
                <a:schemeClr val="tx2"/>
              </a:buClr>
              <a:defRPr/>
            </a:lvl3pPr>
          </a:lstStyle>
          <a:p>
            <a:pPr lvl="0"/>
            <a:r>
              <a:rPr lang="en-US"/>
              <a:t>Click to edit Master text styles</a:t>
            </a:r>
          </a:p>
          <a:p>
            <a:pPr lvl="1"/>
            <a:r>
              <a:rPr lang="en-US"/>
              <a:t>Second level</a:t>
            </a:r>
          </a:p>
          <a:p>
            <a:pPr lvl="2"/>
            <a:r>
              <a:rPr lang="en-US"/>
              <a:t>Third level</a:t>
            </a:r>
          </a:p>
        </p:txBody>
      </p:sp>
      <p:sp>
        <p:nvSpPr>
          <p:cNvPr id="18" name="Content Placeholder 15">
            <a:extLst>
              <a:ext uri="{FF2B5EF4-FFF2-40B4-BE49-F238E27FC236}">
                <a16:creationId xmlns:a16="http://schemas.microsoft.com/office/drawing/2014/main" id="{E5E1AFF2-0A78-9384-AE9F-6C1637A5DAB7}"/>
              </a:ext>
            </a:extLst>
          </p:cNvPr>
          <p:cNvSpPr>
            <a:spLocks noGrp="1"/>
          </p:cNvSpPr>
          <p:nvPr>
            <p:ph sz="quarter" idx="19"/>
          </p:nvPr>
        </p:nvSpPr>
        <p:spPr>
          <a:xfrm>
            <a:off x="6232058" y="1804510"/>
            <a:ext cx="2435225" cy="3965575"/>
          </a:xfrm>
        </p:spPr>
        <p:txBody>
          <a:bodyPr/>
          <a:lstStyle>
            <a:lvl1pPr>
              <a:buClr>
                <a:schemeClr val="tx2"/>
              </a:buClr>
              <a:defRPr/>
            </a:lvl1pPr>
            <a:lvl2pPr>
              <a:buClr>
                <a:schemeClr val="tx2"/>
              </a:buClr>
              <a:defRPr/>
            </a:lvl2pPr>
            <a:lvl3pPr>
              <a:buClr>
                <a:schemeClr val="tx2"/>
              </a:buClr>
              <a:defRPr/>
            </a:lvl3pPr>
          </a:lstStyle>
          <a:p>
            <a:pPr lvl="0"/>
            <a:r>
              <a:rPr lang="en-US"/>
              <a:t>Click to edit Master text styles</a:t>
            </a:r>
          </a:p>
          <a:p>
            <a:pPr lvl="1"/>
            <a:r>
              <a:rPr lang="en-US"/>
              <a:t>Second level</a:t>
            </a:r>
          </a:p>
          <a:p>
            <a:pPr lvl="2"/>
            <a:r>
              <a:rPr lang="en-US"/>
              <a:t>Third level</a:t>
            </a:r>
          </a:p>
        </p:txBody>
      </p:sp>
      <p:sp>
        <p:nvSpPr>
          <p:cNvPr id="19" name="Content Placeholder 15">
            <a:extLst>
              <a:ext uri="{FF2B5EF4-FFF2-40B4-BE49-F238E27FC236}">
                <a16:creationId xmlns:a16="http://schemas.microsoft.com/office/drawing/2014/main" id="{92A502BB-540D-F9D1-D9B0-BE79C873DB94}"/>
              </a:ext>
            </a:extLst>
          </p:cNvPr>
          <p:cNvSpPr>
            <a:spLocks noGrp="1"/>
          </p:cNvSpPr>
          <p:nvPr>
            <p:ph sz="quarter" idx="20"/>
          </p:nvPr>
        </p:nvSpPr>
        <p:spPr>
          <a:xfrm>
            <a:off x="8911413" y="1803208"/>
            <a:ext cx="2435225" cy="3965575"/>
          </a:xfrm>
        </p:spPr>
        <p:txBody>
          <a:bodyPr/>
          <a:lstStyle>
            <a:lvl1pPr>
              <a:buClr>
                <a:schemeClr val="tx2"/>
              </a:buClr>
              <a:defRPr/>
            </a:lvl1pPr>
            <a:lvl2pPr>
              <a:buClr>
                <a:schemeClr val="tx2"/>
              </a:buClr>
              <a:defRPr/>
            </a:lvl2pPr>
            <a:lvl3pPr>
              <a:buClr>
                <a:schemeClr val="tx2"/>
              </a:buCl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01902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lumn Text with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459509"/>
            <a:ext cx="10515600" cy="1040797"/>
          </a:xfrm>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6" name="Text Placeholder 2">
            <a:extLst>
              <a:ext uri="{FF2B5EF4-FFF2-40B4-BE49-F238E27FC236}">
                <a16:creationId xmlns:a16="http://schemas.microsoft.com/office/drawing/2014/main" id="{7D7C8541-12C1-3581-72D9-3B984D5BE336}"/>
              </a:ext>
            </a:extLst>
          </p:cNvPr>
          <p:cNvSpPr>
            <a:spLocks noGrp="1"/>
          </p:cNvSpPr>
          <p:nvPr>
            <p:ph type="body" idx="1" hasCustomPrompt="1"/>
          </p:nvPr>
        </p:nvSpPr>
        <p:spPr>
          <a:xfrm>
            <a:off x="845362" y="1624214"/>
            <a:ext cx="5157787" cy="540955"/>
          </a:xfrm>
          <a:prstGeom prst="rect">
            <a:avLst/>
          </a:prstGeom>
        </p:spPr>
        <p:txBody>
          <a:bodyPr anchor="ctr">
            <a:normAutofit/>
          </a:bodyPr>
          <a:lstStyle>
            <a:lvl1pPr marL="0" indent="0" algn="ctr">
              <a:buNone/>
              <a:defRPr sz="1800" b="1" i="0">
                <a:solidFill>
                  <a:schemeClr val="accent5"/>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BA9030B6-1255-405D-F315-9B68CDEFF113}"/>
              </a:ext>
            </a:extLst>
          </p:cNvPr>
          <p:cNvSpPr>
            <a:spLocks noGrp="1"/>
          </p:cNvSpPr>
          <p:nvPr>
            <p:ph type="body" idx="17" hasCustomPrompt="1"/>
          </p:nvPr>
        </p:nvSpPr>
        <p:spPr>
          <a:xfrm>
            <a:off x="6240363" y="1630566"/>
            <a:ext cx="5106275" cy="540955"/>
          </a:xfrm>
          <a:prstGeom prst="rect">
            <a:avLst/>
          </a:prstGeom>
        </p:spPr>
        <p:txBody>
          <a:bodyPr anchor="ctr">
            <a:normAutofit/>
          </a:bodyPr>
          <a:lstStyle>
            <a:lvl1pPr marL="0" indent="0" algn="ctr">
              <a:buNone/>
              <a:defRPr sz="1800" b="1" i="0">
                <a:solidFill>
                  <a:schemeClr val="accent5"/>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10">
            <a:extLst>
              <a:ext uri="{FF2B5EF4-FFF2-40B4-BE49-F238E27FC236}">
                <a16:creationId xmlns:a16="http://schemas.microsoft.com/office/drawing/2014/main" id="{35B62B7D-657B-2F33-0F7D-C4A7D9B7655B}"/>
              </a:ext>
            </a:extLst>
          </p:cNvPr>
          <p:cNvSpPr>
            <a:spLocks noGrp="1"/>
          </p:cNvSpPr>
          <p:nvPr>
            <p:ph sz="quarter" idx="18"/>
          </p:nvPr>
        </p:nvSpPr>
        <p:spPr>
          <a:xfrm>
            <a:off x="845362" y="2390214"/>
            <a:ext cx="2482850" cy="3457476"/>
          </a:xfrm>
        </p:spPr>
        <p:txBody>
          <a:bodyPr/>
          <a:lstStyle/>
          <a:p>
            <a:pPr lvl="0"/>
            <a:r>
              <a:rPr lang="en-US"/>
              <a:t>Click to edit Master text styles</a:t>
            </a:r>
          </a:p>
          <a:p>
            <a:pPr lvl="1"/>
            <a:r>
              <a:rPr lang="en-US"/>
              <a:t>Second level</a:t>
            </a:r>
          </a:p>
          <a:p>
            <a:pPr lvl="2"/>
            <a:r>
              <a:rPr lang="en-US"/>
              <a:t>Third level</a:t>
            </a:r>
          </a:p>
        </p:txBody>
      </p:sp>
      <p:sp>
        <p:nvSpPr>
          <p:cNvPr id="15" name="Content Placeholder 15">
            <a:extLst>
              <a:ext uri="{FF2B5EF4-FFF2-40B4-BE49-F238E27FC236}">
                <a16:creationId xmlns:a16="http://schemas.microsoft.com/office/drawing/2014/main" id="{0B2CFCA0-D4B2-407A-C0FE-3CC132BF86BB}"/>
              </a:ext>
            </a:extLst>
          </p:cNvPr>
          <p:cNvSpPr>
            <a:spLocks noGrp="1"/>
          </p:cNvSpPr>
          <p:nvPr>
            <p:ph sz="quarter" idx="19"/>
          </p:nvPr>
        </p:nvSpPr>
        <p:spPr>
          <a:xfrm>
            <a:off x="3563823" y="2376208"/>
            <a:ext cx="2435225" cy="3471482"/>
          </a:xfrm>
        </p:spPr>
        <p:txBody>
          <a:body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F4453067-7D1E-9A5B-4DDD-3639A98CB5DF}"/>
              </a:ext>
            </a:extLst>
          </p:cNvPr>
          <p:cNvSpPr>
            <a:spLocks noGrp="1"/>
          </p:cNvSpPr>
          <p:nvPr>
            <p:ph sz="quarter" idx="20"/>
          </p:nvPr>
        </p:nvSpPr>
        <p:spPr>
          <a:xfrm>
            <a:off x="6234659" y="2376207"/>
            <a:ext cx="2435225" cy="3471482"/>
          </a:xfrm>
        </p:spPr>
        <p:txBody>
          <a:bodyPr/>
          <a:lstStyle/>
          <a:p>
            <a:pPr lvl="0"/>
            <a:r>
              <a:rPr lang="en-US"/>
              <a:t>Click to edit Master text styles</a:t>
            </a:r>
          </a:p>
          <a:p>
            <a:pPr lvl="1"/>
            <a:r>
              <a:rPr lang="en-US"/>
              <a:t>Second level</a:t>
            </a:r>
          </a:p>
          <a:p>
            <a:pPr lvl="2"/>
            <a:r>
              <a:rPr lang="en-US"/>
              <a:t>Third level</a:t>
            </a:r>
          </a:p>
        </p:txBody>
      </p:sp>
      <p:sp>
        <p:nvSpPr>
          <p:cNvPr id="17" name="Content Placeholder 15">
            <a:extLst>
              <a:ext uri="{FF2B5EF4-FFF2-40B4-BE49-F238E27FC236}">
                <a16:creationId xmlns:a16="http://schemas.microsoft.com/office/drawing/2014/main" id="{4A7B43BF-4975-D435-3038-915E872E5CFF}"/>
              </a:ext>
            </a:extLst>
          </p:cNvPr>
          <p:cNvSpPr>
            <a:spLocks noGrp="1"/>
          </p:cNvSpPr>
          <p:nvPr>
            <p:ph sz="quarter" idx="21"/>
          </p:nvPr>
        </p:nvSpPr>
        <p:spPr>
          <a:xfrm>
            <a:off x="8911413" y="2383210"/>
            <a:ext cx="2435225" cy="347148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26536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with Secondary Titl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A7C0111-8D38-DADB-3FF9-AFA33A3C5848}"/>
              </a:ext>
            </a:extLst>
          </p:cNvPr>
          <p:cNvSpPr>
            <a:spLocks noGrp="1"/>
          </p:cNvSpPr>
          <p:nvPr>
            <p:ph type="body" idx="1" hasCustomPrompt="1"/>
          </p:nvPr>
        </p:nvSpPr>
        <p:spPr>
          <a:xfrm>
            <a:off x="839788" y="1303797"/>
            <a:ext cx="5157787" cy="823912"/>
          </a:xfrm>
          <a:prstGeom prst="rect">
            <a:avLst/>
          </a:prstGeom>
        </p:spPr>
        <p:txBody>
          <a:bodyPr anchor="ctr">
            <a:normAutofit/>
          </a:bodyPr>
          <a:lstStyle>
            <a:lvl1pPr marL="0" indent="0" algn="ctr">
              <a:buNone/>
              <a:defRPr sz="2000" b="1" i="0">
                <a:solidFill>
                  <a:schemeClr val="accent5"/>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6795097-975E-D965-7F9D-330C57FDAC4D}"/>
              </a:ext>
            </a:extLst>
          </p:cNvPr>
          <p:cNvSpPr>
            <a:spLocks noGrp="1"/>
          </p:cNvSpPr>
          <p:nvPr>
            <p:ph sz="half" idx="2"/>
          </p:nvPr>
        </p:nvSpPr>
        <p:spPr>
          <a:xfrm>
            <a:off x="839788" y="2334225"/>
            <a:ext cx="5157787" cy="3478071"/>
          </a:xfrm>
          <a:prstGeom prst="rect">
            <a:avLst/>
          </a:prstGeom>
        </p:spPr>
        <p:txBody>
          <a:bodyPr/>
          <a:lstStyle>
            <a:lvl1pPr>
              <a:lnSpc>
                <a:spcPct val="100000"/>
              </a:lnSpc>
              <a:buClr>
                <a:schemeClr val="tx2"/>
              </a:buClr>
              <a:defRPr/>
            </a:lvl1pPr>
            <a:lvl2pPr>
              <a:lnSpc>
                <a:spcPct val="100000"/>
              </a:lnSpc>
              <a:buClr>
                <a:schemeClr val="tx2"/>
              </a:buClr>
              <a:defRPr/>
            </a:lvl2pPr>
            <a:lvl3pPr>
              <a:lnSpc>
                <a:spcPct val="100000"/>
              </a:lnSpc>
              <a:buClr>
                <a:schemeClr val="tx2"/>
              </a:buClr>
              <a:defRPr/>
            </a:lvl3pPr>
            <a:lvl4pPr>
              <a:lnSpc>
                <a:spcPct val="100000"/>
              </a:lnSpc>
              <a:buClr>
                <a:schemeClr val="tx2"/>
              </a:buClr>
              <a:defRPr/>
            </a:lvl4pPr>
            <a:lvl5pPr>
              <a:lnSpc>
                <a:spcPct val="100000"/>
              </a:lnSpc>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334921-9959-0168-45D0-EB0D5CE4BD5B}"/>
              </a:ext>
            </a:extLst>
          </p:cNvPr>
          <p:cNvSpPr>
            <a:spLocks noGrp="1"/>
          </p:cNvSpPr>
          <p:nvPr>
            <p:ph type="body" sz="quarter" idx="3" hasCustomPrompt="1"/>
          </p:nvPr>
        </p:nvSpPr>
        <p:spPr>
          <a:xfrm>
            <a:off x="6172200" y="1303797"/>
            <a:ext cx="5183188" cy="823912"/>
          </a:xfrm>
          <a:prstGeom prst="rect">
            <a:avLst/>
          </a:prstGeom>
        </p:spPr>
        <p:txBody>
          <a:bodyPr anchor="ctr">
            <a:normAutofit/>
          </a:bodyPr>
          <a:lstStyle>
            <a:lvl1pPr marL="0" indent="0" algn="ctr">
              <a:buNone/>
              <a:defRPr sz="2000" b="1" i="0">
                <a:solidFill>
                  <a:schemeClr val="accent5"/>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D05A5C-6F72-F7AD-5044-5A688D33FBDB}"/>
              </a:ext>
            </a:extLst>
          </p:cNvPr>
          <p:cNvSpPr>
            <a:spLocks noGrp="1"/>
          </p:cNvSpPr>
          <p:nvPr>
            <p:ph sz="quarter" idx="4"/>
          </p:nvPr>
        </p:nvSpPr>
        <p:spPr>
          <a:xfrm>
            <a:off x="6172200" y="2334225"/>
            <a:ext cx="5183188" cy="3478072"/>
          </a:xfrm>
          <a:prstGeom prst="rect">
            <a:avLst/>
          </a:prstGeom>
        </p:spPr>
        <p:txBody>
          <a:bodyPr/>
          <a:lstStyle>
            <a:lvl1pPr>
              <a:lnSpc>
                <a:spcPct val="100000"/>
              </a:lnSpc>
              <a:buClr>
                <a:schemeClr val="tx2"/>
              </a:buClr>
              <a:defRPr/>
            </a:lvl1pPr>
            <a:lvl2pPr>
              <a:lnSpc>
                <a:spcPct val="100000"/>
              </a:lnSpc>
              <a:buClr>
                <a:schemeClr val="tx2"/>
              </a:buClr>
              <a:defRPr/>
            </a:lvl2pPr>
            <a:lvl3pPr>
              <a:lnSpc>
                <a:spcPct val="100000"/>
              </a:lnSpc>
              <a:buClr>
                <a:schemeClr val="tx2"/>
              </a:buClr>
              <a:defRPr/>
            </a:lvl3pPr>
            <a:lvl4pPr>
              <a:lnSpc>
                <a:spcPct val="100000"/>
              </a:lnSpc>
              <a:buClr>
                <a:schemeClr val="tx2"/>
              </a:buClr>
              <a:defRPr/>
            </a:lvl4pPr>
            <a:lvl5pPr>
              <a:lnSpc>
                <a:spcPct val="100000"/>
              </a:lnSpc>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2">
            <a:extLst>
              <a:ext uri="{FF2B5EF4-FFF2-40B4-BE49-F238E27FC236}">
                <a16:creationId xmlns:a16="http://schemas.microsoft.com/office/drawing/2014/main" id="{26FB0911-599B-24FD-FF61-45D3BF31A35D}"/>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Avenir LT Std 65 Medium"/>
                <a:cs typeface="Avenir LT Std 65 Medium"/>
              </a:defRPr>
            </a:lvl1pPr>
          </a:lstStyle>
          <a:p>
            <a:r>
              <a:rPr lang="en-US"/>
              <a:t>Click to edit Master title style</a:t>
            </a:r>
            <a:endParaRPr/>
          </a:p>
        </p:txBody>
      </p:sp>
      <p:sp>
        <p:nvSpPr>
          <p:cNvPr id="17" name="Footer Placeholder 4">
            <a:extLst>
              <a:ext uri="{FF2B5EF4-FFF2-40B4-BE49-F238E27FC236}">
                <a16:creationId xmlns:a16="http://schemas.microsoft.com/office/drawing/2014/main" id="{C22B2303-BDE6-E925-0553-2171465F494B}"/>
              </a:ext>
            </a:extLst>
          </p:cNvPr>
          <p:cNvSpPr>
            <a:spLocks noGrp="1"/>
          </p:cNvSpPr>
          <p:nvPr>
            <p:ph type="ftr" sz="quarter" idx="10"/>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8" name="Slide Number Placeholder 5">
            <a:extLst>
              <a:ext uri="{FF2B5EF4-FFF2-40B4-BE49-F238E27FC236}">
                <a16:creationId xmlns:a16="http://schemas.microsoft.com/office/drawing/2014/main" id="{DF3DC118-923D-8C2C-EF96-B079FB21597D}"/>
              </a:ext>
            </a:extLst>
          </p:cNvPr>
          <p:cNvSpPr>
            <a:spLocks noGrp="1"/>
          </p:cNvSpPr>
          <p:nvPr>
            <p:ph type="sldNum" sz="quarter" idx="11"/>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9" name="Holder 5">
            <a:extLst>
              <a:ext uri="{FF2B5EF4-FFF2-40B4-BE49-F238E27FC236}">
                <a16:creationId xmlns:a16="http://schemas.microsoft.com/office/drawing/2014/main" id="{DD4EC778-DA47-1A36-0618-E46374EBBD17}"/>
              </a:ext>
            </a:extLst>
          </p:cNvPr>
          <p:cNvSpPr>
            <a:spLocks noGrp="1"/>
          </p:cNvSpPr>
          <p:nvPr>
            <p:ph type="dt" sz="half" idx="1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8168467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CE46A-509B-CFDE-C5BB-E2A7B52A4EE6}"/>
              </a:ext>
            </a:extLst>
          </p:cNvPr>
          <p:cNvSpPr>
            <a:spLocks noGrp="1"/>
          </p:cNvSpPr>
          <p:nvPr>
            <p:ph type="title"/>
          </p:nvPr>
        </p:nvSpPr>
        <p:spPr>
          <a:xfrm>
            <a:off x="839787" y="457200"/>
            <a:ext cx="10515601" cy="723418"/>
          </a:xfrm>
          <a:prstGeom prst="rect">
            <a:avLst/>
          </a:prstGeo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6C2C4D2-D9D1-A7A8-0DDE-9DF0D0A5AC2E}"/>
              </a:ext>
            </a:extLst>
          </p:cNvPr>
          <p:cNvSpPr>
            <a:spLocks noGrp="1"/>
          </p:cNvSpPr>
          <p:nvPr>
            <p:ph type="pic" idx="1"/>
          </p:nvPr>
        </p:nvSpPr>
        <p:spPr>
          <a:xfrm>
            <a:off x="5183188" y="1435261"/>
            <a:ext cx="6172200" cy="442578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6" name="Footer Placeholder 4">
            <a:extLst>
              <a:ext uri="{FF2B5EF4-FFF2-40B4-BE49-F238E27FC236}">
                <a16:creationId xmlns:a16="http://schemas.microsoft.com/office/drawing/2014/main" id="{FF901D16-ECEE-E9B6-A330-9F6E02685DFD}"/>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7" name="Slide Number Placeholder 5">
            <a:extLst>
              <a:ext uri="{FF2B5EF4-FFF2-40B4-BE49-F238E27FC236}">
                <a16:creationId xmlns:a16="http://schemas.microsoft.com/office/drawing/2014/main" id="{55A87F82-C3A9-E64F-2E15-760F6204B58A}"/>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8" name="Holder 5">
            <a:extLst>
              <a:ext uri="{FF2B5EF4-FFF2-40B4-BE49-F238E27FC236}">
                <a16:creationId xmlns:a16="http://schemas.microsoft.com/office/drawing/2014/main" id="{37519627-C72C-51BF-6150-DE558326285A}"/>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6" name="Content Placeholder 5">
            <a:extLst>
              <a:ext uri="{FF2B5EF4-FFF2-40B4-BE49-F238E27FC236}">
                <a16:creationId xmlns:a16="http://schemas.microsoft.com/office/drawing/2014/main" id="{DD169C59-D24B-D17B-19D6-BCCF81B05819}"/>
              </a:ext>
            </a:extLst>
          </p:cNvPr>
          <p:cNvSpPr>
            <a:spLocks noGrp="1"/>
          </p:cNvSpPr>
          <p:nvPr>
            <p:ph sz="quarter" idx="11"/>
          </p:nvPr>
        </p:nvSpPr>
        <p:spPr>
          <a:xfrm>
            <a:off x="839788" y="1435100"/>
            <a:ext cx="4027487" cy="4425950"/>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2515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nect with MESC">
    <p:bg>
      <p:bgPr>
        <a:solidFill>
          <a:schemeClr val="accent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BC51EF-8D92-FD99-2240-4277D50C59CF}"/>
              </a:ext>
            </a:extLst>
          </p:cNvPr>
          <p:cNvPicPr>
            <a:picLocks noChangeAspect="1"/>
          </p:cNvPicPr>
          <p:nvPr userDrawn="1"/>
        </p:nvPicPr>
        <p:blipFill>
          <a:blip r:embed="rId2" cstate="screen">
            <a:duotone>
              <a:prstClr val="black"/>
              <a:schemeClr val="accent2">
                <a:tint val="45000"/>
                <a:satMod val="400000"/>
              </a:schemeClr>
            </a:duotone>
            <a:alphaModFix amt="30000"/>
            <a:extLst>
              <a:ext uri="{28A0092B-C50C-407E-A947-70E740481C1C}">
                <a14:useLocalDpi xmlns:a14="http://schemas.microsoft.com/office/drawing/2010/main"/>
              </a:ext>
            </a:extLst>
          </a:blip>
          <a:srcRect/>
          <a:stretch/>
        </p:blipFill>
        <p:spPr>
          <a:xfrm>
            <a:off x="-1" y="26394"/>
            <a:ext cx="12192001" cy="6858000"/>
          </a:xfrm>
          <a:prstGeom prst="rect">
            <a:avLst/>
          </a:prstGeom>
        </p:spPr>
      </p:pic>
      <p:sp>
        <p:nvSpPr>
          <p:cNvPr id="12" name="Holder 2">
            <a:extLst>
              <a:ext uri="{FF2B5EF4-FFF2-40B4-BE49-F238E27FC236}">
                <a16:creationId xmlns:a16="http://schemas.microsoft.com/office/drawing/2014/main" id="{2DFDFA16-0AF7-197D-5FD6-E6C27577C4E8}"/>
              </a:ext>
            </a:extLst>
          </p:cNvPr>
          <p:cNvSpPr>
            <a:spLocks noGrp="1"/>
          </p:cNvSpPr>
          <p:nvPr>
            <p:ph type="title" hasCustomPrompt="1"/>
          </p:nvPr>
        </p:nvSpPr>
        <p:spPr>
          <a:xfrm>
            <a:off x="822961" y="1430529"/>
            <a:ext cx="4838804" cy="1846659"/>
          </a:xfrm>
          <a:prstGeom prst="rect">
            <a:avLst/>
          </a:prstGeom>
        </p:spPr>
        <p:txBody>
          <a:bodyPr wrap="square" lIns="91440" tIns="0" rIns="91440" bIns="0" anchor="b" anchorCtr="0">
            <a:spAutoFit/>
          </a:bodyPr>
          <a:lstStyle>
            <a:lvl1pPr algn="l">
              <a:defRPr sz="6000" b="0" i="0">
                <a:solidFill>
                  <a:schemeClr val="accent2">
                    <a:lumMod val="40000"/>
                    <a:lumOff val="60000"/>
                  </a:schemeClr>
                </a:solidFill>
                <a:latin typeface="Avenir Medium" panose="02000503020000020003" pitchFamily="2" charset="0"/>
                <a:cs typeface="Avenir Medium" panose="02000503020000020003" pitchFamily="2" charset="0"/>
              </a:defRPr>
            </a:lvl1pPr>
          </a:lstStyle>
          <a:p>
            <a:r>
              <a:rPr lang="en-US"/>
              <a:t>Connect </a:t>
            </a:r>
            <a:br>
              <a:rPr lang="en-US"/>
            </a:br>
            <a:r>
              <a:rPr lang="en-US"/>
              <a:t>with MESC</a:t>
            </a:r>
            <a:endParaRPr/>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
        <p:nvSpPr>
          <p:cNvPr id="6" name="TextBox 5">
            <a:extLst>
              <a:ext uri="{FF2B5EF4-FFF2-40B4-BE49-F238E27FC236}">
                <a16:creationId xmlns:a16="http://schemas.microsoft.com/office/drawing/2014/main" id="{FE800C8C-9F88-A02B-6598-8F509D25AEA3}"/>
              </a:ext>
            </a:extLst>
          </p:cNvPr>
          <p:cNvSpPr txBox="1"/>
          <p:nvPr userDrawn="1"/>
        </p:nvSpPr>
        <p:spPr>
          <a:xfrm>
            <a:off x="822961" y="3455394"/>
            <a:ext cx="10172178" cy="738664"/>
          </a:xfrm>
          <a:prstGeom prst="rect">
            <a:avLst/>
          </a:prstGeom>
          <a:noFill/>
        </p:spPr>
        <p:txBody>
          <a:bodyPr wrap="square" rtlCol="0">
            <a:spAutoFit/>
          </a:bodyPr>
          <a:lstStyle/>
          <a:p>
            <a:r>
              <a:rPr lang="en-US" sz="4200" b="1" i="0" err="1">
                <a:solidFill>
                  <a:schemeClr val="accent3"/>
                </a:solidFill>
                <a:latin typeface="Avenir Black" panose="02000503020000020003" pitchFamily="2" charset="0"/>
                <a:cs typeface="Calibri" panose="020F0502020204030204" pitchFamily="34" charset="0"/>
              </a:rPr>
              <a:t>energy.gov</a:t>
            </a:r>
            <a:r>
              <a:rPr lang="en-US" sz="4200" b="1" i="0">
                <a:solidFill>
                  <a:schemeClr val="accent3"/>
                </a:solidFill>
                <a:latin typeface="Avenir Black" panose="02000503020000020003" pitchFamily="2" charset="0"/>
                <a:cs typeface="Calibri" panose="020F0502020204030204" pitchFamily="34" charset="0"/>
              </a:rPr>
              <a:t>/</a:t>
            </a:r>
            <a:r>
              <a:rPr lang="en-US" sz="4200" b="1" i="0" err="1">
                <a:solidFill>
                  <a:schemeClr val="accent3"/>
                </a:solidFill>
                <a:latin typeface="Avenir Black" panose="02000503020000020003" pitchFamily="2" charset="0"/>
                <a:cs typeface="Calibri" panose="020F0502020204030204" pitchFamily="34" charset="0"/>
              </a:rPr>
              <a:t>mesc</a:t>
            </a:r>
            <a:endParaRPr lang="en-US" sz="4200" b="1" i="0">
              <a:solidFill>
                <a:schemeClr val="accent3"/>
              </a:solidFill>
              <a:latin typeface="Avenir Black" panose="02000503020000020003" pitchFamily="2" charset="0"/>
              <a:cs typeface="Calibri" panose="020F0502020204030204" pitchFamily="34" charset="0"/>
            </a:endParaRPr>
          </a:p>
        </p:txBody>
      </p:sp>
      <p:pic>
        <p:nvPicPr>
          <p:cNvPr id="9" name="Picture 8" descr="A black and white logo&#10;&#10;Description automatically generated">
            <a:extLst>
              <a:ext uri="{FF2B5EF4-FFF2-40B4-BE49-F238E27FC236}">
                <a16:creationId xmlns:a16="http://schemas.microsoft.com/office/drawing/2014/main" id="{0E369186-E839-49C4-E146-20694AF135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5771" y="5013648"/>
            <a:ext cx="423520" cy="381924"/>
          </a:xfrm>
          <a:prstGeom prst="rect">
            <a:avLst/>
          </a:prstGeom>
        </p:spPr>
      </p:pic>
      <p:grpSp>
        <p:nvGrpSpPr>
          <p:cNvPr id="24" name="Group 23">
            <a:extLst>
              <a:ext uri="{FF2B5EF4-FFF2-40B4-BE49-F238E27FC236}">
                <a16:creationId xmlns:a16="http://schemas.microsoft.com/office/drawing/2014/main" id="{46F4855F-4CAF-310E-A1AD-D1D44EABF38D}"/>
              </a:ext>
            </a:extLst>
          </p:cNvPr>
          <p:cNvGrpSpPr/>
          <p:nvPr userDrawn="1"/>
        </p:nvGrpSpPr>
        <p:grpSpPr>
          <a:xfrm>
            <a:off x="979169" y="4475362"/>
            <a:ext cx="541759" cy="393744"/>
            <a:chOff x="4565650" y="2317750"/>
            <a:chExt cx="3063462" cy="2226488"/>
          </a:xfrm>
        </p:grpSpPr>
        <p:sp>
          <p:nvSpPr>
            <p:cNvPr id="19" name="Freeform 18">
              <a:extLst>
                <a:ext uri="{FF2B5EF4-FFF2-40B4-BE49-F238E27FC236}">
                  <a16:creationId xmlns:a16="http://schemas.microsoft.com/office/drawing/2014/main" id="{EB8DC73D-2DFD-4185-3C1C-3524C2DC4678}"/>
                </a:ext>
              </a:extLst>
            </p:cNvPr>
            <p:cNvSpPr/>
            <p:nvPr/>
          </p:nvSpPr>
          <p:spPr>
            <a:xfrm>
              <a:off x="4733988" y="2317750"/>
              <a:ext cx="2113023" cy="960637"/>
            </a:xfrm>
            <a:custGeom>
              <a:avLst/>
              <a:gdLst>
                <a:gd name="connsiteX0" fmla="*/ 1107745 w 2113023"/>
                <a:gd name="connsiteY0" fmla="*/ 940478 h 960637"/>
                <a:gd name="connsiteX1" fmla="*/ 2113024 w 2113023"/>
                <a:gd name="connsiteY1" fmla="*/ 15766 h 960637"/>
                <a:gd name="connsiteX2" fmla="*/ 2027476 w 2113023"/>
                <a:gd name="connsiteY2" fmla="*/ 0 h 960637"/>
                <a:gd name="connsiteX3" fmla="*/ 85548 w 2113023"/>
                <a:gd name="connsiteY3" fmla="*/ 0 h 960637"/>
                <a:gd name="connsiteX4" fmla="*/ 0 w 2113023"/>
                <a:gd name="connsiteY4" fmla="*/ 15766 h 960637"/>
                <a:gd name="connsiteX5" fmla="*/ 1005373 w 2113023"/>
                <a:gd name="connsiteY5" fmla="*/ 940478 h 960637"/>
                <a:gd name="connsiteX6" fmla="*/ 1107745 w 2113023"/>
                <a:gd name="connsiteY6" fmla="*/ 940478 h 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3023" h="960637">
                  <a:moveTo>
                    <a:pt x="1107745" y="940478"/>
                  </a:moveTo>
                  <a:lnTo>
                    <a:pt x="2113024" y="15766"/>
                  </a:lnTo>
                  <a:cubicBezTo>
                    <a:pt x="2086219" y="6174"/>
                    <a:pt x="2057703" y="0"/>
                    <a:pt x="2027476" y="0"/>
                  </a:cubicBezTo>
                  <a:lnTo>
                    <a:pt x="85548" y="0"/>
                  </a:lnTo>
                  <a:cubicBezTo>
                    <a:pt x="55416" y="0"/>
                    <a:pt x="26900" y="6174"/>
                    <a:pt x="0" y="15766"/>
                  </a:cubicBezTo>
                  <a:lnTo>
                    <a:pt x="1005373" y="940478"/>
                  </a:lnTo>
                  <a:cubicBezTo>
                    <a:pt x="1034460" y="967357"/>
                    <a:pt x="1078564" y="967357"/>
                    <a:pt x="1107745" y="940478"/>
                  </a:cubicBezTo>
                  <a:close/>
                </a:path>
              </a:pathLst>
            </a:custGeom>
            <a:solidFill>
              <a:schemeClr val="bg1"/>
            </a:solidFill>
            <a:ln w="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7B756F2-19A2-938C-737B-CEFEBDA037E4}"/>
                </a:ext>
              </a:extLst>
            </p:cNvPr>
            <p:cNvSpPr/>
            <p:nvPr/>
          </p:nvSpPr>
          <p:spPr>
            <a:xfrm>
              <a:off x="6310248" y="2474939"/>
              <a:ext cx="705672" cy="987397"/>
            </a:xfrm>
            <a:custGeom>
              <a:avLst/>
              <a:gdLst>
                <a:gd name="connsiteX0" fmla="*/ 348273 w 705672"/>
                <a:gd name="connsiteY0" fmla="*/ 987303 h 987397"/>
                <a:gd name="connsiteX1" fmla="*/ 705672 w 705672"/>
                <a:gd name="connsiteY1" fmla="*/ 839611 h 987397"/>
                <a:gd name="connsiteX2" fmla="*/ 705672 w 705672"/>
                <a:gd name="connsiteY2" fmla="*/ 96118 h 987397"/>
                <a:gd name="connsiteX3" fmla="*/ 685426 w 705672"/>
                <a:gd name="connsiteY3" fmla="*/ 0 h 987397"/>
                <a:gd name="connsiteX4" fmla="*/ 0 w 705672"/>
                <a:gd name="connsiteY4" fmla="*/ 630278 h 987397"/>
                <a:gd name="connsiteX5" fmla="*/ 348273 w 705672"/>
                <a:gd name="connsiteY5" fmla="*/ 987398 h 98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672" h="987397">
                  <a:moveTo>
                    <a:pt x="348273" y="987303"/>
                  </a:moveTo>
                  <a:cubicBezTo>
                    <a:pt x="450550" y="904387"/>
                    <a:pt x="574024" y="853763"/>
                    <a:pt x="705672" y="839611"/>
                  </a:cubicBezTo>
                  <a:lnTo>
                    <a:pt x="705672" y="96118"/>
                  </a:lnTo>
                  <a:cubicBezTo>
                    <a:pt x="705672" y="62781"/>
                    <a:pt x="698638" y="29348"/>
                    <a:pt x="685426" y="0"/>
                  </a:cubicBezTo>
                  <a:lnTo>
                    <a:pt x="0" y="630278"/>
                  </a:lnTo>
                  <a:lnTo>
                    <a:pt x="348273" y="987398"/>
                  </a:lnTo>
                  <a:close/>
                </a:path>
              </a:pathLst>
            </a:custGeom>
            <a:solidFill>
              <a:schemeClr val="bg1"/>
            </a:solidFill>
            <a:ln w="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881713F-D245-1B9E-7048-32F902BEF481}"/>
                </a:ext>
              </a:extLst>
            </p:cNvPr>
            <p:cNvSpPr/>
            <p:nvPr/>
          </p:nvSpPr>
          <p:spPr>
            <a:xfrm>
              <a:off x="4726859" y="3244741"/>
              <a:ext cx="1791935" cy="729435"/>
            </a:xfrm>
            <a:custGeom>
              <a:avLst/>
              <a:gdLst>
                <a:gd name="connsiteX0" fmla="*/ 1253366 w 1791935"/>
                <a:gd name="connsiteY0" fmla="*/ 163933 h 729435"/>
                <a:gd name="connsiteX1" fmla="*/ 1064021 w 1791935"/>
                <a:gd name="connsiteY1" fmla="*/ 237827 h 729435"/>
                <a:gd name="connsiteX2" fmla="*/ 873725 w 1791935"/>
                <a:gd name="connsiteY2" fmla="*/ 163933 h 729435"/>
                <a:gd name="connsiteX3" fmla="*/ 694551 w 1791935"/>
                <a:gd name="connsiteY3" fmla="*/ 0 h 729435"/>
                <a:gd name="connsiteX4" fmla="*/ 0 w 1791935"/>
                <a:gd name="connsiteY4" fmla="*/ 711200 h 729435"/>
                <a:gd name="connsiteX5" fmla="*/ 93152 w 1791935"/>
                <a:gd name="connsiteY5" fmla="*/ 729436 h 729435"/>
                <a:gd name="connsiteX6" fmla="*/ 1668462 w 1791935"/>
                <a:gd name="connsiteY6" fmla="*/ 729436 h 729435"/>
                <a:gd name="connsiteX7" fmla="*/ 1791935 w 1791935"/>
                <a:gd name="connsiteY7" fmla="*/ 367282 h 729435"/>
                <a:gd name="connsiteX8" fmla="*/ 1432541 w 1791935"/>
                <a:gd name="connsiteY8" fmla="*/ 95 h 729435"/>
                <a:gd name="connsiteX9" fmla="*/ 1253366 w 1791935"/>
                <a:gd name="connsiteY9" fmla="*/ 164028 h 72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935" h="729435">
                  <a:moveTo>
                    <a:pt x="1253366" y="163933"/>
                  </a:moveTo>
                  <a:cubicBezTo>
                    <a:pt x="1200707" y="213512"/>
                    <a:pt x="1131889" y="237827"/>
                    <a:pt x="1064021" y="237827"/>
                  </a:cubicBezTo>
                  <a:cubicBezTo>
                    <a:pt x="996153" y="237827"/>
                    <a:pt x="927335" y="213512"/>
                    <a:pt x="873725" y="163933"/>
                  </a:cubicBezTo>
                  <a:lnTo>
                    <a:pt x="694551" y="0"/>
                  </a:lnTo>
                  <a:lnTo>
                    <a:pt x="0" y="711200"/>
                  </a:lnTo>
                  <a:cubicBezTo>
                    <a:pt x="28326" y="722312"/>
                    <a:pt x="59693" y="729436"/>
                    <a:pt x="93152" y="729436"/>
                  </a:cubicBezTo>
                  <a:lnTo>
                    <a:pt x="1668462" y="729436"/>
                  </a:lnTo>
                  <a:cubicBezTo>
                    <a:pt x="1674545" y="598935"/>
                    <a:pt x="1717034" y="474513"/>
                    <a:pt x="1791935" y="367282"/>
                  </a:cubicBezTo>
                  <a:lnTo>
                    <a:pt x="1432541" y="95"/>
                  </a:lnTo>
                  <a:lnTo>
                    <a:pt x="1253366" y="164028"/>
                  </a:lnTo>
                  <a:close/>
                </a:path>
              </a:pathLst>
            </a:custGeom>
            <a:solidFill>
              <a:schemeClr val="bg1"/>
            </a:solidFill>
            <a:ln w="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ACB21778-3E74-C75C-BD02-E1DB05A4BED8}"/>
                </a:ext>
              </a:extLst>
            </p:cNvPr>
            <p:cNvSpPr/>
            <p:nvPr/>
          </p:nvSpPr>
          <p:spPr>
            <a:xfrm>
              <a:off x="4565650" y="2474749"/>
              <a:ext cx="705101" cy="1335399"/>
            </a:xfrm>
            <a:custGeom>
              <a:avLst/>
              <a:gdLst>
                <a:gd name="connsiteX0" fmla="*/ 19296 w 705101"/>
                <a:gd name="connsiteY0" fmla="*/ 0 h 1335399"/>
                <a:gd name="connsiteX1" fmla="*/ 0 w 705101"/>
                <a:gd name="connsiteY1" fmla="*/ 96688 h 1335399"/>
                <a:gd name="connsiteX2" fmla="*/ 0 w 705101"/>
                <a:gd name="connsiteY2" fmla="*/ 1245835 h 1335399"/>
                <a:gd name="connsiteX3" fmla="*/ 17110 w 705101"/>
                <a:gd name="connsiteY3" fmla="*/ 1335400 h 1335399"/>
                <a:gd name="connsiteX4" fmla="*/ 705102 w 705101"/>
                <a:gd name="connsiteY4" fmla="*/ 630753 h 1335399"/>
                <a:gd name="connsiteX5" fmla="*/ 19296 w 705101"/>
                <a:gd name="connsiteY5" fmla="*/ 0 h 133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101" h="1335399">
                  <a:moveTo>
                    <a:pt x="19296" y="0"/>
                  </a:moveTo>
                  <a:cubicBezTo>
                    <a:pt x="6939" y="29823"/>
                    <a:pt x="0" y="62401"/>
                    <a:pt x="0" y="96688"/>
                  </a:cubicBezTo>
                  <a:lnTo>
                    <a:pt x="0" y="1245835"/>
                  </a:lnTo>
                  <a:cubicBezTo>
                    <a:pt x="0" y="1277463"/>
                    <a:pt x="6464" y="1307476"/>
                    <a:pt x="17110" y="1335400"/>
                  </a:cubicBezTo>
                  <a:lnTo>
                    <a:pt x="705102" y="630753"/>
                  </a:lnTo>
                  <a:lnTo>
                    <a:pt x="19296" y="0"/>
                  </a:lnTo>
                  <a:close/>
                </a:path>
              </a:pathLst>
            </a:custGeom>
            <a:solidFill>
              <a:schemeClr val="bg1"/>
            </a:solidFill>
            <a:ln w="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BCCD2632-A0DC-8486-7937-7924147C783A}"/>
                </a:ext>
              </a:extLst>
            </p:cNvPr>
            <p:cNvSpPr/>
            <p:nvPr/>
          </p:nvSpPr>
          <p:spPr>
            <a:xfrm>
              <a:off x="6555925" y="3471984"/>
              <a:ext cx="1073187" cy="1072254"/>
            </a:xfrm>
            <a:custGeom>
              <a:avLst/>
              <a:gdLst>
                <a:gd name="connsiteX0" fmla="*/ 1069949 w 1073187"/>
                <a:gd name="connsiteY0" fmla="*/ 477214 h 1072254"/>
                <a:gd name="connsiteX1" fmla="*/ 620920 w 1073187"/>
                <a:gd name="connsiteY1" fmla="*/ 6500 h 1072254"/>
                <a:gd name="connsiteX2" fmla="*/ 157157 w 1073187"/>
                <a:gd name="connsiteY2" fmla="*/ 157041 h 1072254"/>
                <a:gd name="connsiteX3" fmla="*/ 6498 w 1073187"/>
                <a:gd name="connsiteY3" fmla="*/ 620442 h 1072254"/>
                <a:gd name="connsiteX4" fmla="*/ 478816 w 1073187"/>
                <a:gd name="connsiteY4" fmla="*/ 1069216 h 1072254"/>
                <a:gd name="connsiteX5" fmla="*/ 536703 w 1073187"/>
                <a:gd name="connsiteY5" fmla="*/ 1072255 h 1072254"/>
                <a:gd name="connsiteX6" fmla="*/ 686886 w 1073187"/>
                <a:gd name="connsiteY6" fmla="*/ 1050885 h 1072254"/>
                <a:gd name="connsiteX7" fmla="*/ 734603 w 1073187"/>
                <a:gd name="connsiteY7" fmla="*/ 963979 h 1072254"/>
                <a:gd name="connsiteX8" fmla="*/ 647629 w 1073187"/>
                <a:gd name="connsiteY8" fmla="*/ 916300 h 1072254"/>
                <a:gd name="connsiteX9" fmla="*/ 493454 w 1073187"/>
                <a:gd name="connsiteY9" fmla="*/ 929787 h 1072254"/>
                <a:gd name="connsiteX10" fmla="*/ 145180 w 1073187"/>
                <a:gd name="connsiteY10" fmla="*/ 599166 h 1072254"/>
                <a:gd name="connsiteX11" fmla="*/ 256297 w 1073187"/>
                <a:gd name="connsiteY11" fmla="*/ 256199 h 1072254"/>
                <a:gd name="connsiteX12" fmla="*/ 599628 w 1073187"/>
                <a:gd name="connsiteY12" fmla="*/ 145074 h 1072254"/>
                <a:gd name="connsiteX13" fmla="*/ 930411 w 1073187"/>
                <a:gd name="connsiteY13" fmla="*/ 492221 h 1072254"/>
                <a:gd name="connsiteX14" fmla="*/ 906078 w 1073187"/>
                <a:gd name="connsiteY14" fmla="*/ 679518 h 1072254"/>
                <a:gd name="connsiteX15" fmla="*/ 850187 w 1073187"/>
                <a:gd name="connsiteY15" fmla="*/ 717605 h 1072254"/>
                <a:gd name="connsiteX16" fmla="*/ 780988 w 1073187"/>
                <a:gd name="connsiteY16" fmla="*/ 676954 h 1072254"/>
                <a:gd name="connsiteX17" fmla="*/ 762738 w 1073187"/>
                <a:gd name="connsiteY17" fmla="*/ 638867 h 1072254"/>
                <a:gd name="connsiteX18" fmla="*/ 762738 w 1073187"/>
                <a:gd name="connsiteY18" fmla="*/ 361530 h 1072254"/>
                <a:gd name="connsiteX19" fmla="*/ 692875 w 1073187"/>
                <a:gd name="connsiteY19" fmla="*/ 291721 h 1072254"/>
                <a:gd name="connsiteX20" fmla="*/ 628144 w 1073187"/>
                <a:gd name="connsiteY20" fmla="*/ 336076 h 1072254"/>
                <a:gd name="connsiteX21" fmla="*/ 492313 w 1073187"/>
                <a:gd name="connsiteY21" fmla="*/ 295615 h 1072254"/>
                <a:gd name="connsiteX22" fmla="*/ 289756 w 1073187"/>
                <a:gd name="connsiteY22" fmla="*/ 542559 h 1072254"/>
                <a:gd name="connsiteX23" fmla="*/ 492313 w 1073187"/>
                <a:gd name="connsiteY23" fmla="*/ 789504 h 1072254"/>
                <a:gd name="connsiteX24" fmla="*/ 647725 w 1073187"/>
                <a:gd name="connsiteY24" fmla="*/ 723493 h 1072254"/>
                <a:gd name="connsiteX25" fmla="*/ 654473 w 1073187"/>
                <a:gd name="connsiteY25" fmla="*/ 737550 h 1072254"/>
                <a:gd name="connsiteX26" fmla="*/ 855510 w 1073187"/>
                <a:gd name="connsiteY26" fmla="*/ 857698 h 1072254"/>
                <a:gd name="connsiteX27" fmla="*/ 1036871 w 1073187"/>
                <a:gd name="connsiteY27" fmla="*/ 730237 h 1072254"/>
                <a:gd name="connsiteX28" fmla="*/ 1069949 w 1073187"/>
                <a:gd name="connsiteY28" fmla="*/ 477309 h 1072254"/>
                <a:gd name="connsiteX29" fmla="*/ 519688 w 1073187"/>
                <a:gd name="connsiteY29" fmla="*/ 675149 h 1072254"/>
                <a:gd name="connsiteX30" fmla="*/ 419883 w 1073187"/>
                <a:gd name="connsiteY30" fmla="*/ 542464 h 1072254"/>
                <a:gd name="connsiteX31" fmla="*/ 519688 w 1073187"/>
                <a:gd name="connsiteY31" fmla="*/ 409684 h 1072254"/>
                <a:gd name="connsiteX32" fmla="*/ 619494 w 1073187"/>
                <a:gd name="connsiteY32" fmla="*/ 542464 h 1072254"/>
                <a:gd name="connsiteX33" fmla="*/ 519688 w 1073187"/>
                <a:gd name="connsiteY33" fmla="*/ 675149 h 10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73187" h="1072254">
                  <a:moveTo>
                    <a:pt x="1069949" y="477214"/>
                  </a:moveTo>
                  <a:cubicBezTo>
                    <a:pt x="1044570" y="240337"/>
                    <a:pt x="855795" y="42402"/>
                    <a:pt x="620920" y="6500"/>
                  </a:cubicBezTo>
                  <a:cubicBezTo>
                    <a:pt x="448589" y="-19904"/>
                    <a:pt x="279395" y="34898"/>
                    <a:pt x="157157" y="157041"/>
                  </a:cubicBezTo>
                  <a:cubicBezTo>
                    <a:pt x="35014" y="279088"/>
                    <a:pt x="-19926" y="448055"/>
                    <a:pt x="6498" y="620442"/>
                  </a:cubicBezTo>
                  <a:cubicBezTo>
                    <a:pt x="42523" y="855609"/>
                    <a:pt x="241184" y="1044331"/>
                    <a:pt x="478816" y="1069216"/>
                  </a:cubicBezTo>
                  <a:cubicBezTo>
                    <a:pt x="498206" y="1071210"/>
                    <a:pt x="517502" y="1072255"/>
                    <a:pt x="536703" y="1072255"/>
                  </a:cubicBezTo>
                  <a:cubicBezTo>
                    <a:pt x="587746" y="1072255"/>
                    <a:pt x="638029" y="1065132"/>
                    <a:pt x="686886" y="1050885"/>
                  </a:cubicBezTo>
                  <a:cubicBezTo>
                    <a:pt x="724052" y="1040057"/>
                    <a:pt x="745439" y="1001116"/>
                    <a:pt x="734603" y="963979"/>
                  </a:cubicBezTo>
                  <a:cubicBezTo>
                    <a:pt x="723672" y="926843"/>
                    <a:pt x="684795" y="905378"/>
                    <a:pt x="647629" y="916300"/>
                  </a:cubicBezTo>
                  <a:cubicBezTo>
                    <a:pt x="598012" y="930737"/>
                    <a:pt x="545923" y="935201"/>
                    <a:pt x="493454" y="929787"/>
                  </a:cubicBezTo>
                  <a:cubicBezTo>
                    <a:pt x="318176" y="911456"/>
                    <a:pt x="171700" y="772408"/>
                    <a:pt x="145180" y="599166"/>
                  </a:cubicBezTo>
                  <a:cubicBezTo>
                    <a:pt x="125504" y="471325"/>
                    <a:pt x="166092" y="346333"/>
                    <a:pt x="256297" y="256199"/>
                  </a:cubicBezTo>
                  <a:cubicBezTo>
                    <a:pt x="346502" y="166064"/>
                    <a:pt x="471592" y="125508"/>
                    <a:pt x="599628" y="145074"/>
                  </a:cubicBezTo>
                  <a:cubicBezTo>
                    <a:pt x="772624" y="171478"/>
                    <a:pt x="911686" y="317460"/>
                    <a:pt x="930411" y="492221"/>
                  </a:cubicBezTo>
                  <a:cubicBezTo>
                    <a:pt x="937350" y="557091"/>
                    <a:pt x="929176" y="620062"/>
                    <a:pt x="906078" y="679518"/>
                  </a:cubicBezTo>
                  <a:cubicBezTo>
                    <a:pt x="893246" y="712476"/>
                    <a:pt x="862734" y="717130"/>
                    <a:pt x="850187" y="717605"/>
                  </a:cubicBezTo>
                  <a:cubicBezTo>
                    <a:pt x="825853" y="717795"/>
                    <a:pt x="796102" y="708297"/>
                    <a:pt x="780988" y="676954"/>
                  </a:cubicBezTo>
                  <a:lnTo>
                    <a:pt x="762738" y="638867"/>
                  </a:lnTo>
                  <a:lnTo>
                    <a:pt x="762738" y="361530"/>
                  </a:lnTo>
                  <a:cubicBezTo>
                    <a:pt x="762738" y="322969"/>
                    <a:pt x="731466" y="291721"/>
                    <a:pt x="692875" y="291721"/>
                  </a:cubicBezTo>
                  <a:cubicBezTo>
                    <a:pt x="663408" y="291721"/>
                    <a:pt x="638409" y="310146"/>
                    <a:pt x="628144" y="336076"/>
                  </a:cubicBezTo>
                  <a:cubicBezTo>
                    <a:pt x="606091" y="315465"/>
                    <a:pt x="566074" y="295615"/>
                    <a:pt x="492313" y="295615"/>
                  </a:cubicBezTo>
                  <a:cubicBezTo>
                    <a:pt x="339468" y="295615"/>
                    <a:pt x="289756" y="443212"/>
                    <a:pt x="289756" y="542559"/>
                  </a:cubicBezTo>
                  <a:cubicBezTo>
                    <a:pt x="289756" y="641907"/>
                    <a:pt x="339468" y="789504"/>
                    <a:pt x="492313" y="789504"/>
                  </a:cubicBezTo>
                  <a:cubicBezTo>
                    <a:pt x="598677" y="789504"/>
                    <a:pt x="635083" y="748568"/>
                    <a:pt x="647725" y="723493"/>
                  </a:cubicBezTo>
                  <a:lnTo>
                    <a:pt x="654473" y="737550"/>
                  </a:lnTo>
                  <a:cubicBezTo>
                    <a:pt x="690973" y="813818"/>
                    <a:pt x="771198" y="860548"/>
                    <a:pt x="855510" y="857698"/>
                  </a:cubicBezTo>
                  <a:cubicBezTo>
                    <a:pt x="938016" y="854564"/>
                    <a:pt x="1007499" y="805745"/>
                    <a:pt x="1036871" y="730237"/>
                  </a:cubicBezTo>
                  <a:cubicBezTo>
                    <a:pt x="1068238" y="649695"/>
                    <a:pt x="1079359" y="564594"/>
                    <a:pt x="1069949" y="477309"/>
                  </a:cubicBezTo>
                  <a:close/>
                  <a:moveTo>
                    <a:pt x="519688" y="675149"/>
                  </a:moveTo>
                  <a:cubicBezTo>
                    <a:pt x="448779" y="675149"/>
                    <a:pt x="419883" y="615693"/>
                    <a:pt x="419883" y="542464"/>
                  </a:cubicBezTo>
                  <a:cubicBezTo>
                    <a:pt x="419883" y="469236"/>
                    <a:pt x="443361" y="409684"/>
                    <a:pt x="519688" y="409684"/>
                  </a:cubicBezTo>
                  <a:cubicBezTo>
                    <a:pt x="596016" y="409684"/>
                    <a:pt x="619494" y="469141"/>
                    <a:pt x="619494" y="542464"/>
                  </a:cubicBezTo>
                  <a:cubicBezTo>
                    <a:pt x="619494" y="615788"/>
                    <a:pt x="590503" y="675149"/>
                    <a:pt x="519688" y="675149"/>
                  </a:cubicBezTo>
                  <a:close/>
                </a:path>
              </a:pathLst>
            </a:custGeom>
            <a:solidFill>
              <a:schemeClr val="bg1"/>
            </a:solidFill>
            <a:ln w="0" cap="flat">
              <a:noFill/>
              <a:prstDash val="solid"/>
              <a:miter/>
            </a:ln>
          </p:spPr>
          <p:txBody>
            <a:bodyPr rtlCol="0" anchor="ctr"/>
            <a:lstStyle/>
            <a:p>
              <a:endParaRPr lang="en-US"/>
            </a:p>
          </p:txBody>
        </p:sp>
      </p:grpSp>
      <p:sp>
        <p:nvSpPr>
          <p:cNvPr id="25" name="TextBox 24">
            <a:extLst>
              <a:ext uri="{FF2B5EF4-FFF2-40B4-BE49-F238E27FC236}">
                <a16:creationId xmlns:a16="http://schemas.microsoft.com/office/drawing/2014/main" id="{184565FF-1A25-D7EC-84E0-F544C29628B2}"/>
              </a:ext>
            </a:extLst>
          </p:cNvPr>
          <p:cNvSpPr txBox="1"/>
          <p:nvPr userDrawn="1"/>
        </p:nvSpPr>
        <p:spPr>
          <a:xfrm>
            <a:off x="1631751" y="4287968"/>
            <a:ext cx="8928498" cy="1477328"/>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lang="en-US" sz="1800" b="0" i="0" err="1">
                <a:solidFill>
                  <a:schemeClr val="bg1"/>
                </a:solidFill>
                <a:latin typeface="Avenir Medium" panose="02000503020000020003" pitchFamily="2" charset="0"/>
                <a:cs typeface="Calibri" panose="020F0502020204030204" pitchFamily="34" charset="0"/>
              </a:rPr>
              <a:t>MESC@hq.doe.gov</a:t>
            </a:r>
            <a:endParaRPr lang="en-US" sz="1800" b="0" i="0">
              <a:solidFill>
                <a:schemeClr val="bg1"/>
              </a:solidFill>
              <a:latin typeface="Avenir Medium" panose="02000503020000020003" pitchFamily="2" charset="0"/>
              <a:cs typeface="Calibri" panose="020F0502020204030204" pitchFamily="34" charset="0"/>
            </a:endParaRPr>
          </a:p>
          <a:p>
            <a:pPr lvl="0">
              <a:lnSpc>
                <a:spcPct val="200000"/>
              </a:lnSpc>
            </a:pPr>
            <a:r>
              <a:rPr lang="en-US" sz="1800" b="0" i="0">
                <a:solidFill>
                  <a:schemeClr val="bg1"/>
                </a:solidFill>
                <a:latin typeface="Avenir Medium" panose="02000503020000020003" pitchFamily="2" charset="0"/>
                <a:cs typeface="Calibri" panose="020F0502020204030204" pitchFamily="34" charset="0"/>
              </a:rPr>
              <a:t>Office of Manufacturing and Energy Supply Chains, U.S. Department of Energy</a:t>
            </a:r>
            <a:endParaRPr lang="en-US" sz="1800"/>
          </a:p>
          <a:p>
            <a:endParaRPr lang="en-US"/>
          </a:p>
        </p:txBody>
      </p:sp>
      <p:grpSp>
        <p:nvGrpSpPr>
          <p:cNvPr id="10" name="Graphic 7">
            <a:extLst>
              <a:ext uri="{FF2B5EF4-FFF2-40B4-BE49-F238E27FC236}">
                <a16:creationId xmlns:a16="http://schemas.microsoft.com/office/drawing/2014/main" id="{05F1AB9B-11D5-B2F1-97F1-C1580D812EA5}"/>
              </a:ext>
            </a:extLst>
          </p:cNvPr>
          <p:cNvGrpSpPr/>
          <p:nvPr userDrawn="1"/>
        </p:nvGrpSpPr>
        <p:grpSpPr>
          <a:xfrm>
            <a:off x="7160288" y="839611"/>
            <a:ext cx="3108163" cy="3108163"/>
            <a:chOff x="3943350" y="1276350"/>
            <a:chExt cx="4295775" cy="4295775"/>
          </a:xfrm>
          <a:solidFill>
            <a:srgbClr val="FFFFFF"/>
          </a:solidFill>
        </p:grpSpPr>
        <p:sp>
          <p:nvSpPr>
            <p:cNvPr id="11" name="Freeform 10">
              <a:extLst>
                <a:ext uri="{FF2B5EF4-FFF2-40B4-BE49-F238E27FC236}">
                  <a16:creationId xmlns:a16="http://schemas.microsoft.com/office/drawing/2014/main" id="{7104183E-68EC-5961-2F05-810648B314EC}"/>
                </a:ext>
              </a:extLst>
            </p:cNvPr>
            <p:cNvSpPr/>
            <p:nvPr/>
          </p:nvSpPr>
          <p:spPr>
            <a:xfrm>
              <a:off x="39433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D08558B-F15E-88FF-E22C-936EF871A367}"/>
                </a:ext>
              </a:extLst>
            </p:cNvPr>
            <p:cNvSpPr/>
            <p:nvPr/>
          </p:nvSpPr>
          <p:spPr>
            <a:xfrm>
              <a:off x="39433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4653BE5-8310-7DED-98E5-86DA08351EA1}"/>
                </a:ext>
              </a:extLst>
            </p:cNvPr>
            <p:cNvSpPr/>
            <p:nvPr/>
          </p:nvSpPr>
          <p:spPr>
            <a:xfrm>
              <a:off x="39433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F23AEC3-4BAB-5072-E091-F2F90B5FD144}"/>
                </a:ext>
              </a:extLst>
            </p:cNvPr>
            <p:cNvSpPr/>
            <p:nvPr/>
          </p:nvSpPr>
          <p:spPr>
            <a:xfrm>
              <a:off x="39433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304A6CC-96B1-8451-947A-24850C8B868A}"/>
                </a:ext>
              </a:extLst>
            </p:cNvPr>
            <p:cNvSpPr/>
            <p:nvPr/>
          </p:nvSpPr>
          <p:spPr>
            <a:xfrm>
              <a:off x="39433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1C2F51-39CC-B56F-A58C-65B407AB29F2}"/>
                </a:ext>
              </a:extLst>
            </p:cNvPr>
            <p:cNvSpPr/>
            <p:nvPr/>
          </p:nvSpPr>
          <p:spPr>
            <a:xfrm>
              <a:off x="39433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3396E7F-A0E3-86D5-37D0-6BF62FF53F4B}"/>
                </a:ext>
              </a:extLst>
            </p:cNvPr>
            <p:cNvSpPr/>
            <p:nvPr/>
          </p:nvSpPr>
          <p:spPr>
            <a:xfrm>
              <a:off x="39433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2B461018-1B60-CF2A-E356-DB00E6B1E4DE}"/>
                </a:ext>
              </a:extLst>
            </p:cNvPr>
            <p:cNvSpPr/>
            <p:nvPr/>
          </p:nvSpPr>
          <p:spPr>
            <a:xfrm>
              <a:off x="394335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9CC8B98F-0569-E23A-009C-6F0BD616BBBF}"/>
                </a:ext>
              </a:extLst>
            </p:cNvPr>
            <p:cNvSpPr/>
            <p:nvPr/>
          </p:nvSpPr>
          <p:spPr>
            <a:xfrm>
              <a:off x="39433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946715F-06E2-B7C9-E2FF-C69D4D934E70}"/>
                </a:ext>
              </a:extLst>
            </p:cNvPr>
            <p:cNvSpPr/>
            <p:nvPr/>
          </p:nvSpPr>
          <p:spPr>
            <a:xfrm>
              <a:off x="39433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A74DFBEA-3569-732E-C0FB-1AA6ED8FC15B}"/>
                </a:ext>
              </a:extLst>
            </p:cNvPr>
            <p:cNvSpPr/>
            <p:nvPr/>
          </p:nvSpPr>
          <p:spPr>
            <a:xfrm>
              <a:off x="394335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B1C82468-4A5E-677B-6EC1-FEBE45DA491B}"/>
                </a:ext>
              </a:extLst>
            </p:cNvPr>
            <p:cNvSpPr/>
            <p:nvPr/>
          </p:nvSpPr>
          <p:spPr>
            <a:xfrm>
              <a:off x="39433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1A53B8C-FC1D-DC6E-FDC1-087BA7564D29}"/>
                </a:ext>
              </a:extLst>
            </p:cNvPr>
            <p:cNvSpPr/>
            <p:nvPr/>
          </p:nvSpPr>
          <p:spPr>
            <a:xfrm>
              <a:off x="39433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1EC0C2AA-BCB7-D32C-E9EE-8253067A3FBC}"/>
                </a:ext>
              </a:extLst>
            </p:cNvPr>
            <p:cNvSpPr/>
            <p:nvPr/>
          </p:nvSpPr>
          <p:spPr>
            <a:xfrm>
              <a:off x="39433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8" name="Freeform 657">
              <a:extLst>
                <a:ext uri="{FF2B5EF4-FFF2-40B4-BE49-F238E27FC236}">
                  <a16:creationId xmlns:a16="http://schemas.microsoft.com/office/drawing/2014/main" id="{24B08CD4-CEA4-2115-7C37-0EB8EDB8A35F}"/>
                </a:ext>
              </a:extLst>
            </p:cNvPr>
            <p:cNvSpPr/>
            <p:nvPr/>
          </p:nvSpPr>
          <p:spPr>
            <a:xfrm>
              <a:off x="39433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4DE1AC80-50B9-1690-48D9-EA5B1F46E2CD}"/>
                </a:ext>
              </a:extLst>
            </p:cNvPr>
            <p:cNvSpPr/>
            <p:nvPr/>
          </p:nvSpPr>
          <p:spPr>
            <a:xfrm>
              <a:off x="40481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1D7D6ADF-1BE1-2964-FE6E-C6A8289BC2D8}"/>
                </a:ext>
              </a:extLst>
            </p:cNvPr>
            <p:cNvSpPr/>
            <p:nvPr/>
          </p:nvSpPr>
          <p:spPr>
            <a:xfrm>
              <a:off x="40481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70F2F64A-A96A-A5AB-D844-195345967DF3}"/>
                </a:ext>
              </a:extLst>
            </p:cNvPr>
            <p:cNvSpPr/>
            <p:nvPr/>
          </p:nvSpPr>
          <p:spPr>
            <a:xfrm>
              <a:off x="404812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DC5856FA-A0BA-195A-A759-928B253EF451}"/>
                </a:ext>
              </a:extLst>
            </p:cNvPr>
            <p:cNvSpPr/>
            <p:nvPr/>
          </p:nvSpPr>
          <p:spPr>
            <a:xfrm>
              <a:off x="404812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3A88F423-0441-3573-A0F1-8FC8B8934623}"/>
                </a:ext>
              </a:extLst>
            </p:cNvPr>
            <p:cNvSpPr/>
            <p:nvPr/>
          </p:nvSpPr>
          <p:spPr>
            <a:xfrm>
              <a:off x="40481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DC0501A2-2C23-430C-BD39-47DCD734D7DA}"/>
                </a:ext>
              </a:extLst>
            </p:cNvPr>
            <p:cNvSpPr/>
            <p:nvPr/>
          </p:nvSpPr>
          <p:spPr>
            <a:xfrm>
              <a:off x="404812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5" name="Freeform 664">
              <a:extLst>
                <a:ext uri="{FF2B5EF4-FFF2-40B4-BE49-F238E27FC236}">
                  <a16:creationId xmlns:a16="http://schemas.microsoft.com/office/drawing/2014/main" id="{FBA60856-9146-1337-B9EB-810E40F15863}"/>
                </a:ext>
              </a:extLst>
            </p:cNvPr>
            <p:cNvSpPr/>
            <p:nvPr/>
          </p:nvSpPr>
          <p:spPr>
            <a:xfrm>
              <a:off x="404812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6" name="Freeform 665">
              <a:extLst>
                <a:ext uri="{FF2B5EF4-FFF2-40B4-BE49-F238E27FC236}">
                  <a16:creationId xmlns:a16="http://schemas.microsoft.com/office/drawing/2014/main" id="{7D590DBE-4E9F-430D-FE3A-C23640F46C97}"/>
                </a:ext>
              </a:extLst>
            </p:cNvPr>
            <p:cNvSpPr/>
            <p:nvPr/>
          </p:nvSpPr>
          <p:spPr>
            <a:xfrm>
              <a:off x="40481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2914FB81-1422-DA9C-37C4-BF485B24DB45}"/>
                </a:ext>
              </a:extLst>
            </p:cNvPr>
            <p:cNvSpPr/>
            <p:nvPr/>
          </p:nvSpPr>
          <p:spPr>
            <a:xfrm>
              <a:off x="41529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321EDB18-695D-8F76-BF5E-5AD81B8F1E2A}"/>
                </a:ext>
              </a:extLst>
            </p:cNvPr>
            <p:cNvSpPr/>
            <p:nvPr/>
          </p:nvSpPr>
          <p:spPr>
            <a:xfrm>
              <a:off x="41529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1AEE00CF-FAE6-8DB6-A493-AA943651CE11}"/>
                </a:ext>
              </a:extLst>
            </p:cNvPr>
            <p:cNvSpPr/>
            <p:nvPr/>
          </p:nvSpPr>
          <p:spPr>
            <a:xfrm>
              <a:off x="41529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9A5CE56F-F0B8-3009-3D4C-CAEB73C3660E}"/>
                </a:ext>
              </a:extLst>
            </p:cNvPr>
            <p:cNvSpPr/>
            <p:nvPr/>
          </p:nvSpPr>
          <p:spPr>
            <a:xfrm>
              <a:off x="41529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FC02113C-83EA-165B-2D3C-017AEE948CC7}"/>
                </a:ext>
              </a:extLst>
            </p:cNvPr>
            <p:cNvSpPr/>
            <p:nvPr/>
          </p:nvSpPr>
          <p:spPr>
            <a:xfrm>
              <a:off x="415290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E6180041-FEC7-D017-6609-A0F12555FBA6}"/>
                </a:ext>
              </a:extLst>
            </p:cNvPr>
            <p:cNvSpPr/>
            <p:nvPr/>
          </p:nvSpPr>
          <p:spPr>
            <a:xfrm>
              <a:off x="41529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BD0B73D2-87F6-B5EA-36CA-00E8F056DC21}"/>
                </a:ext>
              </a:extLst>
            </p:cNvPr>
            <p:cNvSpPr/>
            <p:nvPr/>
          </p:nvSpPr>
          <p:spPr>
            <a:xfrm>
              <a:off x="415290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6B8FB31D-FEC2-1C67-B0B3-62900C23A15B}"/>
                </a:ext>
              </a:extLst>
            </p:cNvPr>
            <p:cNvSpPr/>
            <p:nvPr/>
          </p:nvSpPr>
          <p:spPr>
            <a:xfrm>
              <a:off x="415290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C7C43EBA-DA73-A5A1-9507-D9B7C87A35AE}"/>
                </a:ext>
              </a:extLst>
            </p:cNvPr>
            <p:cNvSpPr/>
            <p:nvPr/>
          </p:nvSpPr>
          <p:spPr>
            <a:xfrm>
              <a:off x="41529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6" name="Freeform 675">
              <a:extLst>
                <a:ext uri="{FF2B5EF4-FFF2-40B4-BE49-F238E27FC236}">
                  <a16:creationId xmlns:a16="http://schemas.microsoft.com/office/drawing/2014/main" id="{BB7FFD68-CDDA-9AF2-308E-8A90B2515693}"/>
                </a:ext>
              </a:extLst>
            </p:cNvPr>
            <p:cNvSpPr/>
            <p:nvPr/>
          </p:nvSpPr>
          <p:spPr>
            <a:xfrm>
              <a:off x="41529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7" name="Freeform 676">
              <a:extLst>
                <a:ext uri="{FF2B5EF4-FFF2-40B4-BE49-F238E27FC236}">
                  <a16:creationId xmlns:a16="http://schemas.microsoft.com/office/drawing/2014/main" id="{E91866F0-9193-8526-2749-5F63CADB7E5E}"/>
                </a:ext>
              </a:extLst>
            </p:cNvPr>
            <p:cNvSpPr/>
            <p:nvPr/>
          </p:nvSpPr>
          <p:spPr>
            <a:xfrm>
              <a:off x="41529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8" name="Freeform 677">
              <a:extLst>
                <a:ext uri="{FF2B5EF4-FFF2-40B4-BE49-F238E27FC236}">
                  <a16:creationId xmlns:a16="http://schemas.microsoft.com/office/drawing/2014/main" id="{6826C663-FA44-92F7-A00C-563E442ACA61}"/>
                </a:ext>
              </a:extLst>
            </p:cNvPr>
            <p:cNvSpPr/>
            <p:nvPr/>
          </p:nvSpPr>
          <p:spPr>
            <a:xfrm>
              <a:off x="425767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9" name="Freeform 678">
              <a:extLst>
                <a:ext uri="{FF2B5EF4-FFF2-40B4-BE49-F238E27FC236}">
                  <a16:creationId xmlns:a16="http://schemas.microsoft.com/office/drawing/2014/main" id="{117CC756-EBCB-C50C-38B5-516668E4AD06}"/>
                </a:ext>
              </a:extLst>
            </p:cNvPr>
            <p:cNvSpPr/>
            <p:nvPr/>
          </p:nvSpPr>
          <p:spPr>
            <a:xfrm>
              <a:off x="42576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0" name="Freeform 679">
              <a:extLst>
                <a:ext uri="{FF2B5EF4-FFF2-40B4-BE49-F238E27FC236}">
                  <a16:creationId xmlns:a16="http://schemas.microsoft.com/office/drawing/2014/main" id="{02B21AE2-55D5-AC13-5CE0-D724E91A49B5}"/>
                </a:ext>
              </a:extLst>
            </p:cNvPr>
            <p:cNvSpPr/>
            <p:nvPr/>
          </p:nvSpPr>
          <p:spPr>
            <a:xfrm>
              <a:off x="42576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1" name="Freeform 680">
              <a:extLst>
                <a:ext uri="{FF2B5EF4-FFF2-40B4-BE49-F238E27FC236}">
                  <a16:creationId xmlns:a16="http://schemas.microsoft.com/office/drawing/2014/main" id="{B598FCAA-7153-8CB2-561E-BDEBD7F98A74}"/>
                </a:ext>
              </a:extLst>
            </p:cNvPr>
            <p:cNvSpPr/>
            <p:nvPr/>
          </p:nvSpPr>
          <p:spPr>
            <a:xfrm>
              <a:off x="42576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2" name="Freeform 681">
              <a:extLst>
                <a:ext uri="{FF2B5EF4-FFF2-40B4-BE49-F238E27FC236}">
                  <a16:creationId xmlns:a16="http://schemas.microsoft.com/office/drawing/2014/main" id="{C3BA51AB-F514-2221-7E4F-18E3B8BC6403}"/>
                </a:ext>
              </a:extLst>
            </p:cNvPr>
            <p:cNvSpPr/>
            <p:nvPr/>
          </p:nvSpPr>
          <p:spPr>
            <a:xfrm>
              <a:off x="42576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3" name="Freeform 682">
              <a:extLst>
                <a:ext uri="{FF2B5EF4-FFF2-40B4-BE49-F238E27FC236}">
                  <a16:creationId xmlns:a16="http://schemas.microsoft.com/office/drawing/2014/main" id="{91D3C5C3-3D27-9A9F-81EE-9D754BD5F418}"/>
                </a:ext>
              </a:extLst>
            </p:cNvPr>
            <p:cNvSpPr/>
            <p:nvPr/>
          </p:nvSpPr>
          <p:spPr>
            <a:xfrm>
              <a:off x="425767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4" name="Freeform 683">
              <a:extLst>
                <a:ext uri="{FF2B5EF4-FFF2-40B4-BE49-F238E27FC236}">
                  <a16:creationId xmlns:a16="http://schemas.microsoft.com/office/drawing/2014/main" id="{7CE618B9-C3B2-F085-D80E-D19360D28DD1}"/>
                </a:ext>
              </a:extLst>
            </p:cNvPr>
            <p:cNvSpPr/>
            <p:nvPr/>
          </p:nvSpPr>
          <p:spPr>
            <a:xfrm>
              <a:off x="42576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5" name="Freeform 684">
              <a:extLst>
                <a:ext uri="{FF2B5EF4-FFF2-40B4-BE49-F238E27FC236}">
                  <a16:creationId xmlns:a16="http://schemas.microsoft.com/office/drawing/2014/main" id="{AFF45122-4EDE-46F3-5789-354267CDAB6D}"/>
                </a:ext>
              </a:extLst>
            </p:cNvPr>
            <p:cNvSpPr/>
            <p:nvPr/>
          </p:nvSpPr>
          <p:spPr>
            <a:xfrm>
              <a:off x="42576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6" name="Freeform 685">
              <a:extLst>
                <a:ext uri="{FF2B5EF4-FFF2-40B4-BE49-F238E27FC236}">
                  <a16:creationId xmlns:a16="http://schemas.microsoft.com/office/drawing/2014/main" id="{5EB4B7F5-73D5-9B2F-A1F7-5786DD834D7E}"/>
                </a:ext>
              </a:extLst>
            </p:cNvPr>
            <p:cNvSpPr/>
            <p:nvPr/>
          </p:nvSpPr>
          <p:spPr>
            <a:xfrm>
              <a:off x="42576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7" name="Freeform 686">
              <a:extLst>
                <a:ext uri="{FF2B5EF4-FFF2-40B4-BE49-F238E27FC236}">
                  <a16:creationId xmlns:a16="http://schemas.microsoft.com/office/drawing/2014/main" id="{4FC87F99-9871-0D9D-AE21-3DE502C03C7A}"/>
                </a:ext>
              </a:extLst>
            </p:cNvPr>
            <p:cNvSpPr/>
            <p:nvPr/>
          </p:nvSpPr>
          <p:spPr>
            <a:xfrm>
              <a:off x="42576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8" name="Freeform 687">
              <a:extLst>
                <a:ext uri="{FF2B5EF4-FFF2-40B4-BE49-F238E27FC236}">
                  <a16:creationId xmlns:a16="http://schemas.microsoft.com/office/drawing/2014/main" id="{F99774C6-6641-BC95-8051-AF2FF9DCD90B}"/>
                </a:ext>
              </a:extLst>
            </p:cNvPr>
            <p:cNvSpPr/>
            <p:nvPr/>
          </p:nvSpPr>
          <p:spPr>
            <a:xfrm>
              <a:off x="425767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9" name="Freeform 688">
              <a:extLst>
                <a:ext uri="{FF2B5EF4-FFF2-40B4-BE49-F238E27FC236}">
                  <a16:creationId xmlns:a16="http://schemas.microsoft.com/office/drawing/2014/main" id="{6C5CA19D-B0C2-AD56-4D00-F7FC34383320}"/>
                </a:ext>
              </a:extLst>
            </p:cNvPr>
            <p:cNvSpPr/>
            <p:nvPr/>
          </p:nvSpPr>
          <p:spPr>
            <a:xfrm>
              <a:off x="42576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0" name="Freeform 689">
              <a:extLst>
                <a:ext uri="{FF2B5EF4-FFF2-40B4-BE49-F238E27FC236}">
                  <a16:creationId xmlns:a16="http://schemas.microsoft.com/office/drawing/2014/main" id="{16DA7CAC-537B-FE6B-A268-8D2A1773E24B}"/>
                </a:ext>
              </a:extLst>
            </p:cNvPr>
            <p:cNvSpPr/>
            <p:nvPr/>
          </p:nvSpPr>
          <p:spPr>
            <a:xfrm>
              <a:off x="425767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1" name="Freeform 690">
              <a:extLst>
                <a:ext uri="{FF2B5EF4-FFF2-40B4-BE49-F238E27FC236}">
                  <a16:creationId xmlns:a16="http://schemas.microsoft.com/office/drawing/2014/main" id="{1D85F46D-981E-4A9B-AFF0-F89CA271EBA3}"/>
                </a:ext>
              </a:extLst>
            </p:cNvPr>
            <p:cNvSpPr/>
            <p:nvPr/>
          </p:nvSpPr>
          <p:spPr>
            <a:xfrm>
              <a:off x="42576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2" name="Freeform 691">
              <a:extLst>
                <a:ext uri="{FF2B5EF4-FFF2-40B4-BE49-F238E27FC236}">
                  <a16:creationId xmlns:a16="http://schemas.microsoft.com/office/drawing/2014/main" id="{1BD7BDF4-479B-64CE-339B-DCAB2324B0F5}"/>
                </a:ext>
              </a:extLst>
            </p:cNvPr>
            <p:cNvSpPr/>
            <p:nvPr/>
          </p:nvSpPr>
          <p:spPr>
            <a:xfrm>
              <a:off x="43624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3" name="Freeform 692">
              <a:extLst>
                <a:ext uri="{FF2B5EF4-FFF2-40B4-BE49-F238E27FC236}">
                  <a16:creationId xmlns:a16="http://schemas.microsoft.com/office/drawing/2014/main" id="{5AB5A4C1-0896-BAD8-3098-932E5359302E}"/>
                </a:ext>
              </a:extLst>
            </p:cNvPr>
            <p:cNvSpPr/>
            <p:nvPr/>
          </p:nvSpPr>
          <p:spPr>
            <a:xfrm>
              <a:off x="43624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4" name="Freeform 693">
              <a:extLst>
                <a:ext uri="{FF2B5EF4-FFF2-40B4-BE49-F238E27FC236}">
                  <a16:creationId xmlns:a16="http://schemas.microsoft.com/office/drawing/2014/main" id="{CA02E0E7-55CB-9D06-ED3E-062182EC35BE}"/>
                </a:ext>
              </a:extLst>
            </p:cNvPr>
            <p:cNvSpPr/>
            <p:nvPr/>
          </p:nvSpPr>
          <p:spPr>
            <a:xfrm>
              <a:off x="43624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5" name="Freeform 694">
              <a:extLst>
                <a:ext uri="{FF2B5EF4-FFF2-40B4-BE49-F238E27FC236}">
                  <a16:creationId xmlns:a16="http://schemas.microsoft.com/office/drawing/2014/main" id="{7334B53A-A9B6-B6F1-FF60-C2305DCB3F14}"/>
                </a:ext>
              </a:extLst>
            </p:cNvPr>
            <p:cNvSpPr/>
            <p:nvPr/>
          </p:nvSpPr>
          <p:spPr>
            <a:xfrm>
              <a:off x="43624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6" name="Freeform 695">
              <a:extLst>
                <a:ext uri="{FF2B5EF4-FFF2-40B4-BE49-F238E27FC236}">
                  <a16:creationId xmlns:a16="http://schemas.microsoft.com/office/drawing/2014/main" id="{6EFD96C6-C842-F770-D58D-E05D37644611}"/>
                </a:ext>
              </a:extLst>
            </p:cNvPr>
            <p:cNvSpPr/>
            <p:nvPr/>
          </p:nvSpPr>
          <p:spPr>
            <a:xfrm>
              <a:off x="436245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7" name="Freeform 696">
              <a:extLst>
                <a:ext uri="{FF2B5EF4-FFF2-40B4-BE49-F238E27FC236}">
                  <a16:creationId xmlns:a16="http://schemas.microsoft.com/office/drawing/2014/main" id="{599789A8-0056-F145-3D9D-88AFF2ADF801}"/>
                </a:ext>
              </a:extLst>
            </p:cNvPr>
            <p:cNvSpPr/>
            <p:nvPr/>
          </p:nvSpPr>
          <p:spPr>
            <a:xfrm>
              <a:off x="43624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8" name="Freeform 697">
              <a:extLst>
                <a:ext uri="{FF2B5EF4-FFF2-40B4-BE49-F238E27FC236}">
                  <a16:creationId xmlns:a16="http://schemas.microsoft.com/office/drawing/2014/main" id="{C531B531-7B73-DBEF-F171-6D6089A2C511}"/>
                </a:ext>
              </a:extLst>
            </p:cNvPr>
            <p:cNvSpPr/>
            <p:nvPr/>
          </p:nvSpPr>
          <p:spPr>
            <a:xfrm>
              <a:off x="43624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9" name="Freeform 698">
              <a:extLst>
                <a:ext uri="{FF2B5EF4-FFF2-40B4-BE49-F238E27FC236}">
                  <a16:creationId xmlns:a16="http://schemas.microsoft.com/office/drawing/2014/main" id="{3D91C1EA-63A4-7E92-3BF1-B8CD89362BE9}"/>
                </a:ext>
              </a:extLst>
            </p:cNvPr>
            <p:cNvSpPr/>
            <p:nvPr/>
          </p:nvSpPr>
          <p:spPr>
            <a:xfrm>
              <a:off x="43624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0" name="Freeform 699">
              <a:extLst>
                <a:ext uri="{FF2B5EF4-FFF2-40B4-BE49-F238E27FC236}">
                  <a16:creationId xmlns:a16="http://schemas.microsoft.com/office/drawing/2014/main" id="{DB766E39-DC90-8679-E5B7-0899ADF1C8B8}"/>
                </a:ext>
              </a:extLst>
            </p:cNvPr>
            <p:cNvSpPr/>
            <p:nvPr/>
          </p:nvSpPr>
          <p:spPr>
            <a:xfrm>
              <a:off x="436245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1" name="Freeform 700">
              <a:extLst>
                <a:ext uri="{FF2B5EF4-FFF2-40B4-BE49-F238E27FC236}">
                  <a16:creationId xmlns:a16="http://schemas.microsoft.com/office/drawing/2014/main" id="{2D23B809-7229-000A-57E2-FFB3E713CBA5}"/>
                </a:ext>
              </a:extLst>
            </p:cNvPr>
            <p:cNvSpPr/>
            <p:nvPr/>
          </p:nvSpPr>
          <p:spPr>
            <a:xfrm>
              <a:off x="43624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2" name="Freeform 701">
              <a:extLst>
                <a:ext uri="{FF2B5EF4-FFF2-40B4-BE49-F238E27FC236}">
                  <a16:creationId xmlns:a16="http://schemas.microsoft.com/office/drawing/2014/main" id="{C9786896-3BEF-109D-F621-C513E8B127F8}"/>
                </a:ext>
              </a:extLst>
            </p:cNvPr>
            <p:cNvSpPr/>
            <p:nvPr/>
          </p:nvSpPr>
          <p:spPr>
            <a:xfrm>
              <a:off x="44672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3" name="Freeform 702">
              <a:extLst>
                <a:ext uri="{FF2B5EF4-FFF2-40B4-BE49-F238E27FC236}">
                  <a16:creationId xmlns:a16="http://schemas.microsoft.com/office/drawing/2014/main" id="{593D5D84-7159-890B-6F7B-30EEE1816FB2}"/>
                </a:ext>
              </a:extLst>
            </p:cNvPr>
            <p:cNvSpPr/>
            <p:nvPr/>
          </p:nvSpPr>
          <p:spPr>
            <a:xfrm>
              <a:off x="44672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4" name="Freeform 703">
              <a:extLst>
                <a:ext uri="{FF2B5EF4-FFF2-40B4-BE49-F238E27FC236}">
                  <a16:creationId xmlns:a16="http://schemas.microsoft.com/office/drawing/2014/main" id="{5F23FF36-5643-BA25-C788-23C8FB9D1BF1}"/>
                </a:ext>
              </a:extLst>
            </p:cNvPr>
            <p:cNvSpPr/>
            <p:nvPr/>
          </p:nvSpPr>
          <p:spPr>
            <a:xfrm>
              <a:off x="44672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5" name="Freeform 704">
              <a:extLst>
                <a:ext uri="{FF2B5EF4-FFF2-40B4-BE49-F238E27FC236}">
                  <a16:creationId xmlns:a16="http://schemas.microsoft.com/office/drawing/2014/main" id="{FF9C0403-E0CB-03FC-EABE-7CAD344F7A8E}"/>
                </a:ext>
              </a:extLst>
            </p:cNvPr>
            <p:cNvSpPr/>
            <p:nvPr/>
          </p:nvSpPr>
          <p:spPr>
            <a:xfrm>
              <a:off x="44672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6" name="Freeform 705">
              <a:extLst>
                <a:ext uri="{FF2B5EF4-FFF2-40B4-BE49-F238E27FC236}">
                  <a16:creationId xmlns:a16="http://schemas.microsoft.com/office/drawing/2014/main" id="{9637DEB4-1A18-B41D-67FB-68C175155043}"/>
                </a:ext>
              </a:extLst>
            </p:cNvPr>
            <p:cNvSpPr/>
            <p:nvPr/>
          </p:nvSpPr>
          <p:spPr>
            <a:xfrm>
              <a:off x="44672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7" name="Freeform 706">
              <a:extLst>
                <a:ext uri="{FF2B5EF4-FFF2-40B4-BE49-F238E27FC236}">
                  <a16:creationId xmlns:a16="http://schemas.microsoft.com/office/drawing/2014/main" id="{3BD7430D-E0DD-B596-5181-35A09FE0FD95}"/>
                </a:ext>
              </a:extLst>
            </p:cNvPr>
            <p:cNvSpPr/>
            <p:nvPr/>
          </p:nvSpPr>
          <p:spPr>
            <a:xfrm>
              <a:off x="446722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8" name="Freeform 707">
              <a:extLst>
                <a:ext uri="{FF2B5EF4-FFF2-40B4-BE49-F238E27FC236}">
                  <a16:creationId xmlns:a16="http://schemas.microsoft.com/office/drawing/2014/main" id="{A50FC9C7-07EE-DB63-06A7-1363D89CF7B7}"/>
                </a:ext>
              </a:extLst>
            </p:cNvPr>
            <p:cNvSpPr/>
            <p:nvPr/>
          </p:nvSpPr>
          <p:spPr>
            <a:xfrm>
              <a:off x="446722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9" name="Freeform 708">
              <a:extLst>
                <a:ext uri="{FF2B5EF4-FFF2-40B4-BE49-F238E27FC236}">
                  <a16:creationId xmlns:a16="http://schemas.microsoft.com/office/drawing/2014/main" id="{A4E887CF-3EE4-9244-F321-C4F9C0EBF6C3}"/>
                </a:ext>
              </a:extLst>
            </p:cNvPr>
            <p:cNvSpPr/>
            <p:nvPr/>
          </p:nvSpPr>
          <p:spPr>
            <a:xfrm>
              <a:off x="44672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0" name="Freeform 709">
              <a:extLst>
                <a:ext uri="{FF2B5EF4-FFF2-40B4-BE49-F238E27FC236}">
                  <a16:creationId xmlns:a16="http://schemas.microsoft.com/office/drawing/2014/main" id="{462667D4-CAE7-274C-DC02-2E51FF6C8B0C}"/>
                </a:ext>
              </a:extLst>
            </p:cNvPr>
            <p:cNvSpPr/>
            <p:nvPr/>
          </p:nvSpPr>
          <p:spPr>
            <a:xfrm>
              <a:off x="44672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1" name="Freeform 710">
              <a:extLst>
                <a:ext uri="{FF2B5EF4-FFF2-40B4-BE49-F238E27FC236}">
                  <a16:creationId xmlns:a16="http://schemas.microsoft.com/office/drawing/2014/main" id="{857CCD6E-DB73-973A-DAE1-A283C76E17D5}"/>
                </a:ext>
              </a:extLst>
            </p:cNvPr>
            <p:cNvSpPr/>
            <p:nvPr/>
          </p:nvSpPr>
          <p:spPr>
            <a:xfrm>
              <a:off x="44672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2" name="Freeform 711">
              <a:extLst>
                <a:ext uri="{FF2B5EF4-FFF2-40B4-BE49-F238E27FC236}">
                  <a16:creationId xmlns:a16="http://schemas.microsoft.com/office/drawing/2014/main" id="{CB3CC791-39AC-DE63-D1E0-75E22D8A10FB}"/>
                </a:ext>
              </a:extLst>
            </p:cNvPr>
            <p:cNvSpPr/>
            <p:nvPr/>
          </p:nvSpPr>
          <p:spPr>
            <a:xfrm>
              <a:off x="446722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3" name="Freeform 712">
              <a:extLst>
                <a:ext uri="{FF2B5EF4-FFF2-40B4-BE49-F238E27FC236}">
                  <a16:creationId xmlns:a16="http://schemas.microsoft.com/office/drawing/2014/main" id="{9EDE1D59-F396-F32C-D829-5270AAC5A5F5}"/>
                </a:ext>
              </a:extLst>
            </p:cNvPr>
            <p:cNvSpPr/>
            <p:nvPr/>
          </p:nvSpPr>
          <p:spPr>
            <a:xfrm>
              <a:off x="44672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4" name="Freeform 713">
              <a:extLst>
                <a:ext uri="{FF2B5EF4-FFF2-40B4-BE49-F238E27FC236}">
                  <a16:creationId xmlns:a16="http://schemas.microsoft.com/office/drawing/2014/main" id="{2D2F6881-C72A-9C5C-099C-C473AF7C5BBE}"/>
                </a:ext>
              </a:extLst>
            </p:cNvPr>
            <p:cNvSpPr/>
            <p:nvPr/>
          </p:nvSpPr>
          <p:spPr>
            <a:xfrm>
              <a:off x="44672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5" name="Freeform 714">
              <a:extLst>
                <a:ext uri="{FF2B5EF4-FFF2-40B4-BE49-F238E27FC236}">
                  <a16:creationId xmlns:a16="http://schemas.microsoft.com/office/drawing/2014/main" id="{B4677C2A-7C00-5E1C-998C-EA3B6CCC4685}"/>
                </a:ext>
              </a:extLst>
            </p:cNvPr>
            <p:cNvSpPr/>
            <p:nvPr/>
          </p:nvSpPr>
          <p:spPr>
            <a:xfrm>
              <a:off x="44672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6" name="Freeform 715">
              <a:extLst>
                <a:ext uri="{FF2B5EF4-FFF2-40B4-BE49-F238E27FC236}">
                  <a16:creationId xmlns:a16="http://schemas.microsoft.com/office/drawing/2014/main" id="{79ADEE90-88FF-2E4E-0328-D2EF1F058EE1}"/>
                </a:ext>
              </a:extLst>
            </p:cNvPr>
            <p:cNvSpPr/>
            <p:nvPr/>
          </p:nvSpPr>
          <p:spPr>
            <a:xfrm>
              <a:off x="45720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7" name="Freeform 716">
              <a:extLst>
                <a:ext uri="{FF2B5EF4-FFF2-40B4-BE49-F238E27FC236}">
                  <a16:creationId xmlns:a16="http://schemas.microsoft.com/office/drawing/2014/main" id="{32DA7A06-B0FD-C5A2-EA19-032D32911BEA}"/>
                </a:ext>
              </a:extLst>
            </p:cNvPr>
            <p:cNvSpPr/>
            <p:nvPr/>
          </p:nvSpPr>
          <p:spPr>
            <a:xfrm>
              <a:off x="45720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8" name="Freeform 717">
              <a:extLst>
                <a:ext uri="{FF2B5EF4-FFF2-40B4-BE49-F238E27FC236}">
                  <a16:creationId xmlns:a16="http://schemas.microsoft.com/office/drawing/2014/main" id="{19F0CD1B-254F-0B66-83E9-1FC04BDF255E}"/>
                </a:ext>
              </a:extLst>
            </p:cNvPr>
            <p:cNvSpPr/>
            <p:nvPr/>
          </p:nvSpPr>
          <p:spPr>
            <a:xfrm>
              <a:off x="45720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9" name="Freeform 718">
              <a:extLst>
                <a:ext uri="{FF2B5EF4-FFF2-40B4-BE49-F238E27FC236}">
                  <a16:creationId xmlns:a16="http://schemas.microsoft.com/office/drawing/2014/main" id="{30CD2F9A-0263-EBB9-4C7F-46E8B56E268F}"/>
                </a:ext>
              </a:extLst>
            </p:cNvPr>
            <p:cNvSpPr/>
            <p:nvPr/>
          </p:nvSpPr>
          <p:spPr>
            <a:xfrm>
              <a:off x="45720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0" name="Freeform 719">
              <a:extLst>
                <a:ext uri="{FF2B5EF4-FFF2-40B4-BE49-F238E27FC236}">
                  <a16:creationId xmlns:a16="http://schemas.microsoft.com/office/drawing/2014/main" id="{584567C0-0DE2-A032-8412-65ACA4D62A9B}"/>
                </a:ext>
              </a:extLst>
            </p:cNvPr>
            <p:cNvSpPr/>
            <p:nvPr/>
          </p:nvSpPr>
          <p:spPr>
            <a:xfrm>
              <a:off x="45720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1" name="Freeform 720">
              <a:extLst>
                <a:ext uri="{FF2B5EF4-FFF2-40B4-BE49-F238E27FC236}">
                  <a16:creationId xmlns:a16="http://schemas.microsoft.com/office/drawing/2014/main" id="{B6EE382F-174D-994A-144C-729978018FB1}"/>
                </a:ext>
              </a:extLst>
            </p:cNvPr>
            <p:cNvSpPr/>
            <p:nvPr/>
          </p:nvSpPr>
          <p:spPr>
            <a:xfrm>
              <a:off x="457200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2" name="Freeform 721">
              <a:extLst>
                <a:ext uri="{FF2B5EF4-FFF2-40B4-BE49-F238E27FC236}">
                  <a16:creationId xmlns:a16="http://schemas.microsoft.com/office/drawing/2014/main" id="{A2B2D837-9659-8EF8-56B6-07DD13A41882}"/>
                </a:ext>
              </a:extLst>
            </p:cNvPr>
            <p:cNvSpPr/>
            <p:nvPr/>
          </p:nvSpPr>
          <p:spPr>
            <a:xfrm>
              <a:off x="45720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3" name="Freeform 722">
              <a:extLst>
                <a:ext uri="{FF2B5EF4-FFF2-40B4-BE49-F238E27FC236}">
                  <a16:creationId xmlns:a16="http://schemas.microsoft.com/office/drawing/2014/main" id="{CD21BD5B-D67B-F336-A518-9C0650DC4EBC}"/>
                </a:ext>
              </a:extLst>
            </p:cNvPr>
            <p:cNvSpPr/>
            <p:nvPr/>
          </p:nvSpPr>
          <p:spPr>
            <a:xfrm>
              <a:off x="45720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4" name="Freeform 723">
              <a:extLst>
                <a:ext uri="{FF2B5EF4-FFF2-40B4-BE49-F238E27FC236}">
                  <a16:creationId xmlns:a16="http://schemas.microsoft.com/office/drawing/2014/main" id="{B3BE8D49-EF68-8C22-0A56-72EC9CDB4C68}"/>
                </a:ext>
              </a:extLst>
            </p:cNvPr>
            <p:cNvSpPr/>
            <p:nvPr/>
          </p:nvSpPr>
          <p:spPr>
            <a:xfrm>
              <a:off x="457200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5" name="Freeform 724">
              <a:extLst>
                <a:ext uri="{FF2B5EF4-FFF2-40B4-BE49-F238E27FC236}">
                  <a16:creationId xmlns:a16="http://schemas.microsoft.com/office/drawing/2014/main" id="{22C6200C-F376-A77A-8047-B287A3CBA6A1}"/>
                </a:ext>
              </a:extLst>
            </p:cNvPr>
            <p:cNvSpPr/>
            <p:nvPr/>
          </p:nvSpPr>
          <p:spPr>
            <a:xfrm>
              <a:off x="45720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6" name="Freeform 725">
              <a:extLst>
                <a:ext uri="{FF2B5EF4-FFF2-40B4-BE49-F238E27FC236}">
                  <a16:creationId xmlns:a16="http://schemas.microsoft.com/office/drawing/2014/main" id="{ABAB7051-A3CC-AC45-AF68-78E4396840C2}"/>
                </a:ext>
              </a:extLst>
            </p:cNvPr>
            <p:cNvSpPr/>
            <p:nvPr/>
          </p:nvSpPr>
          <p:spPr>
            <a:xfrm>
              <a:off x="45720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7" name="Freeform 726">
              <a:extLst>
                <a:ext uri="{FF2B5EF4-FFF2-40B4-BE49-F238E27FC236}">
                  <a16:creationId xmlns:a16="http://schemas.microsoft.com/office/drawing/2014/main" id="{9E3F2818-A0C5-2D01-3C1A-F2B5C01C0A79}"/>
                </a:ext>
              </a:extLst>
            </p:cNvPr>
            <p:cNvSpPr/>
            <p:nvPr/>
          </p:nvSpPr>
          <p:spPr>
            <a:xfrm>
              <a:off x="45720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8" name="Freeform 727">
              <a:extLst>
                <a:ext uri="{FF2B5EF4-FFF2-40B4-BE49-F238E27FC236}">
                  <a16:creationId xmlns:a16="http://schemas.microsoft.com/office/drawing/2014/main" id="{6424022D-7478-05C8-279A-E14E6CABEA5B}"/>
                </a:ext>
              </a:extLst>
            </p:cNvPr>
            <p:cNvSpPr/>
            <p:nvPr/>
          </p:nvSpPr>
          <p:spPr>
            <a:xfrm>
              <a:off x="45720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9" name="Freeform 728">
              <a:extLst>
                <a:ext uri="{FF2B5EF4-FFF2-40B4-BE49-F238E27FC236}">
                  <a16:creationId xmlns:a16="http://schemas.microsoft.com/office/drawing/2014/main" id="{E184E243-AA7B-DDDD-806E-4A64BD3DBD9C}"/>
                </a:ext>
              </a:extLst>
            </p:cNvPr>
            <p:cNvSpPr/>
            <p:nvPr/>
          </p:nvSpPr>
          <p:spPr>
            <a:xfrm>
              <a:off x="46767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0" name="Freeform 729">
              <a:extLst>
                <a:ext uri="{FF2B5EF4-FFF2-40B4-BE49-F238E27FC236}">
                  <a16:creationId xmlns:a16="http://schemas.microsoft.com/office/drawing/2014/main" id="{57404785-5DAF-940F-7284-7B816523B6FF}"/>
                </a:ext>
              </a:extLst>
            </p:cNvPr>
            <p:cNvSpPr/>
            <p:nvPr/>
          </p:nvSpPr>
          <p:spPr>
            <a:xfrm>
              <a:off x="46767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1" name="Freeform 730">
              <a:extLst>
                <a:ext uri="{FF2B5EF4-FFF2-40B4-BE49-F238E27FC236}">
                  <a16:creationId xmlns:a16="http://schemas.microsoft.com/office/drawing/2014/main" id="{0AF5924F-DEFA-4678-36C3-5B87614C3960}"/>
                </a:ext>
              </a:extLst>
            </p:cNvPr>
            <p:cNvSpPr/>
            <p:nvPr/>
          </p:nvSpPr>
          <p:spPr>
            <a:xfrm>
              <a:off x="46767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2" name="Freeform 731">
              <a:extLst>
                <a:ext uri="{FF2B5EF4-FFF2-40B4-BE49-F238E27FC236}">
                  <a16:creationId xmlns:a16="http://schemas.microsoft.com/office/drawing/2014/main" id="{46C6ED03-9F29-9922-B0EF-41F490681C41}"/>
                </a:ext>
              </a:extLst>
            </p:cNvPr>
            <p:cNvSpPr/>
            <p:nvPr/>
          </p:nvSpPr>
          <p:spPr>
            <a:xfrm>
              <a:off x="46767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3" name="Freeform 732">
              <a:extLst>
                <a:ext uri="{FF2B5EF4-FFF2-40B4-BE49-F238E27FC236}">
                  <a16:creationId xmlns:a16="http://schemas.microsoft.com/office/drawing/2014/main" id="{490DF3EC-2D02-FF7D-A8A0-B6B187E2EFF5}"/>
                </a:ext>
              </a:extLst>
            </p:cNvPr>
            <p:cNvSpPr/>
            <p:nvPr/>
          </p:nvSpPr>
          <p:spPr>
            <a:xfrm>
              <a:off x="46767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4" name="Freeform 733">
              <a:extLst>
                <a:ext uri="{FF2B5EF4-FFF2-40B4-BE49-F238E27FC236}">
                  <a16:creationId xmlns:a16="http://schemas.microsoft.com/office/drawing/2014/main" id="{53AA961D-E454-5DE7-E12E-9F889DF763E6}"/>
                </a:ext>
              </a:extLst>
            </p:cNvPr>
            <p:cNvSpPr/>
            <p:nvPr/>
          </p:nvSpPr>
          <p:spPr>
            <a:xfrm>
              <a:off x="46767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5" name="Freeform 734">
              <a:extLst>
                <a:ext uri="{FF2B5EF4-FFF2-40B4-BE49-F238E27FC236}">
                  <a16:creationId xmlns:a16="http://schemas.microsoft.com/office/drawing/2014/main" id="{23F763FF-5E4D-03DF-CA4E-8B6AA96161F5}"/>
                </a:ext>
              </a:extLst>
            </p:cNvPr>
            <p:cNvSpPr/>
            <p:nvPr/>
          </p:nvSpPr>
          <p:spPr>
            <a:xfrm>
              <a:off x="46767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6" name="Freeform 735">
              <a:extLst>
                <a:ext uri="{FF2B5EF4-FFF2-40B4-BE49-F238E27FC236}">
                  <a16:creationId xmlns:a16="http://schemas.microsoft.com/office/drawing/2014/main" id="{9D1B00D6-A078-A647-EC63-AD6898005556}"/>
                </a:ext>
              </a:extLst>
            </p:cNvPr>
            <p:cNvSpPr/>
            <p:nvPr/>
          </p:nvSpPr>
          <p:spPr>
            <a:xfrm>
              <a:off x="46767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7" name="Freeform 736">
              <a:extLst>
                <a:ext uri="{FF2B5EF4-FFF2-40B4-BE49-F238E27FC236}">
                  <a16:creationId xmlns:a16="http://schemas.microsoft.com/office/drawing/2014/main" id="{9C1A1C7B-03BA-5394-2D32-3F5B000F24B4}"/>
                </a:ext>
              </a:extLst>
            </p:cNvPr>
            <p:cNvSpPr/>
            <p:nvPr/>
          </p:nvSpPr>
          <p:spPr>
            <a:xfrm>
              <a:off x="46767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8" name="Freeform 737">
              <a:extLst>
                <a:ext uri="{FF2B5EF4-FFF2-40B4-BE49-F238E27FC236}">
                  <a16:creationId xmlns:a16="http://schemas.microsoft.com/office/drawing/2014/main" id="{1AA3D127-C5A3-8C9A-94C4-2EB9DCC0A0A0}"/>
                </a:ext>
              </a:extLst>
            </p:cNvPr>
            <p:cNvSpPr/>
            <p:nvPr/>
          </p:nvSpPr>
          <p:spPr>
            <a:xfrm>
              <a:off x="46767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9" name="Freeform 738">
              <a:extLst>
                <a:ext uri="{FF2B5EF4-FFF2-40B4-BE49-F238E27FC236}">
                  <a16:creationId xmlns:a16="http://schemas.microsoft.com/office/drawing/2014/main" id="{DF436693-19C2-C11F-F814-9EAE636E4F9F}"/>
                </a:ext>
              </a:extLst>
            </p:cNvPr>
            <p:cNvSpPr/>
            <p:nvPr/>
          </p:nvSpPr>
          <p:spPr>
            <a:xfrm>
              <a:off x="47815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0" name="Freeform 739">
              <a:extLst>
                <a:ext uri="{FF2B5EF4-FFF2-40B4-BE49-F238E27FC236}">
                  <a16:creationId xmlns:a16="http://schemas.microsoft.com/office/drawing/2014/main" id="{D7C1C009-A2E4-E616-9CCB-5A38B86851BC}"/>
                </a:ext>
              </a:extLst>
            </p:cNvPr>
            <p:cNvSpPr/>
            <p:nvPr/>
          </p:nvSpPr>
          <p:spPr>
            <a:xfrm>
              <a:off x="47815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1" name="Freeform 740">
              <a:extLst>
                <a:ext uri="{FF2B5EF4-FFF2-40B4-BE49-F238E27FC236}">
                  <a16:creationId xmlns:a16="http://schemas.microsoft.com/office/drawing/2014/main" id="{C772FF5B-0317-22D9-9023-3EF161BB60D9}"/>
                </a:ext>
              </a:extLst>
            </p:cNvPr>
            <p:cNvSpPr/>
            <p:nvPr/>
          </p:nvSpPr>
          <p:spPr>
            <a:xfrm>
              <a:off x="47815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2" name="Freeform 741">
              <a:extLst>
                <a:ext uri="{FF2B5EF4-FFF2-40B4-BE49-F238E27FC236}">
                  <a16:creationId xmlns:a16="http://schemas.microsoft.com/office/drawing/2014/main" id="{5D220CA4-0E69-9A40-EE48-E87A50CFBD01}"/>
                </a:ext>
              </a:extLst>
            </p:cNvPr>
            <p:cNvSpPr/>
            <p:nvPr/>
          </p:nvSpPr>
          <p:spPr>
            <a:xfrm>
              <a:off x="47815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3" name="Freeform 742">
              <a:extLst>
                <a:ext uri="{FF2B5EF4-FFF2-40B4-BE49-F238E27FC236}">
                  <a16:creationId xmlns:a16="http://schemas.microsoft.com/office/drawing/2014/main" id="{EF7671C4-59C7-40B6-6E1E-D070926CBC3A}"/>
                </a:ext>
              </a:extLst>
            </p:cNvPr>
            <p:cNvSpPr/>
            <p:nvPr/>
          </p:nvSpPr>
          <p:spPr>
            <a:xfrm>
              <a:off x="47815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4" name="Freeform 743">
              <a:extLst>
                <a:ext uri="{FF2B5EF4-FFF2-40B4-BE49-F238E27FC236}">
                  <a16:creationId xmlns:a16="http://schemas.microsoft.com/office/drawing/2014/main" id="{422BE517-9993-85A5-FEC8-4982A87FA704}"/>
                </a:ext>
              </a:extLst>
            </p:cNvPr>
            <p:cNvSpPr/>
            <p:nvPr/>
          </p:nvSpPr>
          <p:spPr>
            <a:xfrm>
              <a:off x="47815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5" name="Freeform 744">
              <a:extLst>
                <a:ext uri="{FF2B5EF4-FFF2-40B4-BE49-F238E27FC236}">
                  <a16:creationId xmlns:a16="http://schemas.microsoft.com/office/drawing/2014/main" id="{918E35E5-43E5-2B5F-332E-37925A7AD54B}"/>
                </a:ext>
              </a:extLst>
            </p:cNvPr>
            <p:cNvSpPr/>
            <p:nvPr/>
          </p:nvSpPr>
          <p:spPr>
            <a:xfrm>
              <a:off x="47815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6" name="Freeform 745">
              <a:extLst>
                <a:ext uri="{FF2B5EF4-FFF2-40B4-BE49-F238E27FC236}">
                  <a16:creationId xmlns:a16="http://schemas.microsoft.com/office/drawing/2014/main" id="{76AE07F9-38FB-12FA-72F3-D751284561C5}"/>
                </a:ext>
              </a:extLst>
            </p:cNvPr>
            <p:cNvSpPr/>
            <p:nvPr/>
          </p:nvSpPr>
          <p:spPr>
            <a:xfrm>
              <a:off x="47815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7" name="Freeform 746">
              <a:extLst>
                <a:ext uri="{FF2B5EF4-FFF2-40B4-BE49-F238E27FC236}">
                  <a16:creationId xmlns:a16="http://schemas.microsoft.com/office/drawing/2014/main" id="{BA2DF779-73A9-9B43-05F6-084965EC786E}"/>
                </a:ext>
              </a:extLst>
            </p:cNvPr>
            <p:cNvSpPr/>
            <p:nvPr/>
          </p:nvSpPr>
          <p:spPr>
            <a:xfrm>
              <a:off x="47815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8" name="Freeform 747">
              <a:extLst>
                <a:ext uri="{FF2B5EF4-FFF2-40B4-BE49-F238E27FC236}">
                  <a16:creationId xmlns:a16="http://schemas.microsoft.com/office/drawing/2014/main" id="{B43CA7B5-D037-1737-944E-5A25406B3694}"/>
                </a:ext>
              </a:extLst>
            </p:cNvPr>
            <p:cNvSpPr/>
            <p:nvPr/>
          </p:nvSpPr>
          <p:spPr>
            <a:xfrm>
              <a:off x="47815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9" name="Freeform 748">
              <a:extLst>
                <a:ext uri="{FF2B5EF4-FFF2-40B4-BE49-F238E27FC236}">
                  <a16:creationId xmlns:a16="http://schemas.microsoft.com/office/drawing/2014/main" id="{535EC94F-BE7A-E99D-72CB-40156AD2684D}"/>
                </a:ext>
              </a:extLst>
            </p:cNvPr>
            <p:cNvSpPr/>
            <p:nvPr/>
          </p:nvSpPr>
          <p:spPr>
            <a:xfrm>
              <a:off x="47815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0" name="Freeform 749">
              <a:extLst>
                <a:ext uri="{FF2B5EF4-FFF2-40B4-BE49-F238E27FC236}">
                  <a16:creationId xmlns:a16="http://schemas.microsoft.com/office/drawing/2014/main" id="{40AC7689-E369-55CC-68E5-6CFF2CD898CC}"/>
                </a:ext>
              </a:extLst>
            </p:cNvPr>
            <p:cNvSpPr/>
            <p:nvPr/>
          </p:nvSpPr>
          <p:spPr>
            <a:xfrm>
              <a:off x="47815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1" name="Freeform 750">
              <a:extLst>
                <a:ext uri="{FF2B5EF4-FFF2-40B4-BE49-F238E27FC236}">
                  <a16:creationId xmlns:a16="http://schemas.microsoft.com/office/drawing/2014/main" id="{E94A179F-BEF6-5ED8-37A0-D7F302B474A2}"/>
                </a:ext>
              </a:extLst>
            </p:cNvPr>
            <p:cNvSpPr/>
            <p:nvPr/>
          </p:nvSpPr>
          <p:spPr>
            <a:xfrm>
              <a:off x="47815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2" name="Freeform 751">
              <a:extLst>
                <a:ext uri="{FF2B5EF4-FFF2-40B4-BE49-F238E27FC236}">
                  <a16:creationId xmlns:a16="http://schemas.microsoft.com/office/drawing/2014/main" id="{915574C9-F3A1-F4ED-6B1E-B146BB32C7BD}"/>
                </a:ext>
              </a:extLst>
            </p:cNvPr>
            <p:cNvSpPr/>
            <p:nvPr/>
          </p:nvSpPr>
          <p:spPr>
            <a:xfrm>
              <a:off x="47815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3" name="Freeform 752">
              <a:extLst>
                <a:ext uri="{FF2B5EF4-FFF2-40B4-BE49-F238E27FC236}">
                  <a16:creationId xmlns:a16="http://schemas.microsoft.com/office/drawing/2014/main" id="{421EA54E-4C32-38E4-5117-A743B2F77C13}"/>
                </a:ext>
              </a:extLst>
            </p:cNvPr>
            <p:cNvSpPr/>
            <p:nvPr/>
          </p:nvSpPr>
          <p:spPr>
            <a:xfrm>
              <a:off x="47815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4" name="Freeform 753">
              <a:extLst>
                <a:ext uri="{FF2B5EF4-FFF2-40B4-BE49-F238E27FC236}">
                  <a16:creationId xmlns:a16="http://schemas.microsoft.com/office/drawing/2014/main" id="{AE25F532-287C-441F-897A-34E518B4F947}"/>
                </a:ext>
              </a:extLst>
            </p:cNvPr>
            <p:cNvSpPr/>
            <p:nvPr/>
          </p:nvSpPr>
          <p:spPr>
            <a:xfrm>
              <a:off x="478155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5" name="Freeform 754">
              <a:extLst>
                <a:ext uri="{FF2B5EF4-FFF2-40B4-BE49-F238E27FC236}">
                  <a16:creationId xmlns:a16="http://schemas.microsoft.com/office/drawing/2014/main" id="{8BACDC10-081F-1D16-7253-85203AC7F740}"/>
                </a:ext>
              </a:extLst>
            </p:cNvPr>
            <p:cNvSpPr/>
            <p:nvPr/>
          </p:nvSpPr>
          <p:spPr>
            <a:xfrm>
              <a:off x="47815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6" name="Freeform 755">
              <a:extLst>
                <a:ext uri="{FF2B5EF4-FFF2-40B4-BE49-F238E27FC236}">
                  <a16:creationId xmlns:a16="http://schemas.microsoft.com/office/drawing/2014/main" id="{F3724FE0-0F00-98B5-72B6-592B74135EB7}"/>
                </a:ext>
              </a:extLst>
            </p:cNvPr>
            <p:cNvSpPr/>
            <p:nvPr/>
          </p:nvSpPr>
          <p:spPr>
            <a:xfrm>
              <a:off x="47815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7" name="Freeform 756">
              <a:extLst>
                <a:ext uri="{FF2B5EF4-FFF2-40B4-BE49-F238E27FC236}">
                  <a16:creationId xmlns:a16="http://schemas.microsoft.com/office/drawing/2014/main" id="{2C9EC517-383C-317E-2AD5-5FAA6C778743}"/>
                </a:ext>
              </a:extLst>
            </p:cNvPr>
            <p:cNvSpPr/>
            <p:nvPr/>
          </p:nvSpPr>
          <p:spPr>
            <a:xfrm>
              <a:off x="47815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8" name="Freeform 757">
              <a:extLst>
                <a:ext uri="{FF2B5EF4-FFF2-40B4-BE49-F238E27FC236}">
                  <a16:creationId xmlns:a16="http://schemas.microsoft.com/office/drawing/2014/main" id="{8DFDC683-4347-2FC2-60BD-6E71F14BFCB7}"/>
                </a:ext>
              </a:extLst>
            </p:cNvPr>
            <p:cNvSpPr/>
            <p:nvPr/>
          </p:nvSpPr>
          <p:spPr>
            <a:xfrm>
              <a:off x="47815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9" name="Freeform 758">
              <a:extLst>
                <a:ext uri="{FF2B5EF4-FFF2-40B4-BE49-F238E27FC236}">
                  <a16:creationId xmlns:a16="http://schemas.microsoft.com/office/drawing/2014/main" id="{91A55F77-3B92-505C-DFDC-D249E42B4E5C}"/>
                </a:ext>
              </a:extLst>
            </p:cNvPr>
            <p:cNvSpPr/>
            <p:nvPr/>
          </p:nvSpPr>
          <p:spPr>
            <a:xfrm>
              <a:off x="47815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0" name="Freeform 759">
              <a:extLst>
                <a:ext uri="{FF2B5EF4-FFF2-40B4-BE49-F238E27FC236}">
                  <a16:creationId xmlns:a16="http://schemas.microsoft.com/office/drawing/2014/main" id="{A2DEF073-1F7C-7625-097A-53C01CEDE4C0}"/>
                </a:ext>
              </a:extLst>
            </p:cNvPr>
            <p:cNvSpPr/>
            <p:nvPr/>
          </p:nvSpPr>
          <p:spPr>
            <a:xfrm>
              <a:off x="47815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1" name="Freeform 760">
              <a:extLst>
                <a:ext uri="{FF2B5EF4-FFF2-40B4-BE49-F238E27FC236}">
                  <a16:creationId xmlns:a16="http://schemas.microsoft.com/office/drawing/2014/main" id="{5FD9FF31-87F8-07D2-CEE6-CDA03E1307C1}"/>
                </a:ext>
              </a:extLst>
            </p:cNvPr>
            <p:cNvSpPr/>
            <p:nvPr/>
          </p:nvSpPr>
          <p:spPr>
            <a:xfrm>
              <a:off x="47815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2" name="Freeform 761">
              <a:extLst>
                <a:ext uri="{FF2B5EF4-FFF2-40B4-BE49-F238E27FC236}">
                  <a16:creationId xmlns:a16="http://schemas.microsoft.com/office/drawing/2014/main" id="{E4062E15-69C4-69AE-FFAB-4A78BE34A560}"/>
                </a:ext>
              </a:extLst>
            </p:cNvPr>
            <p:cNvSpPr/>
            <p:nvPr/>
          </p:nvSpPr>
          <p:spPr>
            <a:xfrm>
              <a:off x="47815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3" name="Freeform 762">
              <a:extLst>
                <a:ext uri="{FF2B5EF4-FFF2-40B4-BE49-F238E27FC236}">
                  <a16:creationId xmlns:a16="http://schemas.microsoft.com/office/drawing/2014/main" id="{B44882AA-D90E-435B-AFAE-0985AF06D838}"/>
                </a:ext>
              </a:extLst>
            </p:cNvPr>
            <p:cNvSpPr/>
            <p:nvPr/>
          </p:nvSpPr>
          <p:spPr>
            <a:xfrm>
              <a:off x="48863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4" name="Freeform 763">
              <a:extLst>
                <a:ext uri="{FF2B5EF4-FFF2-40B4-BE49-F238E27FC236}">
                  <a16:creationId xmlns:a16="http://schemas.microsoft.com/office/drawing/2014/main" id="{6B8C8EC4-5C83-2599-BE4F-6B55FE36847E}"/>
                </a:ext>
              </a:extLst>
            </p:cNvPr>
            <p:cNvSpPr/>
            <p:nvPr/>
          </p:nvSpPr>
          <p:spPr>
            <a:xfrm>
              <a:off x="48863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5" name="Freeform 764">
              <a:extLst>
                <a:ext uri="{FF2B5EF4-FFF2-40B4-BE49-F238E27FC236}">
                  <a16:creationId xmlns:a16="http://schemas.microsoft.com/office/drawing/2014/main" id="{FA8B5608-89FB-78E0-CA00-9ADAD89D2232}"/>
                </a:ext>
              </a:extLst>
            </p:cNvPr>
            <p:cNvSpPr/>
            <p:nvPr/>
          </p:nvSpPr>
          <p:spPr>
            <a:xfrm>
              <a:off x="48863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6" name="Freeform 765">
              <a:extLst>
                <a:ext uri="{FF2B5EF4-FFF2-40B4-BE49-F238E27FC236}">
                  <a16:creationId xmlns:a16="http://schemas.microsoft.com/office/drawing/2014/main" id="{B0BBE2B2-5E7D-F98E-47C6-A9BB7E921372}"/>
                </a:ext>
              </a:extLst>
            </p:cNvPr>
            <p:cNvSpPr/>
            <p:nvPr/>
          </p:nvSpPr>
          <p:spPr>
            <a:xfrm>
              <a:off x="48863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7" name="Freeform 766">
              <a:extLst>
                <a:ext uri="{FF2B5EF4-FFF2-40B4-BE49-F238E27FC236}">
                  <a16:creationId xmlns:a16="http://schemas.microsoft.com/office/drawing/2014/main" id="{DF3BD7BC-3D95-6466-250B-7A57B50307F0}"/>
                </a:ext>
              </a:extLst>
            </p:cNvPr>
            <p:cNvSpPr/>
            <p:nvPr/>
          </p:nvSpPr>
          <p:spPr>
            <a:xfrm>
              <a:off x="48863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8" name="Freeform 767">
              <a:extLst>
                <a:ext uri="{FF2B5EF4-FFF2-40B4-BE49-F238E27FC236}">
                  <a16:creationId xmlns:a16="http://schemas.microsoft.com/office/drawing/2014/main" id="{FEE6D1DB-0F74-FB04-CF09-191184F1B6F3}"/>
                </a:ext>
              </a:extLst>
            </p:cNvPr>
            <p:cNvSpPr/>
            <p:nvPr/>
          </p:nvSpPr>
          <p:spPr>
            <a:xfrm>
              <a:off x="48863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9" name="Freeform 768">
              <a:extLst>
                <a:ext uri="{FF2B5EF4-FFF2-40B4-BE49-F238E27FC236}">
                  <a16:creationId xmlns:a16="http://schemas.microsoft.com/office/drawing/2014/main" id="{BEBADA9C-F30A-77C5-F7AA-77A5546D9871}"/>
                </a:ext>
              </a:extLst>
            </p:cNvPr>
            <p:cNvSpPr/>
            <p:nvPr/>
          </p:nvSpPr>
          <p:spPr>
            <a:xfrm>
              <a:off x="48863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0" name="Freeform 769">
              <a:extLst>
                <a:ext uri="{FF2B5EF4-FFF2-40B4-BE49-F238E27FC236}">
                  <a16:creationId xmlns:a16="http://schemas.microsoft.com/office/drawing/2014/main" id="{376CDBBE-8435-D4A3-DE77-0A2E9D6278E9}"/>
                </a:ext>
              </a:extLst>
            </p:cNvPr>
            <p:cNvSpPr/>
            <p:nvPr/>
          </p:nvSpPr>
          <p:spPr>
            <a:xfrm>
              <a:off x="48863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1" name="Freeform 770">
              <a:extLst>
                <a:ext uri="{FF2B5EF4-FFF2-40B4-BE49-F238E27FC236}">
                  <a16:creationId xmlns:a16="http://schemas.microsoft.com/office/drawing/2014/main" id="{6EF69567-91C0-67EE-F3BF-2B9AC3A0E0AC}"/>
                </a:ext>
              </a:extLst>
            </p:cNvPr>
            <p:cNvSpPr/>
            <p:nvPr/>
          </p:nvSpPr>
          <p:spPr>
            <a:xfrm>
              <a:off x="48863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2" name="Freeform 771">
              <a:extLst>
                <a:ext uri="{FF2B5EF4-FFF2-40B4-BE49-F238E27FC236}">
                  <a16:creationId xmlns:a16="http://schemas.microsoft.com/office/drawing/2014/main" id="{FF3E66BF-0D25-7C51-E071-8BDB144774BE}"/>
                </a:ext>
              </a:extLst>
            </p:cNvPr>
            <p:cNvSpPr/>
            <p:nvPr/>
          </p:nvSpPr>
          <p:spPr>
            <a:xfrm>
              <a:off x="48863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3" name="Freeform 772">
              <a:extLst>
                <a:ext uri="{FF2B5EF4-FFF2-40B4-BE49-F238E27FC236}">
                  <a16:creationId xmlns:a16="http://schemas.microsoft.com/office/drawing/2014/main" id="{078A74AA-DB47-52BD-4315-0CB5E7FC2EEC}"/>
                </a:ext>
              </a:extLst>
            </p:cNvPr>
            <p:cNvSpPr/>
            <p:nvPr/>
          </p:nvSpPr>
          <p:spPr>
            <a:xfrm>
              <a:off x="48863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4" name="Freeform 773">
              <a:extLst>
                <a:ext uri="{FF2B5EF4-FFF2-40B4-BE49-F238E27FC236}">
                  <a16:creationId xmlns:a16="http://schemas.microsoft.com/office/drawing/2014/main" id="{B1B1A529-9D1D-98C8-70CF-1052BC4441F8}"/>
                </a:ext>
              </a:extLst>
            </p:cNvPr>
            <p:cNvSpPr/>
            <p:nvPr/>
          </p:nvSpPr>
          <p:spPr>
            <a:xfrm>
              <a:off x="48863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5" name="Freeform 774">
              <a:extLst>
                <a:ext uri="{FF2B5EF4-FFF2-40B4-BE49-F238E27FC236}">
                  <a16:creationId xmlns:a16="http://schemas.microsoft.com/office/drawing/2014/main" id="{902E0C26-84D3-9FC7-54DA-A5DF2D861A9B}"/>
                </a:ext>
              </a:extLst>
            </p:cNvPr>
            <p:cNvSpPr/>
            <p:nvPr/>
          </p:nvSpPr>
          <p:spPr>
            <a:xfrm>
              <a:off x="48863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6" name="Freeform 775">
              <a:extLst>
                <a:ext uri="{FF2B5EF4-FFF2-40B4-BE49-F238E27FC236}">
                  <a16:creationId xmlns:a16="http://schemas.microsoft.com/office/drawing/2014/main" id="{B410903F-D8BF-9CF8-E8F0-15F7ECE1207B}"/>
                </a:ext>
              </a:extLst>
            </p:cNvPr>
            <p:cNvSpPr/>
            <p:nvPr/>
          </p:nvSpPr>
          <p:spPr>
            <a:xfrm>
              <a:off x="48863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7" name="Freeform 776">
              <a:extLst>
                <a:ext uri="{FF2B5EF4-FFF2-40B4-BE49-F238E27FC236}">
                  <a16:creationId xmlns:a16="http://schemas.microsoft.com/office/drawing/2014/main" id="{B130BB76-EE8D-36EC-8DA0-5BE8790EB799}"/>
                </a:ext>
              </a:extLst>
            </p:cNvPr>
            <p:cNvSpPr/>
            <p:nvPr/>
          </p:nvSpPr>
          <p:spPr>
            <a:xfrm>
              <a:off x="48863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8" name="Freeform 777">
              <a:extLst>
                <a:ext uri="{FF2B5EF4-FFF2-40B4-BE49-F238E27FC236}">
                  <a16:creationId xmlns:a16="http://schemas.microsoft.com/office/drawing/2014/main" id="{ACCA1B50-7258-FE92-0AF2-3C1B2768D66C}"/>
                </a:ext>
              </a:extLst>
            </p:cNvPr>
            <p:cNvSpPr/>
            <p:nvPr/>
          </p:nvSpPr>
          <p:spPr>
            <a:xfrm>
              <a:off x="48863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9" name="Freeform 778">
              <a:extLst>
                <a:ext uri="{FF2B5EF4-FFF2-40B4-BE49-F238E27FC236}">
                  <a16:creationId xmlns:a16="http://schemas.microsoft.com/office/drawing/2014/main" id="{F6D75955-7E69-3168-6617-18B985D4F997}"/>
                </a:ext>
              </a:extLst>
            </p:cNvPr>
            <p:cNvSpPr/>
            <p:nvPr/>
          </p:nvSpPr>
          <p:spPr>
            <a:xfrm>
              <a:off x="48863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0" name="Freeform 779">
              <a:extLst>
                <a:ext uri="{FF2B5EF4-FFF2-40B4-BE49-F238E27FC236}">
                  <a16:creationId xmlns:a16="http://schemas.microsoft.com/office/drawing/2014/main" id="{76AF10BE-9673-82A8-B608-6A519F37BDFB}"/>
                </a:ext>
              </a:extLst>
            </p:cNvPr>
            <p:cNvSpPr/>
            <p:nvPr/>
          </p:nvSpPr>
          <p:spPr>
            <a:xfrm>
              <a:off x="48863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1" name="Freeform 780">
              <a:extLst>
                <a:ext uri="{FF2B5EF4-FFF2-40B4-BE49-F238E27FC236}">
                  <a16:creationId xmlns:a16="http://schemas.microsoft.com/office/drawing/2014/main" id="{8AB48B41-AB04-0E43-E6CA-CB2B6250841E}"/>
                </a:ext>
              </a:extLst>
            </p:cNvPr>
            <p:cNvSpPr/>
            <p:nvPr/>
          </p:nvSpPr>
          <p:spPr>
            <a:xfrm>
              <a:off x="499110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2" name="Freeform 781">
              <a:extLst>
                <a:ext uri="{FF2B5EF4-FFF2-40B4-BE49-F238E27FC236}">
                  <a16:creationId xmlns:a16="http://schemas.microsoft.com/office/drawing/2014/main" id="{BAC36589-B020-BE68-BFE3-9C1C24FD087B}"/>
                </a:ext>
              </a:extLst>
            </p:cNvPr>
            <p:cNvSpPr/>
            <p:nvPr/>
          </p:nvSpPr>
          <p:spPr>
            <a:xfrm>
              <a:off x="49911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3" name="Freeform 782">
              <a:extLst>
                <a:ext uri="{FF2B5EF4-FFF2-40B4-BE49-F238E27FC236}">
                  <a16:creationId xmlns:a16="http://schemas.microsoft.com/office/drawing/2014/main" id="{3D5B0532-F3A3-416E-2176-933C5DE83DA3}"/>
                </a:ext>
              </a:extLst>
            </p:cNvPr>
            <p:cNvSpPr/>
            <p:nvPr/>
          </p:nvSpPr>
          <p:spPr>
            <a:xfrm>
              <a:off x="49911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4" name="Freeform 783">
              <a:extLst>
                <a:ext uri="{FF2B5EF4-FFF2-40B4-BE49-F238E27FC236}">
                  <a16:creationId xmlns:a16="http://schemas.microsoft.com/office/drawing/2014/main" id="{43DCCCF9-B64B-ABD6-4C28-74D19348D874}"/>
                </a:ext>
              </a:extLst>
            </p:cNvPr>
            <p:cNvSpPr/>
            <p:nvPr/>
          </p:nvSpPr>
          <p:spPr>
            <a:xfrm>
              <a:off x="499110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5" name="Freeform 784">
              <a:extLst>
                <a:ext uri="{FF2B5EF4-FFF2-40B4-BE49-F238E27FC236}">
                  <a16:creationId xmlns:a16="http://schemas.microsoft.com/office/drawing/2014/main" id="{2A9E0822-0105-E72B-F2FF-6298A9BF5417}"/>
                </a:ext>
              </a:extLst>
            </p:cNvPr>
            <p:cNvSpPr/>
            <p:nvPr/>
          </p:nvSpPr>
          <p:spPr>
            <a:xfrm>
              <a:off x="49911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6" name="Freeform 785">
              <a:extLst>
                <a:ext uri="{FF2B5EF4-FFF2-40B4-BE49-F238E27FC236}">
                  <a16:creationId xmlns:a16="http://schemas.microsoft.com/office/drawing/2014/main" id="{AC494034-B84D-5A67-FEF2-4C574321AF89}"/>
                </a:ext>
              </a:extLst>
            </p:cNvPr>
            <p:cNvSpPr/>
            <p:nvPr/>
          </p:nvSpPr>
          <p:spPr>
            <a:xfrm>
              <a:off x="49911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7" name="Freeform 786">
              <a:extLst>
                <a:ext uri="{FF2B5EF4-FFF2-40B4-BE49-F238E27FC236}">
                  <a16:creationId xmlns:a16="http://schemas.microsoft.com/office/drawing/2014/main" id="{C879BBB4-9CCB-FBE1-DF33-B35E77E82A63}"/>
                </a:ext>
              </a:extLst>
            </p:cNvPr>
            <p:cNvSpPr/>
            <p:nvPr/>
          </p:nvSpPr>
          <p:spPr>
            <a:xfrm>
              <a:off x="49911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8" name="Freeform 787">
              <a:extLst>
                <a:ext uri="{FF2B5EF4-FFF2-40B4-BE49-F238E27FC236}">
                  <a16:creationId xmlns:a16="http://schemas.microsoft.com/office/drawing/2014/main" id="{4827EF4F-D80A-6D2D-DACA-01344B172E46}"/>
                </a:ext>
              </a:extLst>
            </p:cNvPr>
            <p:cNvSpPr/>
            <p:nvPr/>
          </p:nvSpPr>
          <p:spPr>
            <a:xfrm>
              <a:off x="49911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9" name="Freeform 788">
              <a:extLst>
                <a:ext uri="{FF2B5EF4-FFF2-40B4-BE49-F238E27FC236}">
                  <a16:creationId xmlns:a16="http://schemas.microsoft.com/office/drawing/2014/main" id="{EAA282BE-5CDF-2FA4-DE49-F8E855E1135F}"/>
                </a:ext>
              </a:extLst>
            </p:cNvPr>
            <p:cNvSpPr/>
            <p:nvPr/>
          </p:nvSpPr>
          <p:spPr>
            <a:xfrm>
              <a:off x="49911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0" name="Freeform 789">
              <a:extLst>
                <a:ext uri="{FF2B5EF4-FFF2-40B4-BE49-F238E27FC236}">
                  <a16:creationId xmlns:a16="http://schemas.microsoft.com/office/drawing/2014/main" id="{16EB3902-6A3A-338C-AC75-CF206317B55D}"/>
                </a:ext>
              </a:extLst>
            </p:cNvPr>
            <p:cNvSpPr/>
            <p:nvPr/>
          </p:nvSpPr>
          <p:spPr>
            <a:xfrm>
              <a:off x="49911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1" name="Freeform 790">
              <a:extLst>
                <a:ext uri="{FF2B5EF4-FFF2-40B4-BE49-F238E27FC236}">
                  <a16:creationId xmlns:a16="http://schemas.microsoft.com/office/drawing/2014/main" id="{F0062020-69B2-2060-6DB6-32BEE06B0F07}"/>
                </a:ext>
              </a:extLst>
            </p:cNvPr>
            <p:cNvSpPr/>
            <p:nvPr/>
          </p:nvSpPr>
          <p:spPr>
            <a:xfrm>
              <a:off x="49911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2" name="Freeform 791">
              <a:extLst>
                <a:ext uri="{FF2B5EF4-FFF2-40B4-BE49-F238E27FC236}">
                  <a16:creationId xmlns:a16="http://schemas.microsoft.com/office/drawing/2014/main" id="{CB64AC29-1391-AAA4-CACF-FC43C25E3E99}"/>
                </a:ext>
              </a:extLst>
            </p:cNvPr>
            <p:cNvSpPr/>
            <p:nvPr/>
          </p:nvSpPr>
          <p:spPr>
            <a:xfrm>
              <a:off x="49911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3" name="Freeform 792">
              <a:extLst>
                <a:ext uri="{FF2B5EF4-FFF2-40B4-BE49-F238E27FC236}">
                  <a16:creationId xmlns:a16="http://schemas.microsoft.com/office/drawing/2014/main" id="{8F59EFD6-3762-6BDF-5C62-962F7BE29957}"/>
                </a:ext>
              </a:extLst>
            </p:cNvPr>
            <p:cNvSpPr/>
            <p:nvPr/>
          </p:nvSpPr>
          <p:spPr>
            <a:xfrm>
              <a:off x="49911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4" name="Freeform 793">
              <a:extLst>
                <a:ext uri="{FF2B5EF4-FFF2-40B4-BE49-F238E27FC236}">
                  <a16:creationId xmlns:a16="http://schemas.microsoft.com/office/drawing/2014/main" id="{4B7665AD-F0E8-CFC3-9F41-802E42D6E106}"/>
                </a:ext>
              </a:extLst>
            </p:cNvPr>
            <p:cNvSpPr/>
            <p:nvPr/>
          </p:nvSpPr>
          <p:spPr>
            <a:xfrm>
              <a:off x="49911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5" name="Freeform 794">
              <a:extLst>
                <a:ext uri="{FF2B5EF4-FFF2-40B4-BE49-F238E27FC236}">
                  <a16:creationId xmlns:a16="http://schemas.microsoft.com/office/drawing/2014/main" id="{09E5E5F8-1C5C-B3C2-2BF6-48151B7AF23D}"/>
                </a:ext>
              </a:extLst>
            </p:cNvPr>
            <p:cNvSpPr/>
            <p:nvPr/>
          </p:nvSpPr>
          <p:spPr>
            <a:xfrm>
              <a:off x="49911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6" name="Freeform 795">
              <a:extLst>
                <a:ext uri="{FF2B5EF4-FFF2-40B4-BE49-F238E27FC236}">
                  <a16:creationId xmlns:a16="http://schemas.microsoft.com/office/drawing/2014/main" id="{9C2BC46D-2576-29D5-8596-343146BD3E43}"/>
                </a:ext>
              </a:extLst>
            </p:cNvPr>
            <p:cNvSpPr/>
            <p:nvPr/>
          </p:nvSpPr>
          <p:spPr>
            <a:xfrm>
              <a:off x="49911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7" name="Freeform 796">
              <a:extLst>
                <a:ext uri="{FF2B5EF4-FFF2-40B4-BE49-F238E27FC236}">
                  <a16:creationId xmlns:a16="http://schemas.microsoft.com/office/drawing/2014/main" id="{CB6324D1-7075-37E3-DB6B-6575E13F6F2F}"/>
                </a:ext>
              </a:extLst>
            </p:cNvPr>
            <p:cNvSpPr/>
            <p:nvPr/>
          </p:nvSpPr>
          <p:spPr>
            <a:xfrm>
              <a:off x="49911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8" name="Freeform 797">
              <a:extLst>
                <a:ext uri="{FF2B5EF4-FFF2-40B4-BE49-F238E27FC236}">
                  <a16:creationId xmlns:a16="http://schemas.microsoft.com/office/drawing/2014/main" id="{F4AF7FEA-F4EB-34BB-4873-41424DF99F93}"/>
                </a:ext>
              </a:extLst>
            </p:cNvPr>
            <p:cNvSpPr/>
            <p:nvPr/>
          </p:nvSpPr>
          <p:spPr>
            <a:xfrm>
              <a:off x="50958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9" name="Freeform 798">
              <a:extLst>
                <a:ext uri="{FF2B5EF4-FFF2-40B4-BE49-F238E27FC236}">
                  <a16:creationId xmlns:a16="http://schemas.microsoft.com/office/drawing/2014/main" id="{4BC0734C-0B68-745D-50CE-5608CADC3942}"/>
                </a:ext>
              </a:extLst>
            </p:cNvPr>
            <p:cNvSpPr/>
            <p:nvPr/>
          </p:nvSpPr>
          <p:spPr>
            <a:xfrm>
              <a:off x="50958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0" name="Freeform 799">
              <a:extLst>
                <a:ext uri="{FF2B5EF4-FFF2-40B4-BE49-F238E27FC236}">
                  <a16:creationId xmlns:a16="http://schemas.microsoft.com/office/drawing/2014/main" id="{6418C8CF-50B1-C85F-9C0D-58D1CD1EDA86}"/>
                </a:ext>
              </a:extLst>
            </p:cNvPr>
            <p:cNvSpPr/>
            <p:nvPr/>
          </p:nvSpPr>
          <p:spPr>
            <a:xfrm>
              <a:off x="50958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1" name="Freeform 800">
              <a:extLst>
                <a:ext uri="{FF2B5EF4-FFF2-40B4-BE49-F238E27FC236}">
                  <a16:creationId xmlns:a16="http://schemas.microsoft.com/office/drawing/2014/main" id="{BD4F5F33-966F-D626-AEDB-255D4FFDA49C}"/>
                </a:ext>
              </a:extLst>
            </p:cNvPr>
            <p:cNvSpPr/>
            <p:nvPr/>
          </p:nvSpPr>
          <p:spPr>
            <a:xfrm>
              <a:off x="50958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2" name="Freeform 801">
              <a:extLst>
                <a:ext uri="{FF2B5EF4-FFF2-40B4-BE49-F238E27FC236}">
                  <a16:creationId xmlns:a16="http://schemas.microsoft.com/office/drawing/2014/main" id="{CB847879-F912-631C-B3AA-586B36B77F53}"/>
                </a:ext>
              </a:extLst>
            </p:cNvPr>
            <p:cNvSpPr/>
            <p:nvPr/>
          </p:nvSpPr>
          <p:spPr>
            <a:xfrm>
              <a:off x="50958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3" name="Freeform 802">
              <a:extLst>
                <a:ext uri="{FF2B5EF4-FFF2-40B4-BE49-F238E27FC236}">
                  <a16:creationId xmlns:a16="http://schemas.microsoft.com/office/drawing/2014/main" id="{BC58660B-D0BA-A07B-75E5-18674C521494}"/>
                </a:ext>
              </a:extLst>
            </p:cNvPr>
            <p:cNvSpPr/>
            <p:nvPr/>
          </p:nvSpPr>
          <p:spPr>
            <a:xfrm>
              <a:off x="50958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4" name="Freeform 803">
              <a:extLst>
                <a:ext uri="{FF2B5EF4-FFF2-40B4-BE49-F238E27FC236}">
                  <a16:creationId xmlns:a16="http://schemas.microsoft.com/office/drawing/2014/main" id="{EAA07689-0490-21BE-2DD4-B3F3E1865FF7}"/>
                </a:ext>
              </a:extLst>
            </p:cNvPr>
            <p:cNvSpPr/>
            <p:nvPr/>
          </p:nvSpPr>
          <p:spPr>
            <a:xfrm>
              <a:off x="50958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5" name="Freeform 804">
              <a:extLst>
                <a:ext uri="{FF2B5EF4-FFF2-40B4-BE49-F238E27FC236}">
                  <a16:creationId xmlns:a16="http://schemas.microsoft.com/office/drawing/2014/main" id="{0AA164E9-EF33-2A7D-9FFA-05272560E557}"/>
                </a:ext>
              </a:extLst>
            </p:cNvPr>
            <p:cNvSpPr/>
            <p:nvPr/>
          </p:nvSpPr>
          <p:spPr>
            <a:xfrm>
              <a:off x="50958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6" name="Freeform 805">
              <a:extLst>
                <a:ext uri="{FF2B5EF4-FFF2-40B4-BE49-F238E27FC236}">
                  <a16:creationId xmlns:a16="http://schemas.microsoft.com/office/drawing/2014/main" id="{E19DFDA2-F05B-3C69-8F65-D783FDEEF323}"/>
                </a:ext>
              </a:extLst>
            </p:cNvPr>
            <p:cNvSpPr/>
            <p:nvPr/>
          </p:nvSpPr>
          <p:spPr>
            <a:xfrm>
              <a:off x="50958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7" name="Freeform 806">
              <a:extLst>
                <a:ext uri="{FF2B5EF4-FFF2-40B4-BE49-F238E27FC236}">
                  <a16:creationId xmlns:a16="http://schemas.microsoft.com/office/drawing/2014/main" id="{42314E2E-B3AF-8BDE-2E98-D222F44BEDC5}"/>
                </a:ext>
              </a:extLst>
            </p:cNvPr>
            <p:cNvSpPr/>
            <p:nvPr/>
          </p:nvSpPr>
          <p:spPr>
            <a:xfrm>
              <a:off x="50958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8" name="Freeform 807">
              <a:extLst>
                <a:ext uri="{FF2B5EF4-FFF2-40B4-BE49-F238E27FC236}">
                  <a16:creationId xmlns:a16="http://schemas.microsoft.com/office/drawing/2014/main" id="{9C9EB0AF-F87A-846F-E29E-63DDDE99581C}"/>
                </a:ext>
              </a:extLst>
            </p:cNvPr>
            <p:cNvSpPr/>
            <p:nvPr/>
          </p:nvSpPr>
          <p:spPr>
            <a:xfrm>
              <a:off x="50958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9" name="Freeform 808">
              <a:extLst>
                <a:ext uri="{FF2B5EF4-FFF2-40B4-BE49-F238E27FC236}">
                  <a16:creationId xmlns:a16="http://schemas.microsoft.com/office/drawing/2014/main" id="{29AEAE2E-B359-19EE-DC77-3161C613F18B}"/>
                </a:ext>
              </a:extLst>
            </p:cNvPr>
            <p:cNvSpPr/>
            <p:nvPr/>
          </p:nvSpPr>
          <p:spPr>
            <a:xfrm>
              <a:off x="50958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0" name="Freeform 809">
              <a:extLst>
                <a:ext uri="{FF2B5EF4-FFF2-40B4-BE49-F238E27FC236}">
                  <a16:creationId xmlns:a16="http://schemas.microsoft.com/office/drawing/2014/main" id="{1000CD44-477D-3706-D1D6-83BEEF1B02BE}"/>
                </a:ext>
              </a:extLst>
            </p:cNvPr>
            <p:cNvSpPr/>
            <p:nvPr/>
          </p:nvSpPr>
          <p:spPr>
            <a:xfrm>
              <a:off x="50958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1" name="Freeform 810">
              <a:extLst>
                <a:ext uri="{FF2B5EF4-FFF2-40B4-BE49-F238E27FC236}">
                  <a16:creationId xmlns:a16="http://schemas.microsoft.com/office/drawing/2014/main" id="{77B820EB-9FCE-25A6-0016-D9D062AF9A1B}"/>
                </a:ext>
              </a:extLst>
            </p:cNvPr>
            <p:cNvSpPr/>
            <p:nvPr/>
          </p:nvSpPr>
          <p:spPr>
            <a:xfrm>
              <a:off x="50958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2" name="Freeform 811">
              <a:extLst>
                <a:ext uri="{FF2B5EF4-FFF2-40B4-BE49-F238E27FC236}">
                  <a16:creationId xmlns:a16="http://schemas.microsoft.com/office/drawing/2014/main" id="{D6E034A6-9C1F-19BB-7DBA-2D28645E8BBA}"/>
                </a:ext>
              </a:extLst>
            </p:cNvPr>
            <p:cNvSpPr/>
            <p:nvPr/>
          </p:nvSpPr>
          <p:spPr>
            <a:xfrm>
              <a:off x="50958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3" name="Freeform 812">
              <a:extLst>
                <a:ext uri="{FF2B5EF4-FFF2-40B4-BE49-F238E27FC236}">
                  <a16:creationId xmlns:a16="http://schemas.microsoft.com/office/drawing/2014/main" id="{9715864C-344A-1D4A-F58F-CA5158CB7561}"/>
                </a:ext>
              </a:extLst>
            </p:cNvPr>
            <p:cNvSpPr/>
            <p:nvPr/>
          </p:nvSpPr>
          <p:spPr>
            <a:xfrm>
              <a:off x="50958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4" name="Freeform 813">
              <a:extLst>
                <a:ext uri="{FF2B5EF4-FFF2-40B4-BE49-F238E27FC236}">
                  <a16:creationId xmlns:a16="http://schemas.microsoft.com/office/drawing/2014/main" id="{C132EE26-B7DA-0D4F-494F-B84DE77B0783}"/>
                </a:ext>
              </a:extLst>
            </p:cNvPr>
            <p:cNvSpPr/>
            <p:nvPr/>
          </p:nvSpPr>
          <p:spPr>
            <a:xfrm>
              <a:off x="50958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5" name="Freeform 814">
              <a:extLst>
                <a:ext uri="{FF2B5EF4-FFF2-40B4-BE49-F238E27FC236}">
                  <a16:creationId xmlns:a16="http://schemas.microsoft.com/office/drawing/2014/main" id="{A22E1916-FEBC-6238-E71C-C64630D97F8F}"/>
                </a:ext>
              </a:extLst>
            </p:cNvPr>
            <p:cNvSpPr/>
            <p:nvPr/>
          </p:nvSpPr>
          <p:spPr>
            <a:xfrm>
              <a:off x="50958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6" name="Freeform 815">
              <a:extLst>
                <a:ext uri="{FF2B5EF4-FFF2-40B4-BE49-F238E27FC236}">
                  <a16:creationId xmlns:a16="http://schemas.microsoft.com/office/drawing/2014/main" id="{AA0C8E03-C2E3-5841-5F3C-3EFAA463CC49}"/>
                </a:ext>
              </a:extLst>
            </p:cNvPr>
            <p:cNvSpPr/>
            <p:nvPr/>
          </p:nvSpPr>
          <p:spPr>
            <a:xfrm>
              <a:off x="50958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7" name="Freeform 816">
              <a:extLst>
                <a:ext uri="{FF2B5EF4-FFF2-40B4-BE49-F238E27FC236}">
                  <a16:creationId xmlns:a16="http://schemas.microsoft.com/office/drawing/2014/main" id="{F119860D-B97E-3BAC-722B-35AAA681A0DF}"/>
                </a:ext>
              </a:extLst>
            </p:cNvPr>
            <p:cNvSpPr/>
            <p:nvPr/>
          </p:nvSpPr>
          <p:spPr>
            <a:xfrm>
              <a:off x="52006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8" name="Freeform 817">
              <a:extLst>
                <a:ext uri="{FF2B5EF4-FFF2-40B4-BE49-F238E27FC236}">
                  <a16:creationId xmlns:a16="http://schemas.microsoft.com/office/drawing/2014/main" id="{86754BA7-4787-00E5-DAF4-D712A1403BCB}"/>
                </a:ext>
              </a:extLst>
            </p:cNvPr>
            <p:cNvSpPr/>
            <p:nvPr/>
          </p:nvSpPr>
          <p:spPr>
            <a:xfrm>
              <a:off x="52006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9" name="Freeform 818">
              <a:extLst>
                <a:ext uri="{FF2B5EF4-FFF2-40B4-BE49-F238E27FC236}">
                  <a16:creationId xmlns:a16="http://schemas.microsoft.com/office/drawing/2014/main" id="{BD84D2F6-8D48-7575-32B1-DA6E6CD76259}"/>
                </a:ext>
              </a:extLst>
            </p:cNvPr>
            <p:cNvSpPr/>
            <p:nvPr/>
          </p:nvSpPr>
          <p:spPr>
            <a:xfrm>
              <a:off x="52006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0" name="Freeform 819">
              <a:extLst>
                <a:ext uri="{FF2B5EF4-FFF2-40B4-BE49-F238E27FC236}">
                  <a16:creationId xmlns:a16="http://schemas.microsoft.com/office/drawing/2014/main" id="{E292B861-4AFF-8097-57B6-836CC00D5837}"/>
                </a:ext>
              </a:extLst>
            </p:cNvPr>
            <p:cNvSpPr/>
            <p:nvPr/>
          </p:nvSpPr>
          <p:spPr>
            <a:xfrm>
              <a:off x="52006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1" name="Freeform 820">
              <a:extLst>
                <a:ext uri="{FF2B5EF4-FFF2-40B4-BE49-F238E27FC236}">
                  <a16:creationId xmlns:a16="http://schemas.microsoft.com/office/drawing/2014/main" id="{7D3D03CA-2653-E8A5-C35F-F370E84FE338}"/>
                </a:ext>
              </a:extLst>
            </p:cNvPr>
            <p:cNvSpPr/>
            <p:nvPr/>
          </p:nvSpPr>
          <p:spPr>
            <a:xfrm>
              <a:off x="52006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2" name="Freeform 821">
              <a:extLst>
                <a:ext uri="{FF2B5EF4-FFF2-40B4-BE49-F238E27FC236}">
                  <a16:creationId xmlns:a16="http://schemas.microsoft.com/office/drawing/2014/main" id="{87D5C620-A60E-80EE-00C3-6516FB6575A3}"/>
                </a:ext>
              </a:extLst>
            </p:cNvPr>
            <p:cNvSpPr/>
            <p:nvPr/>
          </p:nvSpPr>
          <p:spPr>
            <a:xfrm>
              <a:off x="52006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3" name="Freeform 822">
              <a:extLst>
                <a:ext uri="{FF2B5EF4-FFF2-40B4-BE49-F238E27FC236}">
                  <a16:creationId xmlns:a16="http://schemas.microsoft.com/office/drawing/2014/main" id="{926A8063-99CE-5C18-B348-C3ED04FDD28C}"/>
                </a:ext>
              </a:extLst>
            </p:cNvPr>
            <p:cNvSpPr/>
            <p:nvPr/>
          </p:nvSpPr>
          <p:spPr>
            <a:xfrm>
              <a:off x="52006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4" name="Freeform 823">
              <a:extLst>
                <a:ext uri="{FF2B5EF4-FFF2-40B4-BE49-F238E27FC236}">
                  <a16:creationId xmlns:a16="http://schemas.microsoft.com/office/drawing/2014/main" id="{DC1721C3-1EA2-E91A-3DED-BB1DAF9A3AD1}"/>
                </a:ext>
              </a:extLst>
            </p:cNvPr>
            <p:cNvSpPr/>
            <p:nvPr/>
          </p:nvSpPr>
          <p:spPr>
            <a:xfrm>
              <a:off x="52006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5" name="Freeform 824">
              <a:extLst>
                <a:ext uri="{FF2B5EF4-FFF2-40B4-BE49-F238E27FC236}">
                  <a16:creationId xmlns:a16="http://schemas.microsoft.com/office/drawing/2014/main" id="{855A3AE3-BE1E-B8A8-16BE-F65CE626C683}"/>
                </a:ext>
              </a:extLst>
            </p:cNvPr>
            <p:cNvSpPr/>
            <p:nvPr/>
          </p:nvSpPr>
          <p:spPr>
            <a:xfrm>
              <a:off x="52006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6" name="Freeform 825">
              <a:extLst>
                <a:ext uri="{FF2B5EF4-FFF2-40B4-BE49-F238E27FC236}">
                  <a16:creationId xmlns:a16="http://schemas.microsoft.com/office/drawing/2014/main" id="{60CEA00B-0751-5487-1209-0966355F9D26}"/>
                </a:ext>
              </a:extLst>
            </p:cNvPr>
            <p:cNvSpPr/>
            <p:nvPr/>
          </p:nvSpPr>
          <p:spPr>
            <a:xfrm>
              <a:off x="52006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7" name="Freeform 826">
              <a:extLst>
                <a:ext uri="{FF2B5EF4-FFF2-40B4-BE49-F238E27FC236}">
                  <a16:creationId xmlns:a16="http://schemas.microsoft.com/office/drawing/2014/main" id="{C1E6399A-A0D6-443D-8EEC-0551DC1F4129}"/>
                </a:ext>
              </a:extLst>
            </p:cNvPr>
            <p:cNvSpPr/>
            <p:nvPr/>
          </p:nvSpPr>
          <p:spPr>
            <a:xfrm>
              <a:off x="52006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8" name="Freeform 827">
              <a:extLst>
                <a:ext uri="{FF2B5EF4-FFF2-40B4-BE49-F238E27FC236}">
                  <a16:creationId xmlns:a16="http://schemas.microsoft.com/office/drawing/2014/main" id="{745741A4-7441-1150-91FB-8DAD03FCF7EE}"/>
                </a:ext>
              </a:extLst>
            </p:cNvPr>
            <p:cNvSpPr/>
            <p:nvPr/>
          </p:nvSpPr>
          <p:spPr>
            <a:xfrm>
              <a:off x="52006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9" name="Freeform 828">
              <a:extLst>
                <a:ext uri="{FF2B5EF4-FFF2-40B4-BE49-F238E27FC236}">
                  <a16:creationId xmlns:a16="http://schemas.microsoft.com/office/drawing/2014/main" id="{BDC4406D-AAB9-B62D-C528-983F761B7427}"/>
                </a:ext>
              </a:extLst>
            </p:cNvPr>
            <p:cNvSpPr/>
            <p:nvPr/>
          </p:nvSpPr>
          <p:spPr>
            <a:xfrm>
              <a:off x="52006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0" name="Freeform 829">
              <a:extLst>
                <a:ext uri="{FF2B5EF4-FFF2-40B4-BE49-F238E27FC236}">
                  <a16:creationId xmlns:a16="http://schemas.microsoft.com/office/drawing/2014/main" id="{A261A279-1C35-9666-AD2F-FB2FFD7AC01D}"/>
                </a:ext>
              </a:extLst>
            </p:cNvPr>
            <p:cNvSpPr/>
            <p:nvPr/>
          </p:nvSpPr>
          <p:spPr>
            <a:xfrm>
              <a:off x="52006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1" name="Freeform 830">
              <a:extLst>
                <a:ext uri="{FF2B5EF4-FFF2-40B4-BE49-F238E27FC236}">
                  <a16:creationId xmlns:a16="http://schemas.microsoft.com/office/drawing/2014/main" id="{36E43D9B-C6E2-63B3-E0F0-C05C80370453}"/>
                </a:ext>
              </a:extLst>
            </p:cNvPr>
            <p:cNvSpPr/>
            <p:nvPr/>
          </p:nvSpPr>
          <p:spPr>
            <a:xfrm>
              <a:off x="52006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2" name="Freeform 831">
              <a:extLst>
                <a:ext uri="{FF2B5EF4-FFF2-40B4-BE49-F238E27FC236}">
                  <a16:creationId xmlns:a16="http://schemas.microsoft.com/office/drawing/2014/main" id="{D71B0494-5B75-3F09-4B8F-73CA430F163E}"/>
                </a:ext>
              </a:extLst>
            </p:cNvPr>
            <p:cNvSpPr/>
            <p:nvPr/>
          </p:nvSpPr>
          <p:spPr>
            <a:xfrm>
              <a:off x="52006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3" name="Freeform 832">
              <a:extLst>
                <a:ext uri="{FF2B5EF4-FFF2-40B4-BE49-F238E27FC236}">
                  <a16:creationId xmlns:a16="http://schemas.microsoft.com/office/drawing/2014/main" id="{8D747668-6163-C4D9-0D48-87769086EA30}"/>
                </a:ext>
              </a:extLst>
            </p:cNvPr>
            <p:cNvSpPr/>
            <p:nvPr/>
          </p:nvSpPr>
          <p:spPr>
            <a:xfrm>
              <a:off x="53054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4" name="Freeform 833">
              <a:extLst>
                <a:ext uri="{FF2B5EF4-FFF2-40B4-BE49-F238E27FC236}">
                  <a16:creationId xmlns:a16="http://schemas.microsoft.com/office/drawing/2014/main" id="{F3ABCFD7-2754-EA97-FC63-7CAB91F97B46}"/>
                </a:ext>
              </a:extLst>
            </p:cNvPr>
            <p:cNvSpPr/>
            <p:nvPr/>
          </p:nvSpPr>
          <p:spPr>
            <a:xfrm>
              <a:off x="53054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5" name="Freeform 834">
              <a:extLst>
                <a:ext uri="{FF2B5EF4-FFF2-40B4-BE49-F238E27FC236}">
                  <a16:creationId xmlns:a16="http://schemas.microsoft.com/office/drawing/2014/main" id="{5872E9F0-7552-BF50-AF00-1FB02B4E28E6}"/>
                </a:ext>
              </a:extLst>
            </p:cNvPr>
            <p:cNvSpPr/>
            <p:nvPr/>
          </p:nvSpPr>
          <p:spPr>
            <a:xfrm>
              <a:off x="53054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6" name="Freeform 835">
              <a:extLst>
                <a:ext uri="{FF2B5EF4-FFF2-40B4-BE49-F238E27FC236}">
                  <a16:creationId xmlns:a16="http://schemas.microsoft.com/office/drawing/2014/main" id="{DA96358F-1A06-988C-4773-FE4B37983BFC}"/>
                </a:ext>
              </a:extLst>
            </p:cNvPr>
            <p:cNvSpPr/>
            <p:nvPr/>
          </p:nvSpPr>
          <p:spPr>
            <a:xfrm>
              <a:off x="53054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7" name="Freeform 836">
              <a:extLst>
                <a:ext uri="{FF2B5EF4-FFF2-40B4-BE49-F238E27FC236}">
                  <a16:creationId xmlns:a16="http://schemas.microsoft.com/office/drawing/2014/main" id="{A49DB2BD-BBF1-6E16-172B-A6DA1F0E767D}"/>
                </a:ext>
              </a:extLst>
            </p:cNvPr>
            <p:cNvSpPr/>
            <p:nvPr/>
          </p:nvSpPr>
          <p:spPr>
            <a:xfrm>
              <a:off x="53054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8" name="Freeform 837">
              <a:extLst>
                <a:ext uri="{FF2B5EF4-FFF2-40B4-BE49-F238E27FC236}">
                  <a16:creationId xmlns:a16="http://schemas.microsoft.com/office/drawing/2014/main" id="{3C9A7497-AD28-E599-2C64-6AF54EFA631F}"/>
                </a:ext>
              </a:extLst>
            </p:cNvPr>
            <p:cNvSpPr/>
            <p:nvPr/>
          </p:nvSpPr>
          <p:spPr>
            <a:xfrm>
              <a:off x="53054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9" name="Freeform 838">
              <a:extLst>
                <a:ext uri="{FF2B5EF4-FFF2-40B4-BE49-F238E27FC236}">
                  <a16:creationId xmlns:a16="http://schemas.microsoft.com/office/drawing/2014/main" id="{06C4FFF3-AEDF-2659-2612-36ADEC005C74}"/>
                </a:ext>
              </a:extLst>
            </p:cNvPr>
            <p:cNvSpPr/>
            <p:nvPr/>
          </p:nvSpPr>
          <p:spPr>
            <a:xfrm>
              <a:off x="53054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0" name="Freeform 839">
              <a:extLst>
                <a:ext uri="{FF2B5EF4-FFF2-40B4-BE49-F238E27FC236}">
                  <a16:creationId xmlns:a16="http://schemas.microsoft.com/office/drawing/2014/main" id="{783AA8B1-F52E-E9E7-B157-DCD23638C1E3}"/>
                </a:ext>
              </a:extLst>
            </p:cNvPr>
            <p:cNvSpPr/>
            <p:nvPr/>
          </p:nvSpPr>
          <p:spPr>
            <a:xfrm>
              <a:off x="53054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1" name="Freeform 840">
              <a:extLst>
                <a:ext uri="{FF2B5EF4-FFF2-40B4-BE49-F238E27FC236}">
                  <a16:creationId xmlns:a16="http://schemas.microsoft.com/office/drawing/2014/main" id="{B727D8D7-AE98-0C85-A8AA-6B2F5BC72727}"/>
                </a:ext>
              </a:extLst>
            </p:cNvPr>
            <p:cNvSpPr/>
            <p:nvPr/>
          </p:nvSpPr>
          <p:spPr>
            <a:xfrm>
              <a:off x="53054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2" name="Freeform 841">
              <a:extLst>
                <a:ext uri="{FF2B5EF4-FFF2-40B4-BE49-F238E27FC236}">
                  <a16:creationId xmlns:a16="http://schemas.microsoft.com/office/drawing/2014/main" id="{5B27CC32-64CA-6080-F0FA-D7D2C7FBC366}"/>
                </a:ext>
              </a:extLst>
            </p:cNvPr>
            <p:cNvSpPr/>
            <p:nvPr/>
          </p:nvSpPr>
          <p:spPr>
            <a:xfrm>
              <a:off x="53054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3" name="Freeform 842">
              <a:extLst>
                <a:ext uri="{FF2B5EF4-FFF2-40B4-BE49-F238E27FC236}">
                  <a16:creationId xmlns:a16="http://schemas.microsoft.com/office/drawing/2014/main" id="{6E0220B2-0300-9EE1-F6F0-4D2505F3E1CD}"/>
                </a:ext>
              </a:extLst>
            </p:cNvPr>
            <p:cNvSpPr/>
            <p:nvPr/>
          </p:nvSpPr>
          <p:spPr>
            <a:xfrm>
              <a:off x="53054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4" name="Freeform 843">
              <a:extLst>
                <a:ext uri="{FF2B5EF4-FFF2-40B4-BE49-F238E27FC236}">
                  <a16:creationId xmlns:a16="http://schemas.microsoft.com/office/drawing/2014/main" id="{F325CB65-E534-5C8E-3081-EDFF3FC3F1B6}"/>
                </a:ext>
              </a:extLst>
            </p:cNvPr>
            <p:cNvSpPr/>
            <p:nvPr/>
          </p:nvSpPr>
          <p:spPr>
            <a:xfrm>
              <a:off x="53054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5" name="Freeform 844">
              <a:extLst>
                <a:ext uri="{FF2B5EF4-FFF2-40B4-BE49-F238E27FC236}">
                  <a16:creationId xmlns:a16="http://schemas.microsoft.com/office/drawing/2014/main" id="{BC947065-7AAE-E907-C3D5-B3F18B149E4A}"/>
                </a:ext>
              </a:extLst>
            </p:cNvPr>
            <p:cNvSpPr/>
            <p:nvPr/>
          </p:nvSpPr>
          <p:spPr>
            <a:xfrm>
              <a:off x="53054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6" name="Freeform 845">
              <a:extLst>
                <a:ext uri="{FF2B5EF4-FFF2-40B4-BE49-F238E27FC236}">
                  <a16:creationId xmlns:a16="http://schemas.microsoft.com/office/drawing/2014/main" id="{1AC3C7FE-0EAF-2FCE-2FB2-7BBEE2DDB264}"/>
                </a:ext>
              </a:extLst>
            </p:cNvPr>
            <p:cNvSpPr/>
            <p:nvPr/>
          </p:nvSpPr>
          <p:spPr>
            <a:xfrm>
              <a:off x="53054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7" name="Freeform 846">
              <a:extLst>
                <a:ext uri="{FF2B5EF4-FFF2-40B4-BE49-F238E27FC236}">
                  <a16:creationId xmlns:a16="http://schemas.microsoft.com/office/drawing/2014/main" id="{4695951F-CB7F-B612-FA55-55831AF7B4E0}"/>
                </a:ext>
              </a:extLst>
            </p:cNvPr>
            <p:cNvSpPr/>
            <p:nvPr/>
          </p:nvSpPr>
          <p:spPr>
            <a:xfrm>
              <a:off x="53054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8" name="Freeform 847">
              <a:extLst>
                <a:ext uri="{FF2B5EF4-FFF2-40B4-BE49-F238E27FC236}">
                  <a16:creationId xmlns:a16="http://schemas.microsoft.com/office/drawing/2014/main" id="{074626C4-47C2-ADB8-5FA3-FC12F8129F56}"/>
                </a:ext>
              </a:extLst>
            </p:cNvPr>
            <p:cNvSpPr/>
            <p:nvPr/>
          </p:nvSpPr>
          <p:spPr>
            <a:xfrm>
              <a:off x="53054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9" name="Freeform 848">
              <a:extLst>
                <a:ext uri="{FF2B5EF4-FFF2-40B4-BE49-F238E27FC236}">
                  <a16:creationId xmlns:a16="http://schemas.microsoft.com/office/drawing/2014/main" id="{AA841262-C2A1-C463-32B5-1BED666D9961}"/>
                </a:ext>
              </a:extLst>
            </p:cNvPr>
            <p:cNvSpPr/>
            <p:nvPr/>
          </p:nvSpPr>
          <p:spPr>
            <a:xfrm>
              <a:off x="541020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0" name="Freeform 849">
              <a:extLst>
                <a:ext uri="{FF2B5EF4-FFF2-40B4-BE49-F238E27FC236}">
                  <a16:creationId xmlns:a16="http://schemas.microsoft.com/office/drawing/2014/main" id="{8B86586B-B3CE-0A86-D477-7E98698D534E}"/>
                </a:ext>
              </a:extLst>
            </p:cNvPr>
            <p:cNvSpPr/>
            <p:nvPr/>
          </p:nvSpPr>
          <p:spPr>
            <a:xfrm>
              <a:off x="54102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1" name="Freeform 850">
              <a:extLst>
                <a:ext uri="{FF2B5EF4-FFF2-40B4-BE49-F238E27FC236}">
                  <a16:creationId xmlns:a16="http://schemas.microsoft.com/office/drawing/2014/main" id="{CDCBB7E0-C8A5-5214-9823-E01A74165F4D}"/>
                </a:ext>
              </a:extLst>
            </p:cNvPr>
            <p:cNvSpPr/>
            <p:nvPr/>
          </p:nvSpPr>
          <p:spPr>
            <a:xfrm>
              <a:off x="54102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2" name="Freeform 851">
              <a:extLst>
                <a:ext uri="{FF2B5EF4-FFF2-40B4-BE49-F238E27FC236}">
                  <a16:creationId xmlns:a16="http://schemas.microsoft.com/office/drawing/2014/main" id="{7D69FF00-8F88-718E-08BD-13A53244A918}"/>
                </a:ext>
              </a:extLst>
            </p:cNvPr>
            <p:cNvSpPr/>
            <p:nvPr/>
          </p:nvSpPr>
          <p:spPr>
            <a:xfrm>
              <a:off x="54102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3" name="Freeform 852">
              <a:extLst>
                <a:ext uri="{FF2B5EF4-FFF2-40B4-BE49-F238E27FC236}">
                  <a16:creationId xmlns:a16="http://schemas.microsoft.com/office/drawing/2014/main" id="{92BBC300-C329-6196-3EBF-A63C3B07B5A0}"/>
                </a:ext>
              </a:extLst>
            </p:cNvPr>
            <p:cNvSpPr/>
            <p:nvPr/>
          </p:nvSpPr>
          <p:spPr>
            <a:xfrm>
              <a:off x="54102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4" name="Freeform 853">
              <a:extLst>
                <a:ext uri="{FF2B5EF4-FFF2-40B4-BE49-F238E27FC236}">
                  <a16:creationId xmlns:a16="http://schemas.microsoft.com/office/drawing/2014/main" id="{73F5DE3D-E8A0-D28E-E59C-F97EC074A3BD}"/>
                </a:ext>
              </a:extLst>
            </p:cNvPr>
            <p:cNvSpPr/>
            <p:nvPr/>
          </p:nvSpPr>
          <p:spPr>
            <a:xfrm>
              <a:off x="54102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5" name="Freeform 854">
              <a:extLst>
                <a:ext uri="{FF2B5EF4-FFF2-40B4-BE49-F238E27FC236}">
                  <a16:creationId xmlns:a16="http://schemas.microsoft.com/office/drawing/2014/main" id="{3914299D-A7B5-010B-0B2E-FF677D4C546E}"/>
                </a:ext>
              </a:extLst>
            </p:cNvPr>
            <p:cNvSpPr/>
            <p:nvPr/>
          </p:nvSpPr>
          <p:spPr>
            <a:xfrm>
              <a:off x="54102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6" name="Freeform 855">
              <a:extLst>
                <a:ext uri="{FF2B5EF4-FFF2-40B4-BE49-F238E27FC236}">
                  <a16:creationId xmlns:a16="http://schemas.microsoft.com/office/drawing/2014/main" id="{3F877999-9ABC-0B20-4B11-6EABD9406F0F}"/>
                </a:ext>
              </a:extLst>
            </p:cNvPr>
            <p:cNvSpPr/>
            <p:nvPr/>
          </p:nvSpPr>
          <p:spPr>
            <a:xfrm>
              <a:off x="54102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7" name="Freeform 856">
              <a:extLst>
                <a:ext uri="{FF2B5EF4-FFF2-40B4-BE49-F238E27FC236}">
                  <a16:creationId xmlns:a16="http://schemas.microsoft.com/office/drawing/2014/main" id="{8BAB7151-5BC9-A13A-BF66-41DA6CE95387}"/>
                </a:ext>
              </a:extLst>
            </p:cNvPr>
            <p:cNvSpPr/>
            <p:nvPr/>
          </p:nvSpPr>
          <p:spPr>
            <a:xfrm>
              <a:off x="54102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8" name="Freeform 857">
              <a:extLst>
                <a:ext uri="{FF2B5EF4-FFF2-40B4-BE49-F238E27FC236}">
                  <a16:creationId xmlns:a16="http://schemas.microsoft.com/office/drawing/2014/main" id="{AA2918B3-7F72-63DA-0578-82D41B259423}"/>
                </a:ext>
              </a:extLst>
            </p:cNvPr>
            <p:cNvSpPr/>
            <p:nvPr/>
          </p:nvSpPr>
          <p:spPr>
            <a:xfrm>
              <a:off x="54102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9" name="Freeform 858">
              <a:extLst>
                <a:ext uri="{FF2B5EF4-FFF2-40B4-BE49-F238E27FC236}">
                  <a16:creationId xmlns:a16="http://schemas.microsoft.com/office/drawing/2014/main" id="{FC0C11CE-43CA-07A5-2C20-038D88FACB9A}"/>
                </a:ext>
              </a:extLst>
            </p:cNvPr>
            <p:cNvSpPr/>
            <p:nvPr/>
          </p:nvSpPr>
          <p:spPr>
            <a:xfrm>
              <a:off x="54102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0" name="Freeform 859">
              <a:extLst>
                <a:ext uri="{FF2B5EF4-FFF2-40B4-BE49-F238E27FC236}">
                  <a16:creationId xmlns:a16="http://schemas.microsoft.com/office/drawing/2014/main" id="{F9371AC0-48AB-8267-666E-137D33761966}"/>
                </a:ext>
              </a:extLst>
            </p:cNvPr>
            <p:cNvSpPr/>
            <p:nvPr/>
          </p:nvSpPr>
          <p:spPr>
            <a:xfrm>
              <a:off x="54102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1" name="Freeform 860">
              <a:extLst>
                <a:ext uri="{FF2B5EF4-FFF2-40B4-BE49-F238E27FC236}">
                  <a16:creationId xmlns:a16="http://schemas.microsoft.com/office/drawing/2014/main" id="{90BB3117-5E15-73EC-0E87-B600AB25261C}"/>
                </a:ext>
              </a:extLst>
            </p:cNvPr>
            <p:cNvSpPr/>
            <p:nvPr/>
          </p:nvSpPr>
          <p:spPr>
            <a:xfrm>
              <a:off x="54102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2" name="Freeform 861">
              <a:extLst>
                <a:ext uri="{FF2B5EF4-FFF2-40B4-BE49-F238E27FC236}">
                  <a16:creationId xmlns:a16="http://schemas.microsoft.com/office/drawing/2014/main" id="{160857F1-21F7-634C-AFFF-7CD24EAA14DB}"/>
                </a:ext>
              </a:extLst>
            </p:cNvPr>
            <p:cNvSpPr/>
            <p:nvPr/>
          </p:nvSpPr>
          <p:spPr>
            <a:xfrm>
              <a:off x="54102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3" name="Freeform 862">
              <a:extLst>
                <a:ext uri="{FF2B5EF4-FFF2-40B4-BE49-F238E27FC236}">
                  <a16:creationId xmlns:a16="http://schemas.microsoft.com/office/drawing/2014/main" id="{C778F6BD-9495-0D29-61F1-1322BBEAE97D}"/>
                </a:ext>
              </a:extLst>
            </p:cNvPr>
            <p:cNvSpPr/>
            <p:nvPr/>
          </p:nvSpPr>
          <p:spPr>
            <a:xfrm>
              <a:off x="54102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4" name="Freeform 863">
              <a:extLst>
                <a:ext uri="{FF2B5EF4-FFF2-40B4-BE49-F238E27FC236}">
                  <a16:creationId xmlns:a16="http://schemas.microsoft.com/office/drawing/2014/main" id="{357B2204-AC60-3B1D-9823-190A3E712027}"/>
                </a:ext>
              </a:extLst>
            </p:cNvPr>
            <p:cNvSpPr/>
            <p:nvPr/>
          </p:nvSpPr>
          <p:spPr>
            <a:xfrm>
              <a:off x="54102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5" name="Freeform 864">
              <a:extLst>
                <a:ext uri="{FF2B5EF4-FFF2-40B4-BE49-F238E27FC236}">
                  <a16:creationId xmlns:a16="http://schemas.microsoft.com/office/drawing/2014/main" id="{924E733A-9DDF-562F-A62E-7298836F8CB1}"/>
                </a:ext>
              </a:extLst>
            </p:cNvPr>
            <p:cNvSpPr/>
            <p:nvPr/>
          </p:nvSpPr>
          <p:spPr>
            <a:xfrm>
              <a:off x="54102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6" name="Freeform 865">
              <a:extLst>
                <a:ext uri="{FF2B5EF4-FFF2-40B4-BE49-F238E27FC236}">
                  <a16:creationId xmlns:a16="http://schemas.microsoft.com/office/drawing/2014/main" id="{F2B5899A-8B85-B735-F50A-9849AFB65C67}"/>
                </a:ext>
              </a:extLst>
            </p:cNvPr>
            <p:cNvSpPr/>
            <p:nvPr/>
          </p:nvSpPr>
          <p:spPr>
            <a:xfrm>
              <a:off x="55149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7" name="Freeform 866">
              <a:extLst>
                <a:ext uri="{FF2B5EF4-FFF2-40B4-BE49-F238E27FC236}">
                  <a16:creationId xmlns:a16="http://schemas.microsoft.com/office/drawing/2014/main" id="{E8620C00-218E-2F5C-52DC-7B1618B6C346}"/>
                </a:ext>
              </a:extLst>
            </p:cNvPr>
            <p:cNvSpPr/>
            <p:nvPr/>
          </p:nvSpPr>
          <p:spPr>
            <a:xfrm>
              <a:off x="55149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8" name="Freeform 867">
              <a:extLst>
                <a:ext uri="{FF2B5EF4-FFF2-40B4-BE49-F238E27FC236}">
                  <a16:creationId xmlns:a16="http://schemas.microsoft.com/office/drawing/2014/main" id="{272C703F-784E-AA67-44C5-C01AE51DEEE4}"/>
                </a:ext>
              </a:extLst>
            </p:cNvPr>
            <p:cNvSpPr/>
            <p:nvPr/>
          </p:nvSpPr>
          <p:spPr>
            <a:xfrm>
              <a:off x="55149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9" name="Freeform 868">
              <a:extLst>
                <a:ext uri="{FF2B5EF4-FFF2-40B4-BE49-F238E27FC236}">
                  <a16:creationId xmlns:a16="http://schemas.microsoft.com/office/drawing/2014/main" id="{50EC0ABF-3071-BF23-B375-7D716C32EAA0}"/>
                </a:ext>
              </a:extLst>
            </p:cNvPr>
            <p:cNvSpPr/>
            <p:nvPr/>
          </p:nvSpPr>
          <p:spPr>
            <a:xfrm>
              <a:off x="55149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0" name="Freeform 869">
              <a:extLst>
                <a:ext uri="{FF2B5EF4-FFF2-40B4-BE49-F238E27FC236}">
                  <a16:creationId xmlns:a16="http://schemas.microsoft.com/office/drawing/2014/main" id="{7039024E-3876-0B61-8DB7-16CF64E9AAD9}"/>
                </a:ext>
              </a:extLst>
            </p:cNvPr>
            <p:cNvSpPr/>
            <p:nvPr/>
          </p:nvSpPr>
          <p:spPr>
            <a:xfrm>
              <a:off x="55149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1" name="Freeform 870">
              <a:extLst>
                <a:ext uri="{FF2B5EF4-FFF2-40B4-BE49-F238E27FC236}">
                  <a16:creationId xmlns:a16="http://schemas.microsoft.com/office/drawing/2014/main" id="{8ABE456D-392B-C60F-E1AB-A9BB3A3296BB}"/>
                </a:ext>
              </a:extLst>
            </p:cNvPr>
            <p:cNvSpPr/>
            <p:nvPr/>
          </p:nvSpPr>
          <p:spPr>
            <a:xfrm>
              <a:off x="55149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2" name="Freeform 871">
              <a:extLst>
                <a:ext uri="{FF2B5EF4-FFF2-40B4-BE49-F238E27FC236}">
                  <a16:creationId xmlns:a16="http://schemas.microsoft.com/office/drawing/2014/main" id="{45D5BC5C-84AA-1230-4B32-82B4D572F7C5}"/>
                </a:ext>
              </a:extLst>
            </p:cNvPr>
            <p:cNvSpPr/>
            <p:nvPr/>
          </p:nvSpPr>
          <p:spPr>
            <a:xfrm>
              <a:off x="55149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3" name="Freeform 872">
              <a:extLst>
                <a:ext uri="{FF2B5EF4-FFF2-40B4-BE49-F238E27FC236}">
                  <a16:creationId xmlns:a16="http://schemas.microsoft.com/office/drawing/2014/main" id="{3A3DB9F9-E721-16F8-5943-120D97229963}"/>
                </a:ext>
              </a:extLst>
            </p:cNvPr>
            <p:cNvSpPr/>
            <p:nvPr/>
          </p:nvSpPr>
          <p:spPr>
            <a:xfrm>
              <a:off x="55149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4" name="Freeform 873">
              <a:extLst>
                <a:ext uri="{FF2B5EF4-FFF2-40B4-BE49-F238E27FC236}">
                  <a16:creationId xmlns:a16="http://schemas.microsoft.com/office/drawing/2014/main" id="{DFBE4C38-9ADE-FD17-EF45-DCEE0ADB8078}"/>
                </a:ext>
              </a:extLst>
            </p:cNvPr>
            <p:cNvSpPr/>
            <p:nvPr/>
          </p:nvSpPr>
          <p:spPr>
            <a:xfrm>
              <a:off x="55149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5" name="Freeform 874">
              <a:extLst>
                <a:ext uri="{FF2B5EF4-FFF2-40B4-BE49-F238E27FC236}">
                  <a16:creationId xmlns:a16="http://schemas.microsoft.com/office/drawing/2014/main" id="{A2149A38-3CBB-E9F3-C9CA-1D315FD5B1C9}"/>
                </a:ext>
              </a:extLst>
            </p:cNvPr>
            <p:cNvSpPr/>
            <p:nvPr/>
          </p:nvSpPr>
          <p:spPr>
            <a:xfrm>
              <a:off x="55149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6" name="Freeform 875">
              <a:extLst>
                <a:ext uri="{FF2B5EF4-FFF2-40B4-BE49-F238E27FC236}">
                  <a16:creationId xmlns:a16="http://schemas.microsoft.com/office/drawing/2014/main" id="{0C7D4CDE-101F-80F6-236E-C14B276E1C95}"/>
                </a:ext>
              </a:extLst>
            </p:cNvPr>
            <p:cNvSpPr/>
            <p:nvPr/>
          </p:nvSpPr>
          <p:spPr>
            <a:xfrm>
              <a:off x="551497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7" name="Freeform 876">
              <a:extLst>
                <a:ext uri="{FF2B5EF4-FFF2-40B4-BE49-F238E27FC236}">
                  <a16:creationId xmlns:a16="http://schemas.microsoft.com/office/drawing/2014/main" id="{9E381829-BDD4-0731-6D1A-CE72897FC470}"/>
                </a:ext>
              </a:extLst>
            </p:cNvPr>
            <p:cNvSpPr/>
            <p:nvPr/>
          </p:nvSpPr>
          <p:spPr>
            <a:xfrm>
              <a:off x="55149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8" name="Freeform 877">
              <a:extLst>
                <a:ext uri="{FF2B5EF4-FFF2-40B4-BE49-F238E27FC236}">
                  <a16:creationId xmlns:a16="http://schemas.microsoft.com/office/drawing/2014/main" id="{36DA759E-9343-8CA6-5E77-F400519632F2}"/>
                </a:ext>
              </a:extLst>
            </p:cNvPr>
            <p:cNvSpPr/>
            <p:nvPr/>
          </p:nvSpPr>
          <p:spPr>
            <a:xfrm>
              <a:off x="55149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9" name="Freeform 878">
              <a:extLst>
                <a:ext uri="{FF2B5EF4-FFF2-40B4-BE49-F238E27FC236}">
                  <a16:creationId xmlns:a16="http://schemas.microsoft.com/office/drawing/2014/main" id="{3E999095-388F-1482-C771-04CF5D3F5BBB}"/>
                </a:ext>
              </a:extLst>
            </p:cNvPr>
            <p:cNvSpPr/>
            <p:nvPr/>
          </p:nvSpPr>
          <p:spPr>
            <a:xfrm>
              <a:off x="55149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0" name="Freeform 879">
              <a:extLst>
                <a:ext uri="{FF2B5EF4-FFF2-40B4-BE49-F238E27FC236}">
                  <a16:creationId xmlns:a16="http://schemas.microsoft.com/office/drawing/2014/main" id="{C1F1C604-BEAD-228C-B535-1C717C5963FA}"/>
                </a:ext>
              </a:extLst>
            </p:cNvPr>
            <p:cNvSpPr/>
            <p:nvPr/>
          </p:nvSpPr>
          <p:spPr>
            <a:xfrm>
              <a:off x="55149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1" name="Freeform 880">
              <a:extLst>
                <a:ext uri="{FF2B5EF4-FFF2-40B4-BE49-F238E27FC236}">
                  <a16:creationId xmlns:a16="http://schemas.microsoft.com/office/drawing/2014/main" id="{3B9DB681-A922-78DD-2B66-0E6A36F20E23}"/>
                </a:ext>
              </a:extLst>
            </p:cNvPr>
            <p:cNvSpPr/>
            <p:nvPr/>
          </p:nvSpPr>
          <p:spPr>
            <a:xfrm>
              <a:off x="55149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2" name="Freeform 881">
              <a:extLst>
                <a:ext uri="{FF2B5EF4-FFF2-40B4-BE49-F238E27FC236}">
                  <a16:creationId xmlns:a16="http://schemas.microsoft.com/office/drawing/2014/main" id="{F6D3F9A8-0400-B419-9BE1-37EE5AEE639D}"/>
                </a:ext>
              </a:extLst>
            </p:cNvPr>
            <p:cNvSpPr/>
            <p:nvPr/>
          </p:nvSpPr>
          <p:spPr>
            <a:xfrm>
              <a:off x="56197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3" name="Freeform 882">
              <a:extLst>
                <a:ext uri="{FF2B5EF4-FFF2-40B4-BE49-F238E27FC236}">
                  <a16:creationId xmlns:a16="http://schemas.microsoft.com/office/drawing/2014/main" id="{2455CA2B-BB94-F5DF-AAEE-630B8090E06F}"/>
                </a:ext>
              </a:extLst>
            </p:cNvPr>
            <p:cNvSpPr/>
            <p:nvPr/>
          </p:nvSpPr>
          <p:spPr>
            <a:xfrm>
              <a:off x="56197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4" name="Freeform 883">
              <a:extLst>
                <a:ext uri="{FF2B5EF4-FFF2-40B4-BE49-F238E27FC236}">
                  <a16:creationId xmlns:a16="http://schemas.microsoft.com/office/drawing/2014/main" id="{5E8ABF7D-DFAC-A74F-C256-275292D3C4D8}"/>
                </a:ext>
              </a:extLst>
            </p:cNvPr>
            <p:cNvSpPr/>
            <p:nvPr/>
          </p:nvSpPr>
          <p:spPr>
            <a:xfrm>
              <a:off x="56197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5" name="Freeform 884">
              <a:extLst>
                <a:ext uri="{FF2B5EF4-FFF2-40B4-BE49-F238E27FC236}">
                  <a16:creationId xmlns:a16="http://schemas.microsoft.com/office/drawing/2014/main" id="{564C05F2-D07C-6FD0-B39F-83409073C3EC}"/>
                </a:ext>
              </a:extLst>
            </p:cNvPr>
            <p:cNvSpPr/>
            <p:nvPr/>
          </p:nvSpPr>
          <p:spPr>
            <a:xfrm>
              <a:off x="56197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6" name="Freeform 885">
              <a:extLst>
                <a:ext uri="{FF2B5EF4-FFF2-40B4-BE49-F238E27FC236}">
                  <a16:creationId xmlns:a16="http://schemas.microsoft.com/office/drawing/2014/main" id="{7E0F06AD-70BD-234C-3536-8FE157A7B77C}"/>
                </a:ext>
              </a:extLst>
            </p:cNvPr>
            <p:cNvSpPr/>
            <p:nvPr/>
          </p:nvSpPr>
          <p:spPr>
            <a:xfrm>
              <a:off x="56197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7" name="Freeform 886">
              <a:extLst>
                <a:ext uri="{FF2B5EF4-FFF2-40B4-BE49-F238E27FC236}">
                  <a16:creationId xmlns:a16="http://schemas.microsoft.com/office/drawing/2014/main" id="{23A22A77-2F8A-451B-68D7-E9E34A270498}"/>
                </a:ext>
              </a:extLst>
            </p:cNvPr>
            <p:cNvSpPr/>
            <p:nvPr/>
          </p:nvSpPr>
          <p:spPr>
            <a:xfrm>
              <a:off x="56197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8" name="Freeform 887">
              <a:extLst>
                <a:ext uri="{FF2B5EF4-FFF2-40B4-BE49-F238E27FC236}">
                  <a16:creationId xmlns:a16="http://schemas.microsoft.com/office/drawing/2014/main" id="{7F38A030-B24E-5A92-78B0-BECBA1FD3895}"/>
                </a:ext>
              </a:extLst>
            </p:cNvPr>
            <p:cNvSpPr/>
            <p:nvPr/>
          </p:nvSpPr>
          <p:spPr>
            <a:xfrm>
              <a:off x="56197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9" name="Freeform 888">
              <a:extLst>
                <a:ext uri="{FF2B5EF4-FFF2-40B4-BE49-F238E27FC236}">
                  <a16:creationId xmlns:a16="http://schemas.microsoft.com/office/drawing/2014/main" id="{5FAA9D4F-7C32-3903-29EC-520EE08F2E22}"/>
                </a:ext>
              </a:extLst>
            </p:cNvPr>
            <p:cNvSpPr/>
            <p:nvPr/>
          </p:nvSpPr>
          <p:spPr>
            <a:xfrm>
              <a:off x="56197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0" name="Freeform 889">
              <a:extLst>
                <a:ext uri="{FF2B5EF4-FFF2-40B4-BE49-F238E27FC236}">
                  <a16:creationId xmlns:a16="http://schemas.microsoft.com/office/drawing/2014/main" id="{78F94511-3FAC-103D-B8C2-6971CDE4C9E3}"/>
                </a:ext>
              </a:extLst>
            </p:cNvPr>
            <p:cNvSpPr/>
            <p:nvPr/>
          </p:nvSpPr>
          <p:spPr>
            <a:xfrm>
              <a:off x="56197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1" name="Freeform 890">
              <a:extLst>
                <a:ext uri="{FF2B5EF4-FFF2-40B4-BE49-F238E27FC236}">
                  <a16:creationId xmlns:a16="http://schemas.microsoft.com/office/drawing/2014/main" id="{6165DC94-3994-F733-567D-BD11DFFBA688}"/>
                </a:ext>
              </a:extLst>
            </p:cNvPr>
            <p:cNvSpPr/>
            <p:nvPr/>
          </p:nvSpPr>
          <p:spPr>
            <a:xfrm>
              <a:off x="56197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2" name="Freeform 891">
              <a:extLst>
                <a:ext uri="{FF2B5EF4-FFF2-40B4-BE49-F238E27FC236}">
                  <a16:creationId xmlns:a16="http://schemas.microsoft.com/office/drawing/2014/main" id="{695BF36A-9193-5B62-50E7-CE88D4AF94AB}"/>
                </a:ext>
              </a:extLst>
            </p:cNvPr>
            <p:cNvSpPr/>
            <p:nvPr/>
          </p:nvSpPr>
          <p:spPr>
            <a:xfrm>
              <a:off x="56197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3" name="Freeform 892">
              <a:extLst>
                <a:ext uri="{FF2B5EF4-FFF2-40B4-BE49-F238E27FC236}">
                  <a16:creationId xmlns:a16="http://schemas.microsoft.com/office/drawing/2014/main" id="{45378400-E2BA-6EB9-EBF8-4E7AFC373F36}"/>
                </a:ext>
              </a:extLst>
            </p:cNvPr>
            <p:cNvSpPr/>
            <p:nvPr/>
          </p:nvSpPr>
          <p:spPr>
            <a:xfrm>
              <a:off x="56197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4" name="Freeform 893">
              <a:extLst>
                <a:ext uri="{FF2B5EF4-FFF2-40B4-BE49-F238E27FC236}">
                  <a16:creationId xmlns:a16="http://schemas.microsoft.com/office/drawing/2014/main" id="{7D01B654-9E17-6992-63DA-613F92D13FA8}"/>
                </a:ext>
              </a:extLst>
            </p:cNvPr>
            <p:cNvSpPr/>
            <p:nvPr/>
          </p:nvSpPr>
          <p:spPr>
            <a:xfrm>
              <a:off x="572452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5" name="Freeform 894">
              <a:extLst>
                <a:ext uri="{FF2B5EF4-FFF2-40B4-BE49-F238E27FC236}">
                  <a16:creationId xmlns:a16="http://schemas.microsoft.com/office/drawing/2014/main" id="{93A670CA-0DC6-4CD7-E977-C51B3CC2E8D2}"/>
                </a:ext>
              </a:extLst>
            </p:cNvPr>
            <p:cNvSpPr/>
            <p:nvPr/>
          </p:nvSpPr>
          <p:spPr>
            <a:xfrm>
              <a:off x="57245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6" name="Freeform 895">
              <a:extLst>
                <a:ext uri="{FF2B5EF4-FFF2-40B4-BE49-F238E27FC236}">
                  <a16:creationId xmlns:a16="http://schemas.microsoft.com/office/drawing/2014/main" id="{3EBC22F6-EA4B-8151-9E1E-3CF66B6FD380}"/>
                </a:ext>
              </a:extLst>
            </p:cNvPr>
            <p:cNvSpPr/>
            <p:nvPr/>
          </p:nvSpPr>
          <p:spPr>
            <a:xfrm>
              <a:off x="57245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7" name="Freeform 896">
              <a:extLst>
                <a:ext uri="{FF2B5EF4-FFF2-40B4-BE49-F238E27FC236}">
                  <a16:creationId xmlns:a16="http://schemas.microsoft.com/office/drawing/2014/main" id="{62CF7ED6-914C-706B-6BF8-82793271A619}"/>
                </a:ext>
              </a:extLst>
            </p:cNvPr>
            <p:cNvSpPr/>
            <p:nvPr/>
          </p:nvSpPr>
          <p:spPr>
            <a:xfrm>
              <a:off x="57245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8" name="Freeform 897">
              <a:extLst>
                <a:ext uri="{FF2B5EF4-FFF2-40B4-BE49-F238E27FC236}">
                  <a16:creationId xmlns:a16="http://schemas.microsoft.com/office/drawing/2014/main" id="{8DF3B933-45A3-258A-E593-231F2B068193}"/>
                </a:ext>
              </a:extLst>
            </p:cNvPr>
            <p:cNvSpPr/>
            <p:nvPr/>
          </p:nvSpPr>
          <p:spPr>
            <a:xfrm>
              <a:off x="57245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9" name="Freeform 898">
              <a:extLst>
                <a:ext uri="{FF2B5EF4-FFF2-40B4-BE49-F238E27FC236}">
                  <a16:creationId xmlns:a16="http://schemas.microsoft.com/office/drawing/2014/main" id="{A4BB5056-2C76-CE42-E102-643C910DDFD7}"/>
                </a:ext>
              </a:extLst>
            </p:cNvPr>
            <p:cNvSpPr/>
            <p:nvPr/>
          </p:nvSpPr>
          <p:spPr>
            <a:xfrm>
              <a:off x="57245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0" name="Freeform 899">
              <a:extLst>
                <a:ext uri="{FF2B5EF4-FFF2-40B4-BE49-F238E27FC236}">
                  <a16:creationId xmlns:a16="http://schemas.microsoft.com/office/drawing/2014/main" id="{C3FD8FB5-7088-E3FE-FE8D-25B7699AF80E}"/>
                </a:ext>
              </a:extLst>
            </p:cNvPr>
            <p:cNvSpPr/>
            <p:nvPr/>
          </p:nvSpPr>
          <p:spPr>
            <a:xfrm>
              <a:off x="57245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1" name="Freeform 900">
              <a:extLst>
                <a:ext uri="{FF2B5EF4-FFF2-40B4-BE49-F238E27FC236}">
                  <a16:creationId xmlns:a16="http://schemas.microsoft.com/office/drawing/2014/main" id="{0D48E209-6567-DE47-98C9-D198B3B94FF4}"/>
                </a:ext>
              </a:extLst>
            </p:cNvPr>
            <p:cNvSpPr/>
            <p:nvPr/>
          </p:nvSpPr>
          <p:spPr>
            <a:xfrm>
              <a:off x="57245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2" name="Freeform 901">
              <a:extLst>
                <a:ext uri="{FF2B5EF4-FFF2-40B4-BE49-F238E27FC236}">
                  <a16:creationId xmlns:a16="http://schemas.microsoft.com/office/drawing/2014/main" id="{0FE8E09A-191B-6E6C-6E22-9C47D598734A}"/>
                </a:ext>
              </a:extLst>
            </p:cNvPr>
            <p:cNvSpPr/>
            <p:nvPr/>
          </p:nvSpPr>
          <p:spPr>
            <a:xfrm>
              <a:off x="57245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3" name="Freeform 902">
              <a:extLst>
                <a:ext uri="{FF2B5EF4-FFF2-40B4-BE49-F238E27FC236}">
                  <a16:creationId xmlns:a16="http://schemas.microsoft.com/office/drawing/2014/main" id="{E4DFF14E-5FAA-39B4-30B2-7B28A42B9638}"/>
                </a:ext>
              </a:extLst>
            </p:cNvPr>
            <p:cNvSpPr/>
            <p:nvPr/>
          </p:nvSpPr>
          <p:spPr>
            <a:xfrm>
              <a:off x="57245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4" name="Freeform 903">
              <a:extLst>
                <a:ext uri="{FF2B5EF4-FFF2-40B4-BE49-F238E27FC236}">
                  <a16:creationId xmlns:a16="http://schemas.microsoft.com/office/drawing/2014/main" id="{F045BB19-B5C9-5C04-EE72-E059B64C78D7}"/>
                </a:ext>
              </a:extLst>
            </p:cNvPr>
            <p:cNvSpPr/>
            <p:nvPr/>
          </p:nvSpPr>
          <p:spPr>
            <a:xfrm>
              <a:off x="57245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5" name="Freeform 904">
              <a:extLst>
                <a:ext uri="{FF2B5EF4-FFF2-40B4-BE49-F238E27FC236}">
                  <a16:creationId xmlns:a16="http://schemas.microsoft.com/office/drawing/2014/main" id="{0B0F1E16-E416-DBB6-29D5-B1E055CA1015}"/>
                </a:ext>
              </a:extLst>
            </p:cNvPr>
            <p:cNvSpPr/>
            <p:nvPr/>
          </p:nvSpPr>
          <p:spPr>
            <a:xfrm>
              <a:off x="57245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6" name="Freeform 905">
              <a:extLst>
                <a:ext uri="{FF2B5EF4-FFF2-40B4-BE49-F238E27FC236}">
                  <a16:creationId xmlns:a16="http://schemas.microsoft.com/office/drawing/2014/main" id="{91ABAA11-01A3-7AFC-E39E-96757DCEF904}"/>
                </a:ext>
              </a:extLst>
            </p:cNvPr>
            <p:cNvSpPr/>
            <p:nvPr/>
          </p:nvSpPr>
          <p:spPr>
            <a:xfrm>
              <a:off x="57245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7" name="Freeform 906">
              <a:extLst>
                <a:ext uri="{FF2B5EF4-FFF2-40B4-BE49-F238E27FC236}">
                  <a16:creationId xmlns:a16="http://schemas.microsoft.com/office/drawing/2014/main" id="{DE155B71-6BEF-BBD6-B81A-5689905660D2}"/>
                </a:ext>
              </a:extLst>
            </p:cNvPr>
            <p:cNvSpPr/>
            <p:nvPr/>
          </p:nvSpPr>
          <p:spPr>
            <a:xfrm>
              <a:off x="57245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8" name="Freeform 907">
              <a:extLst>
                <a:ext uri="{FF2B5EF4-FFF2-40B4-BE49-F238E27FC236}">
                  <a16:creationId xmlns:a16="http://schemas.microsoft.com/office/drawing/2014/main" id="{465A501F-0636-27A2-5C33-9AE0E5DD614E}"/>
                </a:ext>
              </a:extLst>
            </p:cNvPr>
            <p:cNvSpPr/>
            <p:nvPr/>
          </p:nvSpPr>
          <p:spPr>
            <a:xfrm>
              <a:off x="57245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9" name="Freeform 908">
              <a:extLst>
                <a:ext uri="{FF2B5EF4-FFF2-40B4-BE49-F238E27FC236}">
                  <a16:creationId xmlns:a16="http://schemas.microsoft.com/office/drawing/2014/main" id="{845FB5F4-209F-5177-FDCF-316DF1EBD3D3}"/>
                </a:ext>
              </a:extLst>
            </p:cNvPr>
            <p:cNvSpPr/>
            <p:nvPr/>
          </p:nvSpPr>
          <p:spPr>
            <a:xfrm>
              <a:off x="57245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0" name="Freeform 909">
              <a:extLst>
                <a:ext uri="{FF2B5EF4-FFF2-40B4-BE49-F238E27FC236}">
                  <a16:creationId xmlns:a16="http://schemas.microsoft.com/office/drawing/2014/main" id="{DF090C35-850F-3D81-C184-EDACB8746CB8}"/>
                </a:ext>
              </a:extLst>
            </p:cNvPr>
            <p:cNvSpPr/>
            <p:nvPr/>
          </p:nvSpPr>
          <p:spPr>
            <a:xfrm>
              <a:off x="57245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1" name="Freeform 910">
              <a:extLst>
                <a:ext uri="{FF2B5EF4-FFF2-40B4-BE49-F238E27FC236}">
                  <a16:creationId xmlns:a16="http://schemas.microsoft.com/office/drawing/2014/main" id="{DE89A05E-B393-16A0-CFD3-CFFC3B7F919B}"/>
                </a:ext>
              </a:extLst>
            </p:cNvPr>
            <p:cNvSpPr/>
            <p:nvPr/>
          </p:nvSpPr>
          <p:spPr>
            <a:xfrm>
              <a:off x="57245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2" name="Freeform 911">
              <a:extLst>
                <a:ext uri="{FF2B5EF4-FFF2-40B4-BE49-F238E27FC236}">
                  <a16:creationId xmlns:a16="http://schemas.microsoft.com/office/drawing/2014/main" id="{5C12784C-5592-075E-3EFB-E2DFDD5EE4FD}"/>
                </a:ext>
              </a:extLst>
            </p:cNvPr>
            <p:cNvSpPr/>
            <p:nvPr/>
          </p:nvSpPr>
          <p:spPr>
            <a:xfrm>
              <a:off x="57245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3" name="Freeform 912">
              <a:extLst>
                <a:ext uri="{FF2B5EF4-FFF2-40B4-BE49-F238E27FC236}">
                  <a16:creationId xmlns:a16="http://schemas.microsoft.com/office/drawing/2014/main" id="{9290D37F-7359-3AF1-BF1A-5AF4B1829FBB}"/>
                </a:ext>
              </a:extLst>
            </p:cNvPr>
            <p:cNvSpPr/>
            <p:nvPr/>
          </p:nvSpPr>
          <p:spPr>
            <a:xfrm>
              <a:off x="58293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4" name="Freeform 913">
              <a:extLst>
                <a:ext uri="{FF2B5EF4-FFF2-40B4-BE49-F238E27FC236}">
                  <a16:creationId xmlns:a16="http://schemas.microsoft.com/office/drawing/2014/main" id="{CB4E721D-203F-904C-672E-CAA65E971856}"/>
                </a:ext>
              </a:extLst>
            </p:cNvPr>
            <p:cNvSpPr/>
            <p:nvPr/>
          </p:nvSpPr>
          <p:spPr>
            <a:xfrm>
              <a:off x="58293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5" name="Freeform 914">
              <a:extLst>
                <a:ext uri="{FF2B5EF4-FFF2-40B4-BE49-F238E27FC236}">
                  <a16:creationId xmlns:a16="http://schemas.microsoft.com/office/drawing/2014/main" id="{8330319D-82B8-02AC-53AC-3F5BB4237592}"/>
                </a:ext>
              </a:extLst>
            </p:cNvPr>
            <p:cNvSpPr/>
            <p:nvPr/>
          </p:nvSpPr>
          <p:spPr>
            <a:xfrm>
              <a:off x="58293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6" name="Freeform 915">
              <a:extLst>
                <a:ext uri="{FF2B5EF4-FFF2-40B4-BE49-F238E27FC236}">
                  <a16:creationId xmlns:a16="http://schemas.microsoft.com/office/drawing/2014/main" id="{9C956BDC-8646-A2C7-A357-9A5231167117}"/>
                </a:ext>
              </a:extLst>
            </p:cNvPr>
            <p:cNvSpPr/>
            <p:nvPr/>
          </p:nvSpPr>
          <p:spPr>
            <a:xfrm>
              <a:off x="58293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7" name="Freeform 916">
              <a:extLst>
                <a:ext uri="{FF2B5EF4-FFF2-40B4-BE49-F238E27FC236}">
                  <a16:creationId xmlns:a16="http://schemas.microsoft.com/office/drawing/2014/main" id="{00145613-6EA0-C704-3EBD-7B991816DBFD}"/>
                </a:ext>
              </a:extLst>
            </p:cNvPr>
            <p:cNvSpPr/>
            <p:nvPr/>
          </p:nvSpPr>
          <p:spPr>
            <a:xfrm>
              <a:off x="58293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8" name="Freeform 917">
              <a:extLst>
                <a:ext uri="{FF2B5EF4-FFF2-40B4-BE49-F238E27FC236}">
                  <a16:creationId xmlns:a16="http://schemas.microsoft.com/office/drawing/2014/main" id="{EE73CE0D-FCE0-F1FF-20BC-D41F218FED84}"/>
                </a:ext>
              </a:extLst>
            </p:cNvPr>
            <p:cNvSpPr/>
            <p:nvPr/>
          </p:nvSpPr>
          <p:spPr>
            <a:xfrm>
              <a:off x="58293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9" name="Freeform 918">
              <a:extLst>
                <a:ext uri="{FF2B5EF4-FFF2-40B4-BE49-F238E27FC236}">
                  <a16:creationId xmlns:a16="http://schemas.microsoft.com/office/drawing/2014/main" id="{9715D42A-787D-9713-0C1B-957F17173DE3}"/>
                </a:ext>
              </a:extLst>
            </p:cNvPr>
            <p:cNvSpPr/>
            <p:nvPr/>
          </p:nvSpPr>
          <p:spPr>
            <a:xfrm>
              <a:off x="58293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0" name="Freeform 919">
              <a:extLst>
                <a:ext uri="{FF2B5EF4-FFF2-40B4-BE49-F238E27FC236}">
                  <a16:creationId xmlns:a16="http://schemas.microsoft.com/office/drawing/2014/main" id="{F320E518-DA04-8D1C-3945-583840DDB78A}"/>
                </a:ext>
              </a:extLst>
            </p:cNvPr>
            <p:cNvSpPr/>
            <p:nvPr/>
          </p:nvSpPr>
          <p:spPr>
            <a:xfrm>
              <a:off x="58293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1" name="Freeform 920">
              <a:extLst>
                <a:ext uri="{FF2B5EF4-FFF2-40B4-BE49-F238E27FC236}">
                  <a16:creationId xmlns:a16="http://schemas.microsoft.com/office/drawing/2014/main" id="{93015692-75F2-BFFA-3D5E-67E7ED4CA023}"/>
                </a:ext>
              </a:extLst>
            </p:cNvPr>
            <p:cNvSpPr/>
            <p:nvPr/>
          </p:nvSpPr>
          <p:spPr>
            <a:xfrm>
              <a:off x="58293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2" name="Freeform 921">
              <a:extLst>
                <a:ext uri="{FF2B5EF4-FFF2-40B4-BE49-F238E27FC236}">
                  <a16:creationId xmlns:a16="http://schemas.microsoft.com/office/drawing/2014/main" id="{8FFE25CC-AFBC-4046-4508-FE0776709B43}"/>
                </a:ext>
              </a:extLst>
            </p:cNvPr>
            <p:cNvSpPr/>
            <p:nvPr/>
          </p:nvSpPr>
          <p:spPr>
            <a:xfrm>
              <a:off x="58293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3" name="Freeform 922">
              <a:extLst>
                <a:ext uri="{FF2B5EF4-FFF2-40B4-BE49-F238E27FC236}">
                  <a16:creationId xmlns:a16="http://schemas.microsoft.com/office/drawing/2014/main" id="{94F21E7C-BFC3-4B78-6125-90F2DA44EBBF}"/>
                </a:ext>
              </a:extLst>
            </p:cNvPr>
            <p:cNvSpPr/>
            <p:nvPr/>
          </p:nvSpPr>
          <p:spPr>
            <a:xfrm>
              <a:off x="58293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4" name="Freeform 923">
              <a:extLst>
                <a:ext uri="{FF2B5EF4-FFF2-40B4-BE49-F238E27FC236}">
                  <a16:creationId xmlns:a16="http://schemas.microsoft.com/office/drawing/2014/main" id="{4C643867-908C-0831-C85D-000F8F9AA8C7}"/>
                </a:ext>
              </a:extLst>
            </p:cNvPr>
            <p:cNvSpPr/>
            <p:nvPr/>
          </p:nvSpPr>
          <p:spPr>
            <a:xfrm>
              <a:off x="58293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5" name="Freeform 924">
              <a:extLst>
                <a:ext uri="{FF2B5EF4-FFF2-40B4-BE49-F238E27FC236}">
                  <a16:creationId xmlns:a16="http://schemas.microsoft.com/office/drawing/2014/main" id="{DF1C8176-4531-987B-9AFF-9CF4980BFE76}"/>
                </a:ext>
              </a:extLst>
            </p:cNvPr>
            <p:cNvSpPr/>
            <p:nvPr/>
          </p:nvSpPr>
          <p:spPr>
            <a:xfrm>
              <a:off x="58293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6" name="Freeform 925">
              <a:extLst>
                <a:ext uri="{FF2B5EF4-FFF2-40B4-BE49-F238E27FC236}">
                  <a16:creationId xmlns:a16="http://schemas.microsoft.com/office/drawing/2014/main" id="{6A0E7EF7-9B2F-9606-6C6A-D3A90DB76E84}"/>
                </a:ext>
              </a:extLst>
            </p:cNvPr>
            <p:cNvSpPr/>
            <p:nvPr/>
          </p:nvSpPr>
          <p:spPr>
            <a:xfrm>
              <a:off x="58293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7" name="Freeform 926">
              <a:extLst>
                <a:ext uri="{FF2B5EF4-FFF2-40B4-BE49-F238E27FC236}">
                  <a16:creationId xmlns:a16="http://schemas.microsoft.com/office/drawing/2014/main" id="{516F1C5E-FCDD-31B8-24DD-CF321F75E558}"/>
                </a:ext>
              </a:extLst>
            </p:cNvPr>
            <p:cNvSpPr/>
            <p:nvPr/>
          </p:nvSpPr>
          <p:spPr>
            <a:xfrm>
              <a:off x="58293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8" name="Freeform 927">
              <a:extLst>
                <a:ext uri="{FF2B5EF4-FFF2-40B4-BE49-F238E27FC236}">
                  <a16:creationId xmlns:a16="http://schemas.microsoft.com/office/drawing/2014/main" id="{BAE56831-FB94-6D8F-626D-6ABAAC3699A0}"/>
                </a:ext>
              </a:extLst>
            </p:cNvPr>
            <p:cNvSpPr/>
            <p:nvPr/>
          </p:nvSpPr>
          <p:spPr>
            <a:xfrm>
              <a:off x="59340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9" name="Freeform 928">
              <a:extLst>
                <a:ext uri="{FF2B5EF4-FFF2-40B4-BE49-F238E27FC236}">
                  <a16:creationId xmlns:a16="http://schemas.microsoft.com/office/drawing/2014/main" id="{C7A125AE-C425-7242-9A83-45A22EFBA783}"/>
                </a:ext>
              </a:extLst>
            </p:cNvPr>
            <p:cNvSpPr/>
            <p:nvPr/>
          </p:nvSpPr>
          <p:spPr>
            <a:xfrm>
              <a:off x="593407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0" name="Freeform 929">
              <a:extLst>
                <a:ext uri="{FF2B5EF4-FFF2-40B4-BE49-F238E27FC236}">
                  <a16:creationId xmlns:a16="http://schemas.microsoft.com/office/drawing/2014/main" id="{0CEAFE23-CA2A-EBC3-2395-BED7237F74FE}"/>
                </a:ext>
              </a:extLst>
            </p:cNvPr>
            <p:cNvSpPr/>
            <p:nvPr/>
          </p:nvSpPr>
          <p:spPr>
            <a:xfrm>
              <a:off x="59340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1" name="Freeform 930">
              <a:extLst>
                <a:ext uri="{FF2B5EF4-FFF2-40B4-BE49-F238E27FC236}">
                  <a16:creationId xmlns:a16="http://schemas.microsoft.com/office/drawing/2014/main" id="{3A50E48D-515A-1185-4E21-0DDB54F56D20}"/>
                </a:ext>
              </a:extLst>
            </p:cNvPr>
            <p:cNvSpPr/>
            <p:nvPr/>
          </p:nvSpPr>
          <p:spPr>
            <a:xfrm>
              <a:off x="59340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2" name="Freeform 931">
              <a:extLst>
                <a:ext uri="{FF2B5EF4-FFF2-40B4-BE49-F238E27FC236}">
                  <a16:creationId xmlns:a16="http://schemas.microsoft.com/office/drawing/2014/main" id="{8FA5333E-8AD4-0E75-52A8-2448B0641E24}"/>
                </a:ext>
              </a:extLst>
            </p:cNvPr>
            <p:cNvSpPr/>
            <p:nvPr/>
          </p:nvSpPr>
          <p:spPr>
            <a:xfrm>
              <a:off x="593407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3" name="Freeform 932">
              <a:extLst>
                <a:ext uri="{FF2B5EF4-FFF2-40B4-BE49-F238E27FC236}">
                  <a16:creationId xmlns:a16="http://schemas.microsoft.com/office/drawing/2014/main" id="{88FB2D5E-FF2B-D613-5EBD-4A8E6C2E1576}"/>
                </a:ext>
              </a:extLst>
            </p:cNvPr>
            <p:cNvSpPr/>
            <p:nvPr/>
          </p:nvSpPr>
          <p:spPr>
            <a:xfrm>
              <a:off x="59340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4" name="Freeform 933">
              <a:extLst>
                <a:ext uri="{FF2B5EF4-FFF2-40B4-BE49-F238E27FC236}">
                  <a16:creationId xmlns:a16="http://schemas.microsoft.com/office/drawing/2014/main" id="{987E7161-CDF2-3749-AA0D-BF1A954AD0F6}"/>
                </a:ext>
              </a:extLst>
            </p:cNvPr>
            <p:cNvSpPr/>
            <p:nvPr/>
          </p:nvSpPr>
          <p:spPr>
            <a:xfrm>
              <a:off x="59340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5" name="Freeform 934">
              <a:extLst>
                <a:ext uri="{FF2B5EF4-FFF2-40B4-BE49-F238E27FC236}">
                  <a16:creationId xmlns:a16="http://schemas.microsoft.com/office/drawing/2014/main" id="{4AE62DD4-589C-4E81-30DD-9D397AA26A7B}"/>
                </a:ext>
              </a:extLst>
            </p:cNvPr>
            <p:cNvSpPr/>
            <p:nvPr/>
          </p:nvSpPr>
          <p:spPr>
            <a:xfrm>
              <a:off x="59340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6" name="Freeform 935">
              <a:extLst>
                <a:ext uri="{FF2B5EF4-FFF2-40B4-BE49-F238E27FC236}">
                  <a16:creationId xmlns:a16="http://schemas.microsoft.com/office/drawing/2014/main" id="{63BCB899-7528-5CE6-F49F-B3C6EDDDE447}"/>
                </a:ext>
              </a:extLst>
            </p:cNvPr>
            <p:cNvSpPr/>
            <p:nvPr/>
          </p:nvSpPr>
          <p:spPr>
            <a:xfrm>
              <a:off x="59340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7" name="Freeform 936">
              <a:extLst>
                <a:ext uri="{FF2B5EF4-FFF2-40B4-BE49-F238E27FC236}">
                  <a16:creationId xmlns:a16="http://schemas.microsoft.com/office/drawing/2014/main" id="{6F02B149-598F-4F9D-BC8B-DD97BB2C66DE}"/>
                </a:ext>
              </a:extLst>
            </p:cNvPr>
            <p:cNvSpPr/>
            <p:nvPr/>
          </p:nvSpPr>
          <p:spPr>
            <a:xfrm>
              <a:off x="59340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8" name="Freeform 937">
              <a:extLst>
                <a:ext uri="{FF2B5EF4-FFF2-40B4-BE49-F238E27FC236}">
                  <a16:creationId xmlns:a16="http://schemas.microsoft.com/office/drawing/2014/main" id="{E406F487-354F-D05C-1FE1-ABCEC73EB6AF}"/>
                </a:ext>
              </a:extLst>
            </p:cNvPr>
            <p:cNvSpPr/>
            <p:nvPr/>
          </p:nvSpPr>
          <p:spPr>
            <a:xfrm>
              <a:off x="59340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9" name="Freeform 938">
              <a:extLst>
                <a:ext uri="{FF2B5EF4-FFF2-40B4-BE49-F238E27FC236}">
                  <a16:creationId xmlns:a16="http://schemas.microsoft.com/office/drawing/2014/main" id="{8D77C165-D4F6-ADD9-98C0-56E48C97EB0A}"/>
                </a:ext>
              </a:extLst>
            </p:cNvPr>
            <p:cNvSpPr/>
            <p:nvPr/>
          </p:nvSpPr>
          <p:spPr>
            <a:xfrm>
              <a:off x="59340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0" name="Freeform 939">
              <a:extLst>
                <a:ext uri="{FF2B5EF4-FFF2-40B4-BE49-F238E27FC236}">
                  <a16:creationId xmlns:a16="http://schemas.microsoft.com/office/drawing/2014/main" id="{561FA35B-CB4E-15BA-D500-87D2B158B6E8}"/>
                </a:ext>
              </a:extLst>
            </p:cNvPr>
            <p:cNvSpPr/>
            <p:nvPr/>
          </p:nvSpPr>
          <p:spPr>
            <a:xfrm>
              <a:off x="59340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1" name="Freeform 940">
              <a:extLst>
                <a:ext uri="{FF2B5EF4-FFF2-40B4-BE49-F238E27FC236}">
                  <a16:creationId xmlns:a16="http://schemas.microsoft.com/office/drawing/2014/main" id="{950157BD-051C-7660-E39B-0BACC14E767D}"/>
                </a:ext>
              </a:extLst>
            </p:cNvPr>
            <p:cNvSpPr/>
            <p:nvPr/>
          </p:nvSpPr>
          <p:spPr>
            <a:xfrm>
              <a:off x="59340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2" name="Freeform 941">
              <a:extLst>
                <a:ext uri="{FF2B5EF4-FFF2-40B4-BE49-F238E27FC236}">
                  <a16:creationId xmlns:a16="http://schemas.microsoft.com/office/drawing/2014/main" id="{8D9D3670-6EF6-BC5B-4B85-61D95B42C63E}"/>
                </a:ext>
              </a:extLst>
            </p:cNvPr>
            <p:cNvSpPr/>
            <p:nvPr/>
          </p:nvSpPr>
          <p:spPr>
            <a:xfrm>
              <a:off x="59340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3" name="Freeform 942">
              <a:extLst>
                <a:ext uri="{FF2B5EF4-FFF2-40B4-BE49-F238E27FC236}">
                  <a16:creationId xmlns:a16="http://schemas.microsoft.com/office/drawing/2014/main" id="{D2D049F7-8233-099E-FA95-24A0ECEFE1B1}"/>
                </a:ext>
              </a:extLst>
            </p:cNvPr>
            <p:cNvSpPr/>
            <p:nvPr/>
          </p:nvSpPr>
          <p:spPr>
            <a:xfrm>
              <a:off x="59340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4" name="Freeform 943">
              <a:extLst>
                <a:ext uri="{FF2B5EF4-FFF2-40B4-BE49-F238E27FC236}">
                  <a16:creationId xmlns:a16="http://schemas.microsoft.com/office/drawing/2014/main" id="{0395E307-B01F-9B90-2F47-11FB073D1678}"/>
                </a:ext>
              </a:extLst>
            </p:cNvPr>
            <p:cNvSpPr/>
            <p:nvPr/>
          </p:nvSpPr>
          <p:spPr>
            <a:xfrm>
              <a:off x="59340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5" name="Freeform 944">
              <a:extLst>
                <a:ext uri="{FF2B5EF4-FFF2-40B4-BE49-F238E27FC236}">
                  <a16:creationId xmlns:a16="http://schemas.microsoft.com/office/drawing/2014/main" id="{DA6E4C55-A245-EA22-8598-527C1C786D07}"/>
                </a:ext>
              </a:extLst>
            </p:cNvPr>
            <p:cNvSpPr/>
            <p:nvPr/>
          </p:nvSpPr>
          <p:spPr>
            <a:xfrm>
              <a:off x="60388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6" name="Freeform 945">
              <a:extLst>
                <a:ext uri="{FF2B5EF4-FFF2-40B4-BE49-F238E27FC236}">
                  <a16:creationId xmlns:a16="http://schemas.microsoft.com/office/drawing/2014/main" id="{044A6B7D-BB51-2465-9625-614675A6D914}"/>
                </a:ext>
              </a:extLst>
            </p:cNvPr>
            <p:cNvSpPr/>
            <p:nvPr/>
          </p:nvSpPr>
          <p:spPr>
            <a:xfrm>
              <a:off x="60388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7" name="Freeform 946">
              <a:extLst>
                <a:ext uri="{FF2B5EF4-FFF2-40B4-BE49-F238E27FC236}">
                  <a16:creationId xmlns:a16="http://schemas.microsoft.com/office/drawing/2014/main" id="{D7B13CD3-4EBD-99F8-2F75-3D4BA95EE948}"/>
                </a:ext>
              </a:extLst>
            </p:cNvPr>
            <p:cNvSpPr/>
            <p:nvPr/>
          </p:nvSpPr>
          <p:spPr>
            <a:xfrm>
              <a:off x="60388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8" name="Freeform 947">
              <a:extLst>
                <a:ext uri="{FF2B5EF4-FFF2-40B4-BE49-F238E27FC236}">
                  <a16:creationId xmlns:a16="http://schemas.microsoft.com/office/drawing/2014/main" id="{1CFE40EA-0EE5-3441-7646-04C832FBC644}"/>
                </a:ext>
              </a:extLst>
            </p:cNvPr>
            <p:cNvSpPr/>
            <p:nvPr/>
          </p:nvSpPr>
          <p:spPr>
            <a:xfrm>
              <a:off x="60388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9" name="Freeform 948">
              <a:extLst>
                <a:ext uri="{FF2B5EF4-FFF2-40B4-BE49-F238E27FC236}">
                  <a16:creationId xmlns:a16="http://schemas.microsoft.com/office/drawing/2014/main" id="{17870F45-C541-FB7C-E139-8E188F3188D5}"/>
                </a:ext>
              </a:extLst>
            </p:cNvPr>
            <p:cNvSpPr/>
            <p:nvPr/>
          </p:nvSpPr>
          <p:spPr>
            <a:xfrm>
              <a:off x="60388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0" name="Freeform 949">
              <a:extLst>
                <a:ext uri="{FF2B5EF4-FFF2-40B4-BE49-F238E27FC236}">
                  <a16:creationId xmlns:a16="http://schemas.microsoft.com/office/drawing/2014/main" id="{2BAEBCC9-541F-2F46-0E0B-03F31B46B094}"/>
                </a:ext>
              </a:extLst>
            </p:cNvPr>
            <p:cNvSpPr/>
            <p:nvPr/>
          </p:nvSpPr>
          <p:spPr>
            <a:xfrm>
              <a:off x="60388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1" name="Freeform 950">
              <a:extLst>
                <a:ext uri="{FF2B5EF4-FFF2-40B4-BE49-F238E27FC236}">
                  <a16:creationId xmlns:a16="http://schemas.microsoft.com/office/drawing/2014/main" id="{C9A82ADF-467C-3DCD-F4A5-F79391F5AB60}"/>
                </a:ext>
              </a:extLst>
            </p:cNvPr>
            <p:cNvSpPr/>
            <p:nvPr/>
          </p:nvSpPr>
          <p:spPr>
            <a:xfrm>
              <a:off x="60388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2" name="Freeform 951">
              <a:extLst>
                <a:ext uri="{FF2B5EF4-FFF2-40B4-BE49-F238E27FC236}">
                  <a16:creationId xmlns:a16="http://schemas.microsoft.com/office/drawing/2014/main" id="{3072EE11-6224-06AD-EC3D-B2BCF33B5D4D}"/>
                </a:ext>
              </a:extLst>
            </p:cNvPr>
            <p:cNvSpPr/>
            <p:nvPr/>
          </p:nvSpPr>
          <p:spPr>
            <a:xfrm>
              <a:off x="60388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3" name="Freeform 952">
              <a:extLst>
                <a:ext uri="{FF2B5EF4-FFF2-40B4-BE49-F238E27FC236}">
                  <a16:creationId xmlns:a16="http://schemas.microsoft.com/office/drawing/2014/main" id="{2696A7EC-9D5D-BF7E-DBAF-E847C175A477}"/>
                </a:ext>
              </a:extLst>
            </p:cNvPr>
            <p:cNvSpPr/>
            <p:nvPr/>
          </p:nvSpPr>
          <p:spPr>
            <a:xfrm>
              <a:off x="60388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4" name="Freeform 953">
              <a:extLst>
                <a:ext uri="{FF2B5EF4-FFF2-40B4-BE49-F238E27FC236}">
                  <a16:creationId xmlns:a16="http://schemas.microsoft.com/office/drawing/2014/main" id="{0FA39636-45EA-03C5-8629-EA89C621F11E}"/>
                </a:ext>
              </a:extLst>
            </p:cNvPr>
            <p:cNvSpPr/>
            <p:nvPr/>
          </p:nvSpPr>
          <p:spPr>
            <a:xfrm>
              <a:off x="60388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5" name="Freeform 954">
              <a:extLst>
                <a:ext uri="{FF2B5EF4-FFF2-40B4-BE49-F238E27FC236}">
                  <a16:creationId xmlns:a16="http://schemas.microsoft.com/office/drawing/2014/main" id="{4176C605-2F89-4027-26E9-F89BC891D590}"/>
                </a:ext>
              </a:extLst>
            </p:cNvPr>
            <p:cNvSpPr/>
            <p:nvPr/>
          </p:nvSpPr>
          <p:spPr>
            <a:xfrm>
              <a:off x="60388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6" name="Freeform 955">
              <a:extLst>
                <a:ext uri="{FF2B5EF4-FFF2-40B4-BE49-F238E27FC236}">
                  <a16:creationId xmlns:a16="http://schemas.microsoft.com/office/drawing/2014/main" id="{5D64EFFA-327C-7360-DFB2-AEC44730A422}"/>
                </a:ext>
              </a:extLst>
            </p:cNvPr>
            <p:cNvSpPr/>
            <p:nvPr/>
          </p:nvSpPr>
          <p:spPr>
            <a:xfrm>
              <a:off x="60388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7" name="Freeform 956">
              <a:extLst>
                <a:ext uri="{FF2B5EF4-FFF2-40B4-BE49-F238E27FC236}">
                  <a16:creationId xmlns:a16="http://schemas.microsoft.com/office/drawing/2014/main" id="{E13F021C-25F0-96D9-0C42-533852172B63}"/>
                </a:ext>
              </a:extLst>
            </p:cNvPr>
            <p:cNvSpPr/>
            <p:nvPr/>
          </p:nvSpPr>
          <p:spPr>
            <a:xfrm>
              <a:off x="60388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8" name="Freeform 957">
              <a:extLst>
                <a:ext uri="{FF2B5EF4-FFF2-40B4-BE49-F238E27FC236}">
                  <a16:creationId xmlns:a16="http://schemas.microsoft.com/office/drawing/2014/main" id="{71B541F6-83A0-6D23-716D-CBE667AE5D8B}"/>
                </a:ext>
              </a:extLst>
            </p:cNvPr>
            <p:cNvSpPr/>
            <p:nvPr/>
          </p:nvSpPr>
          <p:spPr>
            <a:xfrm>
              <a:off x="60388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9" name="Freeform 958">
              <a:extLst>
                <a:ext uri="{FF2B5EF4-FFF2-40B4-BE49-F238E27FC236}">
                  <a16:creationId xmlns:a16="http://schemas.microsoft.com/office/drawing/2014/main" id="{06742A6C-6000-5366-8B42-6B956BAAC7A4}"/>
                </a:ext>
              </a:extLst>
            </p:cNvPr>
            <p:cNvSpPr/>
            <p:nvPr/>
          </p:nvSpPr>
          <p:spPr>
            <a:xfrm>
              <a:off x="60388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0" name="Freeform 959">
              <a:extLst>
                <a:ext uri="{FF2B5EF4-FFF2-40B4-BE49-F238E27FC236}">
                  <a16:creationId xmlns:a16="http://schemas.microsoft.com/office/drawing/2014/main" id="{FDAAEF1D-8F57-7026-31CE-0BAAAA12DEF8}"/>
                </a:ext>
              </a:extLst>
            </p:cNvPr>
            <p:cNvSpPr/>
            <p:nvPr/>
          </p:nvSpPr>
          <p:spPr>
            <a:xfrm>
              <a:off x="61436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1" name="Freeform 960">
              <a:extLst>
                <a:ext uri="{FF2B5EF4-FFF2-40B4-BE49-F238E27FC236}">
                  <a16:creationId xmlns:a16="http://schemas.microsoft.com/office/drawing/2014/main" id="{FAFACFB4-ED02-5A20-5D3B-F81F701BC089}"/>
                </a:ext>
              </a:extLst>
            </p:cNvPr>
            <p:cNvSpPr/>
            <p:nvPr/>
          </p:nvSpPr>
          <p:spPr>
            <a:xfrm>
              <a:off x="61436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2" name="Freeform 961">
              <a:extLst>
                <a:ext uri="{FF2B5EF4-FFF2-40B4-BE49-F238E27FC236}">
                  <a16:creationId xmlns:a16="http://schemas.microsoft.com/office/drawing/2014/main" id="{1CCB432D-4302-5DF5-BF86-B486AB7EB10A}"/>
                </a:ext>
              </a:extLst>
            </p:cNvPr>
            <p:cNvSpPr/>
            <p:nvPr/>
          </p:nvSpPr>
          <p:spPr>
            <a:xfrm>
              <a:off x="61436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3" name="Freeform 962">
              <a:extLst>
                <a:ext uri="{FF2B5EF4-FFF2-40B4-BE49-F238E27FC236}">
                  <a16:creationId xmlns:a16="http://schemas.microsoft.com/office/drawing/2014/main" id="{ACFCD479-7C25-02EF-F1B2-B566714ABD70}"/>
                </a:ext>
              </a:extLst>
            </p:cNvPr>
            <p:cNvSpPr/>
            <p:nvPr/>
          </p:nvSpPr>
          <p:spPr>
            <a:xfrm>
              <a:off x="61436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4" name="Freeform 963">
              <a:extLst>
                <a:ext uri="{FF2B5EF4-FFF2-40B4-BE49-F238E27FC236}">
                  <a16:creationId xmlns:a16="http://schemas.microsoft.com/office/drawing/2014/main" id="{F930C788-BD15-C7A6-07D3-B029B6ED2096}"/>
                </a:ext>
              </a:extLst>
            </p:cNvPr>
            <p:cNvSpPr/>
            <p:nvPr/>
          </p:nvSpPr>
          <p:spPr>
            <a:xfrm>
              <a:off x="614362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5" name="Freeform 964">
              <a:extLst>
                <a:ext uri="{FF2B5EF4-FFF2-40B4-BE49-F238E27FC236}">
                  <a16:creationId xmlns:a16="http://schemas.microsoft.com/office/drawing/2014/main" id="{28F4194B-9FF2-73CB-EF9B-557405C4B161}"/>
                </a:ext>
              </a:extLst>
            </p:cNvPr>
            <p:cNvSpPr/>
            <p:nvPr/>
          </p:nvSpPr>
          <p:spPr>
            <a:xfrm>
              <a:off x="61436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6" name="Freeform 965">
              <a:extLst>
                <a:ext uri="{FF2B5EF4-FFF2-40B4-BE49-F238E27FC236}">
                  <a16:creationId xmlns:a16="http://schemas.microsoft.com/office/drawing/2014/main" id="{99D16DCA-F522-33FC-CEA9-D982C45F5498}"/>
                </a:ext>
              </a:extLst>
            </p:cNvPr>
            <p:cNvSpPr/>
            <p:nvPr/>
          </p:nvSpPr>
          <p:spPr>
            <a:xfrm>
              <a:off x="61436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7" name="Freeform 966">
              <a:extLst>
                <a:ext uri="{FF2B5EF4-FFF2-40B4-BE49-F238E27FC236}">
                  <a16:creationId xmlns:a16="http://schemas.microsoft.com/office/drawing/2014/main" id="{C43DDE2C-4BE6-5FEC-79C8-97D50D0BB661}"/>
                </a:ext>
              </a:extLst>
            </p:cNvPr>
            <p:cNvSpPr/>
            <p:nvPr/>
          </p:nvSpPr>
          <p:spPr>
            <a:xfrm>
              <a:off x="61436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8" name="Freeform 967">
              <a:extLst>
                <a:ext uri="{FF2B5EF4-FFF2-40B4-BE49-F238E27FC236}">
                  <a16:creationId xmlns:a16="http://schemas.microsoft.com/office/drawing/2014/main" id="{5A918F74-60B2-A349-3BD7-11425E1A79B5}"/>
                </a:ext>
              </a:extLst>
            </p:cNvPr>
            <p:cNvSpPr/>
            <p:nvPr/>
          </p:nvSpPr>
          <p:spPr>
            <a:xfrm>
              <a:off x="61436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9" name="Freeform 968">
              <a:extLst>
                <a:ext uri="{FF2B5EF4-FFF2-40B4-BE49-F238E27FC236}">
                  <a16:creationId xmlns:a16="http://schemas.microsoft.com/office/drawing/2014/main" id="{F2CCF8A0-BC91-281E-9FE4-9A24A5509559}"/>
                </a:ext>
              </a:extLst>
            </p:cNvPr>
            <p:cNvSpPr/>
            <p:nvPr/>
          </p:nvSpPr>
          <p:spPr>
            <a:xfrm>
              <a:off x="61436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0" name="Freeform 969">
              <a:extLst>
                <a:ext uri="{FF2B5EF4-FFF2-40B4-BE49-F238E27FC236}">
                  <a16:creationId xmlns:a16="http://schemas.microsoft.com/office/drawing/2014/main" id="{F6E3E137-E058-B87A-E712-71C5D44F4959}"/>
                </a:ext>
              </a:extLst>
            </p:cNvPr>
            <p:cNvSpPr/>
            <p:nvPr/>
          </p:nvSpPr>
          <p:spPr>
            <a:xfrm>
              <a:off x="61436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1" name="Freeform 970">
              <a:extLst>
                <a:ext uri="{FF2B5EF4-FFF2-40B4-BE49-F238E27FC236}">
                  <a16:creationId xmlns:a16="http://schemas.microsoft.com/office/drawing/2014/main" id="{06B854F0-20D3-B4DA-94ED-DDC0002E6C07}"/>
                </a:ext>
              </a:extLst>
            </p:cNvPr>
            <p:cNvSpPr/>
            <p:nvPr/>
          </p:nvSpPr>
          <p:spPr>
            <a:xfrm>
              <a:off x="61436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2" name="Freeform 971">
              <a:extLst>
                <a:ext uri="{FF2B5EF4-FFF2-40B4-BE49-F238E27FC236}">
                  <a16:creationId xmlns:a16="http://schemas.microsoft.com/office/drawing/2014/main" id="{4D14D12E-9322-A589-1C81-F4F289DE7594}"/>
                </a:ext>
              </a:extLst>
            </p:cNvPr>
            <p:cNvSpPr/>
            <p:nvPr/>
          </p:nvSpPr>
          <p:spPr>
            <a:xfrm>
              <a:off x="61436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3" name="Freeform 972">
              <a:extLst>
                <a:ext uri="{FF2B5EF4-FFF2-40B4-BE49-F238E27FC236}">
                  <a16:creationId xmlns:a16="http://schemas.microsoft.com/office/drawing/2014/main" id="{E4AD7064-5E05-2030-E7BC-6C53D2439E97}"/>
                </a:ext>
              </a:extLst>
            </p:cNvPr>
            <p:cNvSpPr/>
            <p:nvPr/>
          </p:nvSpPr>
          <p:spPr>
            <a:xfrm>
              <a:off x="61436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4" name="Freeform 973">
              <a:extLst>
                <a:ext uri="{FF2B5EF4-FFF2-40B4-BE49-F238E27FC236}">
                  <a16:creationId xmlns:a16="http://schemas.microsoft.com/office/drawing/2014/main" id="{39FE0E1E-4198-433C-92E0-BE733D4E484B}"/>
                </a:ext>
              </a:extLst>
            </p:cNvPr>
            <p:cNvSpPr/>
            <p:nvPr/>
          </p:nvSpPr>
          <p:spPr>
            <a:xfrm>
              <a:off x="61436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5" name="Freeform 974">
              <a:extLst>
                <a:ext uri="{FF2B5EF4-FFF2-40B4-BE49-F238E27FC236}">
                  <a16:creationId xmlns:a16="http://schemas.microsoft.com/office/drawing/2014/main" id="{DC12E8C6-9A57-4D4C-30A8-4F738BD336CA}"/>
                </a:ext>
              </a:extLst>
            </p:cNvPr>
            <p:cNvSpPr/>
            <p:nvPr/>
          </p:nvSpPr>
          <p:spPr>
            <a:xfrm>
              <a:off x="61436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6" name="Freeform 975">
              <a:extLst>
                <a:ext uri="{FF2B5EF4-FFF2-40B4-BE49-F238E27FC236}">
                  <a16:creationId xmlns:a16="http://schemas.microsoft.com/office/drawing/2014/main" id="{3EA3A4C9-303B-76C2-DE12-D75DBE106980}"/>
                </a:ext>
              </a:extLst>
            </p:cNvPr>
            <p:cNvSpPr/>
            <p:nvPr/>
          </p:nvSpPr>
          <p:spPr>
            <a:xfrm>
              <a:off x="61436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7" name="Freeform 976">
              <a:extLst>
                <a:ext uri="{FF2B5EF4-FFF2-40B4-BE49-F238E27FC236}">
                  <a16:creationId xmlns:a16="http://schemas.microsoft.com/office/drawing/2014/main" id="{9C3F1E90-4CA4-22F6-AC85-979B5CBCE1A4}"/>
                </a:ext>
              </a:extLst>
            </p:cNvPr>
            <p:cNvSpPr/>
            <p:nvPr/>
          </p:nvSpPr>
          <p:spPr>
            <a:xfrm>
              <a:off x="614362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8" name="Freeform 977">
              <a:extLst>
                <a:ext uri="{FF2B5EF4-FFF2-40B4-BE49-F238E27FC236}">
                  <a16:creationId xmlns:a16="http://schemas.microsoft.com/office/drawing/2014/main" id="{87D61EF9-F18B-4FCF-1C71-10235CC3736D}"/>
                </a:ext>
              </a:extLst>
            </p:cNvPr>
            <p:cNvSpPr/>
            <p:nvPr/>
          </p:nvSpPr>
          <p:spPr>
            <a:xfrm>
              <a:off x="61436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9" name="Freeform 978">
              <a:extLst>
                <a:ext uri="{FF2B5EF4-FFF2-40B4-BE49-F238E27FC236}">
                  <a16:creationId xmlns:a16="http://schemas.microsoft.com/office/drawing/2014/main" id="{132660BB-5FAC-7278-B301-823F8E0DFE5E}"/>
                </a:ext>
              </a:extLst>
            </p:cNvPr>
            <p:cNvSpPr/>
            <p:nvPr/>
          </p:nvSpPr>
          <p:spPr>
            <a:xfrm>
              <a:off x="61436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0" name="Freeform 979">
              <a:extLst>
                <a:ext uri="{FF2B5EF4-FFF2-40B4-BE49-F238E27FC236}">
                  <a16:creationId xmlns:a16="http://schemas.microsoft.com/office/drawing/2014/main" id="{4D64242E-087B-B962-A3D2-0FB8844230DA}"/>
                </a:ext>
              </a:extLst>
            </p:cNvPr>
            <p:cNvSpPr/>
            <p:nvPr/>
          </p:nvSpPr>
          <p:spPr>
            <a:xfrm>
              <a:off x="61436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1" name="Freeform 980">
              <a:extLst>
                <a:ext uri="{FF2B5EF4-FFF2-40B4-BE49-F238E27FC236}">
                  <a16:creationId xmlns:a16="http://schemas.microsoft.com/office/drawing/2014/main" id="{F497D59A-87F6-00D3-F256-EE9DDA609B32}"/>
                </a:ext>
              </a:extLst>
            </p:cNvPr>
            <p:cNvSpPr/>
            <p:nvPr/>
          </p:nvSpPr>
          <p:spPr>
            <a:xfrm>
              <a:off x="61436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2" name="Freeform 981">
              <a:extLst>
                <a:ext uri="{FF2B5EF4-FFF2-40B4-BE49-F238E27FC236}">
                  <a16:creationId xmlns:a16="http://schemas.microsoft.com/office/drawing/2014/main" id="{6C394ACA-D31E-80C6-15C8-022EEA147B9C}"/>
                </a:ext>
              </a:extLst>
            </p:cNvPr>
            <p:cNvSpPr/>
            <p:nvPr/>
          </p:nvSpPr>
          <p:spPr>
            <a:xfrm>
              <a:off x="61436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3" name="Freeform 982">
              <a:extLst>
                <a:ext uri="{FF2B5EF4-FFF2-40B4-BE49-F238E27FC236}">
                  <a16:creationId xmlns:a16="http://schemas.microsoft.com/office/drawing/2014/main" id="{F4453D38-6867-D5D5-9004-0E19B41EC105}"/>
                </a:ext>
              </a:extLst>
            </p:cNvPr>
            <p:cNvSpPr/>
            <p:nvPr/>
          </p:nvSpPr>
          <p:spPr>
            <a:xfrm>
              <a:off x="61436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4" name="Freeform 983">
              <a:extLst>
                <a:ext uri="{FF2B5EF4-FFF2-40B4-BE49-F238E27FC236}">
                  <a16:creationId xmlns:a16="http://schemas.microsoft.com/office/drawing/2014/main" id="{912034DE-127F-5F66-B368-9AB3075F45A4}"/>
                </a:ext>
              </a:extLst>
            </p:cNvPr>
            <p:cNvSpPr/>
            <p:nvPr/>
          </p:nvSpPr>
          <p:spPr>
            <a:xfrm>
              <a:off x="62484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5" name="Freeform 984">
              <a:extLst>
                <a:ext uri="{FF2B5EF4-FFF2-40B4-BE49-F238E27FC236}">
                  <a16:creationId xmlns:a16="http://schemas.microsoft.com/office/drawing/2014/main" id="{56E14938-E9AE-DD89-8E58-12374922D2E3}"/>
                </a:ext>
              </a:extLst>
            </p:cNvPr>
            <p:cNvSpPr/>
            <p:nvPr/>
          </p:nvSpPr>
          <p:spPr>
            <a:xfrm>
              <a:off x="62484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6" name="Freeform 985">
              <a:extLst>
                <a:ext uri="{FF2B5EF4-FFF2-40B4-BE49-F238E27FC236}">
                  <a16:creationId xmlns:a16="http://schemas.microsoft.com/office/drawing/2014/main" id="{98779C51-B5CB-A736-EFD1-5B0E47B914C6}"/>
                </a:ext>
              </a:extLst>
            </p:cNvPr>
            <p:cNvSpPr/>
            <p:nvPr/>
          </p:nvSpPr>
          <p:spPr>
            <a:xfrm>
              <a:off x="624840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7" name="Freeform 986">
              <a:extLst>
                <a:ext uri="{FF2B5EF4-FFF2-40B4-BE49-F238E27FC236}">
                  <a16:creationId xmlns:a16="http://schemas.microsoft.com/office/drawing/2014/main" id="{318C319E-CCF3-1A7C-12C2-DB7F05DEFA50}"/>
                </a:ext>
              </a:extLst>
            </p:cNvPr>
            <p:cNvSpPr/>
            <p:nvPr/>
          </p:nvSpPr>
          <p:spPr>
            <a:xfrm>
              <a:off x="62484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8" name="Freeform 987">
              <a:extLst>
                <a:ext uri="{FF2B5EF4-FFF2-40B4-BE49-F238E27FC236}">
                  <a16:creationId xmlns:a16="http://schemas.microsoft.com/office/drawing/2014/main" id="{0573C945-9171-3909-AFCB-CDBDAB790E80}"/>
                </a:ext>
              </a:extLst>
            </p:cNvPr>
            <p:cNvSpPr/>
            <p:nvPr/>
          </p:nvSpPr>
          <p:spPr>
            <a:xfrm>
              <a:off x="62484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9" name="Freeform 988">
              <a:extLst>
                <a:ext uri="{FF2B5EF4-FFF2-40B4-BE49-F238E27FC236}">
                  <a16:creationId xmlns:a16="http://schemas.microsoft.com/office/drawing/2014/main" id="{72FA9A2D-C462-8BCF-CB58-E89FEDF7D644}"/>
                </a:ext>
              </a:extLst>
            </p:cNvPr>
            <p:cNvSpPr/>
            <p:nvPr/>
          </p:nvSpPr>
          <p:spPr>
            <a:xfrm>
              <a:off x="62484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0" name="Freeform 989">
              <a:extLst>
                <a:ext uri="{FF2B5EF4-FFF2-40B4-BE49-F238E27FC236}">
                  <a16:creationId xmlns:a16="http://schemas.microsoft.com/office/drawing/2014/main" id="{950D8D0E-C159-E404-0850-76EDEF692B1D}"/>
                </a:ext>
              </a:extLst>
            </p:cNvPr>
            <p:cNvSpPr/>
            <p:nvPr/>
          </p:nvSpPr>
          <p:spPr>
            <a:xfrm>
              <a:off x="62484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1" name="Freeform 990">
              <a:extLst>
                <a:ext uri="{FF2B5EF4-FFF2-40B4-BE49-F238E27FC236}">
                  <a16:creationId xmlns:a16="http://schemas.microsoft.com/office/drawing/2014/main" id="{9757DE60-88DE-130E-FB01-11D13BB83458}"/>
                </a:ext>
              </a:extLst>
            </p:cNvPr>
            <p:cNvSpPr/>
            <p:nvPr/>
          </p:nvSpPr>
          <p:spPr>
            <a:xfrm>
              <a:off x="62484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2" name="Freeform 991">
              <a:extLst>
                <a:ext uri="{FF2B5EF4-FFF2-40B4-BE49-F238E27FC236}">
                  <a16:creationId xmlns:a16="http://schemas.microsoft.com/office/drawing/2014/main" id="{C194E360-BFC8-CC6E-1B0C-D5E5DCEC65B9}"/>
                </a:ext>
              </a:extLst>
            </p:cNvPr>
            <p:cNvSpPr/>
            <p:nvPr/>
          </p:nvSpPr>
          <p:spPr>
            <a:xfrm>
              <a:off x="62484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3" name="Freeform 992">
              <a:extLst>
                <a:ext uri="{FF2B5EF4-FFF2-40B4-BE49-F238E27FC236}">
                  <a16:creationId xmlns:a16="http://schemas.microsoft.com/office/drawing/2014/main" id="{8E1B6DC7-80DB-A436-8678-95F2F5F5BC75}"/>
                </a:ext>
              </a:extLst>
            </p:cNvPr>
            <p:cNvSpPr/>
            <p:nvPr/>
          </p:nvSpPr>
          <p:spPr>
            <a:xfrm>
              <a:off x="62484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4" name="Freeform 993">
              <a:extLst>
                <a:ext uri="{FF2B5EF4-FFF2-40B4-BE49-F238E27FC236}">
                  <a16:creationId xmlns:a16="http://schemas.microsoft.com/office/drawing/2014/main" id="{A9147B6D-C0C1-413C-F8A2-579FCF3F8DD1}"/>
                </a:ext>
              </a:extLst>
            </p:cNvPr>
            <p:cNvSpPr/>
            <p:nvPr/>
          </p:nvSpPr>
          <p:spPr>
            <a:xfrm>
              <a:off x="62484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5" name="Freeform 994">
              <a:extLst>
                <a:ext uri="{FF2B5EF4-FFF2-40B4-BE49-F238E27FC236}">
                  <a16:creationId xmlns:a16="http://schemas.microsoft.com/office/drawing/2014/main" id="{F3E15A4D-AE41-D6BA-7452-2B9617122E25}"/>
                </a:ext>
              </a:extLst>
            </p:cNvPr>
            <p:cNvSpPr/>
            <p:nvPr/>
          </p:nvSpPr>
          <p:spPr>
            <a:xfrm>
              <a:off x="62484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6" name="Freeform 995">
              <a:extLst>
                <a:ext uri="{FF2B5EF4-FFF2-40B4-BE49-F238E27FC236}">
                  <a16:creationId xmlns:a16="http://schemas.microsoft.com/office/drawing/2014/main" id="{3C68095C-FC3C-4D08-8FE0-F0584888F7A6}"/>
                </a:ext>
              </a:extLst>
            </p:cNvPr>
            <p:cNvSpPr/>
            <p:nvPr/>
          </p:nvSpPr>
          <p:spPr>
            <a:xfrm>
              <a:off x="62484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7" name="Freeform 996">
              <a:extLst>
                <a:ext uri="{FF2B5EF4-FFF2-40B4-BE49-F238E27FC236}">
                  <a16:creationId xmlns:a16="http://schemas.microsoft.com/office/drawing/2014/main" id="{AC54CB01-FECA-D281-8762-DE39BCADC3A7}"/>
                </a:ext>
              </a:extLst>
            </p:cNvPr>
            <p:cNvSpPr/>
            <p:nvPr/>
          </p:nvSpPr>
          <p:spPr>
            <a:xfrm>
              <a:off x="62484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8" name="Freeform 997">
              <a:extLst>
                <a:ext uri="{FF2B5EF4-FFF2-40B4-BE49-F238E27FC236}">
                  <a16:creationId xmlns:a16="http://schemas.microsoft.com/office/drawing/2014/main" id="{18FA9BC1-FD36-4164-483B-EF58D669F4E4}"/>
                </a:ext>
              </a:extLst>
            </p:cNvPr>
            <p:cNvSpPr/>
            <p:nvPr/>
          </p:nvSpPr>
          <p:spPr>
            <a:xfrm>
              <a:off x="62484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9" name="Freeform 998">
              <a:extLst>
                <a:ext uri="{FF2B5EF4-FFF2-40B4-BE49-F238E27FC236}">
                  <a16:creationId xmlns:a16="http://schemas.microsoft.com/office/drawing/2014/main" id="{58B84D8D-F7E9-6F8A-2BA4-BE7FDBC955D0}"/>
                </a:ext>
              </a:extLst>
            </p:cNvPr>
            <p:cNvSpPr/>
            <p:nvPr/>
          </p:nvSpPr>
          <p:spPr>
            <a:xfrm>
              <a:off x="62484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0" name="Freeform 999">
              <a:extLst>
                <a:ext uri="{FF2B5EF4-FFF2-40B4-BE49-F238E27FC236}">
                  <a16:creationId xmlns:a16="http://schemas.microsoft.com/office/drawing/2014/main" id="{1657F619-FC2E-38A2-B6F0-E2B8FD8D2C45}"/>
                </a:ext>
              </a:extLst>
            </p:cNvPr>
            <p:cNvSpPr/>
            <p:nvPr/>
          </p:nvSpPr>
          <p:spPr>
            <a:xfrm>
              <a:off x="62484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1" name="Freeform 1000">
              <a:extLst>
                <a:ext uri="{FF2B5EF4-FFF2-40B4-BE49-F238E27FC236}">
                  <a16:creationId xmlns:a16="http://schemas.microsoft.com/office/drawing/2014/main" id="{943E8284-E84A-CAC2-B1FA-DB292D4145BF}"/>
                </a:ext>
              </a:extLst>
            </p:cNvPr>
            <p:cNvSpPr/>
            <p:nvPr/>
          </p:nvSpPr>
          <p:spPr>
            <a:xfrm>
              <a:off x="62484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2" name="Freeform 1001">
              <a:extLst>
                <a:ext uri="{FF2B5EF4-FFF2-40B4-BE49-F238E27FC236}">
                  <a16:creationId xmlns:a16="http://schemas.microsoft.com/office/drawing/2014/main" id="{C929176E-6E93-FB13-424D-C5EAFFBA9041}"/>
                </a:ext>
              </a:extLst>
            </p:cNvPr>
            <p:cNvSpPr/>
            <p:nvPr/>
          </p:nvSpPr>
          <p:spPr>
            <a:xfrm>
              <a:off x="63531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3" name="Freeform 1002">
              <a:extLst>
                <a:ext uri="{FF2B5EF4-FFF2-40B4-BE49-F238E27FC236}">
                  <a16:creationId xmlns:a16="http://schemas.microsoft.com/office/drawing/2014/main" id="{4D5C6554-69A0-2603-5298-9D1CCE1C41CA}"/>
                </a:ext>
              </a:extLst>
            </p:cNvPr>
            <p:cNvSpPr/>
            <p:nvPr/>
          </p:nvSpPr>
          <p:spPr>
            <a:xfrm>
              <a:off x="63531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4" name="Freeform 1003">
              <a:extLst>
                <a:ext uri="{FF2B5EF4-FFF2-40B4-BE49-F238E27FC236}">
                  <a16:creationId xmlns:a16="http://schemas.microsoft.com/office/drawing/2014/main" id="{60AF92A2-A2C1-541E-D3FB-69A1384BB9C4}"/>
                </a:ext>
              </a:extLst>
            </p:cNvPr>
            <p:cNvSpPr/>
            <p:nvPr/>
          </p:nvSpPr>
          <p:spPr>
            <a:xfrm>
              <a:off x="63531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5" name="Freeform 1004">
              <a:extLst>
                <a:ext uri="{FF2B5EF4-FFF2-40B4-BE49-F238E27FC236}">
                  <a16:creationId xmlns:a16="http://schemas.microsoft.com/office/drawing/2014/main" id="{3FDB4322-B28A-CF69-950E-829FBBFD4CB1}"/>
                </a:ext>
              </a:extLst>
            </p:cNvPr>
            <p:cNvSpPr/>
            <p:nvPr/>
          </p:nvSpPr>
          <p:spPr>
            <a:xfrm>
              <a:off x="63531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6" name="Freeform 1005">
              <a:extLst>
                <a:ext uri="{FF2B5EF4-FFF2-40B4-BE49-F238E27FC236}">
                  <a16:creationId xmlns:a16="http://schemas.microsoft.com/office/drawing/2014/main" id="{32BDB78B-59C8-9A4B-5017-4935E0F27C24}"/>
                </a:ext>
              </a:extLst>
            </p:cNvPr>
            <p:cNvSpPr/>
            <p:nvPr/>
          </p:nvSpPr>
          <p:spPr>
            <a:xfrm>
              <a:off x="63531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7" name="Freeform 1006">
              <a:extLst>
                <a:ext uri="{FF2B5EF4-FFF2-40B4-BE49-F238E27FC236}">
                  <a16:creationId xmlns:a16="http://schemas.microsoft.com/office/drawing/2014/main" id="{31BD7144-380A-CCB6-4D73-8A8ED4ACBDBA}"/>
                </a:ext>
              </a:extLst>
            </p:cNvPr>
            <p:cNvSpPr/>
            <p:nvPr/>
          </p:nvSpPr>
          <p:spPr>
            <a:xfrm>
              <a:off x="63531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8" name="Freeform 1007">
              <a:extLst>
                <a:ext uri="{FF2B5EF4-FFF2-40B4-BE49-F238E27FC236}">
                  <a16:creationId xmlns:a16="http://schemas.microsoft.com/office/drawing/2014/main" id="{A6471D3A-F617-DDEE-65F3-F577AA7C10F5}"/>
                </a:ext>
              </a:extLst>
            </p:cNvPr>
            <p:cNvSpPr/>
            <p:nvPr/>
          </p:nvSpPr>
          <p:spPr>
            <a:xfrm>
              <a:off x="63531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9" name="Freeform 1008">
              <a:extLst>
                <a:ext uri="{FF2B5EF4-FFF2-40B4-BE49-F238E27FC236}">
                  <a16:creationId xmlns:a16="http://schemas.microsoft.com/office/drawing/2014/main" id="{A8A4FF0E-2958-E208-B09B-4DD2B36DEDB0}"/>
                </a:ext>
              </a:extLst>
            </p:cNvPr>
            <p:cNvSpPr/>
            <p:nvPr/>
          </p:nvSpPr>
          <p:spPr>
            <a:xfrm>
              <a:off x="63531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0" name="Freeform 1009">
              <a:extLst>
                <a:ext uri="{FF2B5EF4-FFF2-40B4-BE49-F238E27FC236}">
                  <a16:creationId xmlns:a16="http://schemas.microsoft.com/office/drawing/2014/main" id="{E21AC311-088E-39C2-CEE3-DC8DAB0C8BDC}"/>
                </a:ext>
              </a:extLst>
            </p:cNvPr>
            <p:cNvSpPr/>
            <p:nvPr/>
          </p:nvSpPr>
          <p:spPr>
            <a:xfrm>
              <a:off x="63531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1" name="Freeform 1010">
              <a:extLst>
                <a:ext uri="{FF2B5EF4-FFF2-40B4-BE49-F238E27FC236}">
                  <a16:creationId xmlns:a16="http://schemas.microsoft.com/office/drawing/2014/main" id="{3B74BFC6-E143-CDFA-F55E-09F1CC38354F}"/>
                </a:ext>
              </a:extLst>
            </p:cNvPr>
            <p:cNvSpPr/>
            <p:nvPr/>
          </p:nvSpPr>
          <p:spPr>
            <a:xfrm>
              <a:off x="63531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2" name="Freeform 1011">
              <a:extLst>
                <a:ext uri="{FF2B5EF4-FFF2-40B4-BE49-F238E27FC236}">
                  <a16:creationId xmlns:a16="http://schemas.microsoft.com/office/drawing/2014/main" id="{0A004CDD-F574-BE31-2545-315342902C36}"/>
                </a:ext>
              </a:extLst>
            </p:cNvPr>
            <p:cNvSpPr/>
            <p:nvPr/>
          </p:nvSpPr>
          <p:spPr>
            <a:xfrm>
              <a:off x="63531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3" name="Freeform 1012">
              <a:extLst>
                <a:ext uri="{FF2B5EF4-FFF2-40B4-BE49-F238E27FC236}">
                  <a16:creationId xmlns:a16="http://schemas.microsoft.com/office/drawing/2014/main" id="{C0477436-55DA-C523-A4E4-CEC8972F67C7}"/>
                </a:ext>
              </a:extLst>
            </p:cNvPr>
            <p:cNvSpPr/>
            <p:nvPr/>
          </p:nvSpPr>
          <p:spPr>
            <a:xfrm>
              <a:off x="635317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4" name="Freeform 1013">
              <a:extLst>
                <a:ext uri="{FF2B5EF4-FFF2-40B4-BE49-F238E27FC236}">
                  <a16:creationId xmlns:a16="http://schemas.microsoft.com/office/drawing/2014/main" id="{5A51FC6D-BDE7-D4C4-EC78-1297BFC4A420}"/>
                </a:ext>
              </a:extLst>
            </p:cNvPr>
            <p:cNvSpPr/>
            <p:nvPr/>
          </p:nvSpPr>
          <p:spPr>
            <a:xfrm>
              <a:off x="63531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5" name="Freeform 1014">
              <a:extLst>
                <a:ext uri="{FF2B5EF4-FFF2-40B4-BE49-F238E27FC236}">
                  <a16:creationId xmlns:a16="http://schemas.microsoft.com/office/drawing/2014/main" id="{A3E559E3-3AC6-60F2-3047-F99C7B278AC8}"/>
                </a:ext>
              </a:extLst>
            </p:cNvPr>
            <p:cNvSpPr/>
            <p:nvPr/>
          </p:nvSpPr>
          <p:spPr>
            <a:xfrm>
              <a:off x="63531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6" name="Freeform 1015">
              <a:extLst>
                <a:ext uri="{FF2B5EF4-FFF2-40B4-BE49-F238E27FC236}">
                  <a16:creationId xmlns:a16="http://schemas.microsoft.com/office/drawing/2014/main" id="{89A2DAEF-041E-9731-5D59-1880D3D0930A}"/>
                </a:ext>
              </a:extLst>
            </p:cNvPr>
            <p:cNvSpPr/>
            <p:nvPr/>
          </p:nvSpPr>
          <p:spPr>
            <a:xfrm>
              <a:off x="64579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7" name="Freeform 1016">
              <a:extLst>
                <a:ext uri="{FF2B5EF4-FFF2-40B4-BE49-F238E27FC236}">
                  <a16:creationId xmlns:a16="http://schemas.microsoft.com/office/drawing/2014/main" id="{36F578EC-DFAF-905A-73B0-1C2A17A6175C}"/>
                </a:ext>
              </a:extLst>
            </p:cNvPr>
            <p:cNvSpPr/>
            <p:nvPr/>
          </p:nvSpPr>
          <p:spPr>
            <a:xfrm>
              <a:off x="64579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8" name="Freeform 1017">
              <a:extLst>
                <a:ext uri="{FF2B5EF4-FFF2-40B4-BE49-F238E27FC236}">
                  <a16:creationId xmlns:a16="http://schemas.microsoft.com/office/drawing/2014/main" id="{E4780375-9D38-33DD-5EF6-E05A839805B5}"/>
                </a:ext>
              </a:extLst>
            </p:cNvPr>
            <p:cNvSpPr/>
            <p:nvPr/>
          </p:nvSpPr>
          <p:spPr>
            <a:xfrm>
              <a:off x="64579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9" name="Freeform 1018">
              <a:extLst>
                <a:ext uri="{FF2B5EF4-FFF2-40B4-BE49-F238E27FC236}">
                  <a16:creationId xmlns:a16="http://schemas.microsoft.com/office/drawing/2014/main" id="{DF164FD8-43AE-9D00-9967-5EC9B8BF5B04}"/>
                </a:ext>
              </a:extLst>
            </p:cNvPr>
            <p:cNvSpPr/>
            <p:nvPr/>
          </p:nvSpPr>
          <p:spPr>
            <a:xfrm>
              <a:off x="64579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0" name="Freeform 1019">
              <a:extLst>
                <a:ext uri="{FF2B5EF4-FFF2-40B4-BE49-F238E27FC236}">
                  <a16:creationId xmlns:a16="http://schemas.microsoft.com/office/drawing/2014/main" id="{CD09E3DF-39BC-CA14-573F-17E1ECDF22FB}"/>
                </a:ext>
              </a:extLst>
            </p:cNvPr>
            <p:cNvSpPr/>
            <p:nvPr/>
          </p:nvSpPr>
          <p:spPr>
            <a:xfrm>
              <a:off x="64579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1" name="Freeform 1020">
              <a:extLst>
                <a:ext uri="{FF2B5EF4-FFF2-40B4-BE49-F238E27FC236}">
                  <a16:creationId xmlns:a16="http://schemas.microsoft.com/office/drawing/2014/main" id="{9E4DC628-0773-D5AC-4D5C-4251BBFA0EB6}"/>
                </a:ext>
              </a:extLst>
            </p:cNvPr>
            <p:cNvSpPr/>
            <p:nvPr/>
          </p:nvSpPr>
          <p:spPr>
            <a:xfrm>
              <a:off x="64579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2" name="Freeform 1021">
              <a:extLst>
                <a:ext uri="{FF2B5EF4-FFF2-40B4-BE49-F238E27FC236}">
                  <a16:creationId xmlns:a16="http://schemas.microsoft.com/office/drawing/2014/main" id="{75296AB3-DC22-9633-99B4-7BA05F257043}"/>
                </a:ext>
              </a:extLst>
            </p:cNvPr>
            <p:cNvSpPr/>
            <p:nvPr/>
          </p:nvSpPr>
          <p:spPr>
            <a:xfrm>
              <a:off x="64579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3" name="Freeform 1022">
              <a:extLst>
                <a:ext uri="{FF2B5EF4-FFF2-40B4-BE49-F238E27FC236}">
                  <a16:creationId xmlns:a16="http://schemas.microsoft.com/office/drawing/2014/main" id="{6984EAA0-2F7E-386F-A56D-F1F0347D1558}"/>
                </a:ext>
              </a:extLst>
            </p:cNvPr>
            <p:cNvSpPr/>
            <p:nvPr/>
          </p:nvSpPr>
          <p:spPr>
            <a:xfrm>
              <a:off x="64579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473FE728-A65A-1691-E420-93D27C7294E1}"/>
                </a:ext>
              </a:extLst>
            </p:cNvPr>
            <p:cNvSpPr/>
            <p:nvPr/>
          </p:nvSpPr>
          <p:spPr>
            <a:xfrm>
              <a:off x="64579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5" name="Freeform 1024">
              <a:extLst>
                <a:ext uri="{FF2B5EF4-FFF2-40B4-BE49-F238E27FC236}">
                  <a16:creationId xmlns:a16="http://schemas.microsoft.com/office/drawing/2014/main" id="{1482FC48-98B3-3E45-DFB9-66B7E41EED4F}"/>
                </a:ext>
              </a:extLst>
            </p:cNvPr>
            <p:cNvSpPr/>
            <p:nvPr/>
          </p:nvSpPr>
          <p:spPr>
            <a:xfrm>
              <a:off x="64579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6" name="Freeform 1025">
              <a:extLst>
                <a:ext uri="{FF2B5EF4-FFF2-40B4-BE49-F238E27FC236}">
                  <a16:creationId xmlns:a16="http://schemas.microsoft.com/office/drawing/2014/main" id="{5748B350-E51F-DF24-D6FA-FF834D70E0F6}"/>
                </a:ext>
              </a:extLst>
            </p:cNvPr>
            <p:cNvSpPr/>
            <p:nvPr/>
          </p:nvSpPr>
          <p:spPr>
            <a:xfrm>
              <a:off x="64579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4D2E6174-F80A-29AE-30F7-744960901615}"/>
                </a:ext>
              </a:extLst>
            </p:cNvPr>
            <p:cNvSpPr/>
            <p:nvPr/>
          </p:nvSpPr>
          <p:spPr>
            <a:xfrm>
              <a:off x="64579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8DEA3857-CC14-CD8D-F019-D053693DFF22}"/>
                </a:ext>
              </a:extLst>
            </p:cNvPr>
            <p:cNvSpPr/>
            <p:nvPr/>
          </p:nvSpPr>
          <p:spPr>
            <a:xfrm>
              <a:off x="64579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F4E5681E-1F06-4CED-7B92-096D199E082E}"/>
                </a:ext>
              </a:extLst>
            </p:cNvPr>
            <p:cNvSpPr/>
            <p:nvPr/>
          </p:nvSpPr>
          <p:spPr>
            <a:xfrm>
              <a:off x="64579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A84206FA-287E-B3FE-394C-05F8E740FAF0}"/>
                </a:ext>
              </a:extLst>
            </p:cNvPr>
            <p:cNvSpPr/>
            <p:nvPr/>
          </p:nvSpPr>
          <p:spPr>
            <a:xfrm>
              <a:off x="64579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B1817DBE-5411-0ECC-7351-C1FABF1B0043}"/>
                </a:ext>
              </a:extLst>
            </p:cNvPr>
            <p:cNvSpPr/>
            <p:nvPr/>
          </p:nvSpPr>
          <p:spPr>
            <a:xfrm>
              <a:off x="64579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D249A277-1F84-DC3C-791D-F01A6D877655}"/>
                </a:ext>
              </a:extLst>
            </p:cNvPr>
            <p:cNvSpPr/>
            <p:nvPr/>
          </p:nvSpPr>
          <p:spPr>
            <a:xfrm>
              <a:off x="64579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7A49ABAD-887E-5B5A-88E6-A3388B6D120B}"/>
                </a:ext>
              </a:extLst>
            </p:cNvPr>
            <p:cNvSpPr/>
            <p:nvPr/>
          </p:nvSpPr>
          <p:spPr>
            <a:xfrm>
              <a:off x="65627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A992AADF-7034-1B98-50C2-66F34D49C0A7}"/>
                </a:ext>
              </a:extLst>
            </p:cNvPr>
            <p:cNvSpPr/>
            <p:nvPr/>
          </p:nvSpPr>
          <p:spPr>
            <a:xfrm>
              <a:off x="65627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5" name="Freeform 1034">
              <a:extLst>
                <a:ext uri="{FF2B5EF4-FFF2-40B4-BE49-F238E27FC236}">
                  <a16:creationId xmlns:a16="http://schemas.microsoft.com/office/drawing/2014/main" id="{D09482EA-BEE1-8910-DBE2-74DE1A54452A}"/>
                </a:ext>
              </a:extLst>
            </p:cNvPr>
            <p:cNvSpPr/>
            <p:nvPr/>
          </p:nvSpPr>
          <p:spPr>
            <a:xfrm>
              <a:off x="65627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6" name="Freeform 1035">
              <a:extLst>
                <a:ext uri="{FF2B5EF4-FFF2-40B4-BE49-F238E27FC236}">
                  <a16:creationId xmlns:a16="http://schemas.microsoft.com/office/drawing/2014/main" id="{7399423B-1917-6722-2BF5-8015774CA237}"/>
                </a:ext>
              </a:extLst>
            </p:cNvPr>
            <p:cNvSpPr/>
            <p:nvPr/>
          </p:nvSpPr>
          <p:spPr>
            <a:xfrm>
              <a:off x="65627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F881AB6C-2B8F-E686-C609-B97D6F80E897}"/>
                </a:ext>
              </a:extLst>
            </p:cNvPr>
            <p:cNvSpPr/>
            <p:nvPr/>
          </p:nvSpPr>
          <p:spPr>
            <a:xfrm>
              <a:off x="65627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D042540-A7F6-4072-828C-3FC1178CF127}"/>
                </a:ext>
              </a:extLst>
            </p:cNvPr>
            <p:cNvSpPr/>
            <p:nvPr/>
          </p:nvSpPr>
          <p:spPr>
            <a:xfrm>
              <a:off x="65627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6CA8EF88-9C52-C626-92CA-D82CFD441E86}"/>
                </a:ext>
              </a:extLst>
            </p:cNvPr>
            <p:cNvSpPr/>
            <p:nvPr/>
          </p:nvSpPr>
          <p:spPr>
            <a:xfrm>
              <a:off x="65627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FCBD8CD1-1BD2-46ED-0504-0D1A597E6DEE}"/>
                </a:ext>
              </a:extLst>
            </p:cNvPr>
            <p:cNvSpPr/>
            <p:nvPr/>
          </p:nvSpPr>
          <p:spPr>
            <a:xfrm>
              <a:off x="65627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1" name="Freeform 1040">
              <a:extLst>
                <a:ext uri="{FF2B5EF4-FFF2-40B4-BE49-F238E27FC236}">
                  <a16:creationId xmlns:a16="http://schemas.microsoft.com/office/drawing/2014/main" id="{BC8B14F6-EFF4-0BFE-A1C6-EBF2A5A78B9C}"/>
                </a:ext>
              </a:extLst>
            </p:cNvPr>
            <p:cNvSpPr/>
            <p:nvPr/>
          </p:nvSpPr>
          <p:spPr>
            <a:xfrm>
              <a:off x="65627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2" name="Freeform 1041">
              <a:extLst>
                <a:ext uri="{FF2B5EF4-FFF2-40B4-BE49-F238E27FC236}">
                  <a16:creationId xmlns:a16="http://schemas.microsoft.com/office/drawing/2014/main" id="{8BB2DA16-B82E-D3DA-7525-31A68D367956}"/>
                </a:ext>
              </a:extLst>
            </p:cNvPr>
            <p:cNvSpPr/>
            <p:nvPr/>
          </p:nvSpPr>
          <p:spPr>
            <a:xfrm>
              <a:off x="65627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3" name="Freeform 1042">
              <a:extLst>
                <a:ext uri="{FF2B5EF4-FFF2-40B4-BE49-F238E27FC236}">
                  <a16:creationId xmlns:a16="http://schemas.microsoft.com/office/drawing/2014/main" id="{09B93266-EB58-C615-6C47-A5EE80C9DE3D}"/>
                </a:ext>
              </a:extLst>
            </p:cNvPr>
            <p:cNvSpPr/>
            <p:nvPr/>
          </p:nvSpPr>
          <p:spPr>
            <a:xfrm>
              <a:off x="65627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4" name="Freeform 1043">
              <a:extLst>
                <a:ext uri="{FF2B5EF4-FFF2-40B4-BE49-F238E27FC236}">
                  <a16:creationId xmlns:a16="http://schemas.microsoft.com/office/drawing/2014/main" id="{BA8D7DC1-74AB-D51E-7585-D7D3170A7F53}"/>
                </a:ext>
              </a:extLst>
            </p:cNvPr>
            <p:cNvSpPr/>
            <p:nvPr/>
          </p:nvSpPr>
          <p:spPr>
            <a:xfrm>
              <a:off x="65627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5" name="Freeform 1044">
              <a:extLst>
                <a:ext uri="{FF2B5EF4-FFF2-40B4-BE49-F238E27FC236}">
                  <a16:creationId xmlns:a16="http://schemas.microsoft.com/office/drawing/2014/main" id="{ABAE72B6-2031-9F8B-4AC1-4BB3E795A1D4}"/>
                </a:ext>
              </a:extLst>
            </p:cNvPr>
            <p:cNvSpPr/>
            <p:nvPr/>
          </p:nvSpPr>
          <p:spPr>
            <a:xfrm>
              <a:off x="65627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6" name="Freeform 1045">
              <a:extLst>
                <a:ext uri="{FF2B5EF4-FFF2-40B4-BE49-F238E27FC236}">
                  <a16:creationId xmlns:a16="http://schemas.microsoft.com/office/drawing/2014/main" id="{73B098AE-8C28-AC51-759D-634F1A43FF09}"/>
                </a:ext>
              </a:extLst>
            </p:cNvPr>
            <p:cNvSpPr/>
            <p:nvPr/>
          </p:nvSpPr>
          <p:spPr>
            <a:xfrm>
              <a:off x="666750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7" name="Freeform 1046">
              <a:extLst>
                <a:ext uri="{FF2B5EF4-FFF2-40B4-BE49-F238E27FC236}">
                  <a16:creationId xmlns:a16="http://schemas.microsoft.com/office/drawing/2014/main" id="{68D5FAE9-8886-D045-6401-25A72FFAF093}"/>
                </a:ext>
              </a:extLst>
            </p:cNvPr>
            <p:cNvSpPr/>
            <p:nvPr/>
          </p:nvSpPr>
          <p:spPr>
            <a:xfrm>
              <a:off x="66675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8" name="Freeform 1047">
              <a:extLst>
                <a:ext uri="{FF2B5EF4-FFF2-40B4-BE49-F238E27FC236}">
                  <a16:creationId xmlns:a16="http://schemas.microsoft.com/office/drawing/2014/main" id="{3034E8C2-A2B9-7998-4A6B-02CB8EAD73E4}"/>
                </a:ext>
              </a:extLst>
            </p:cNvPr>
            <p:cNvSpPr/>
            <p:nvPr/>
          </p:nvSpPr>
          <p:spPr>
            <a:xfrm>
              <a:off x="66675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9" name="Freeform 1048">
              <a:extLst>
                <a:ext uri="{FF2B5EF4-FFF2-40B4-BE49-F238E27FC236}">
                  <a16:creationId xmlns:a16="http://schemas.microsoft.com/office/drawing/2014/main" id="{8F402862-686F-581A-F501-073F5EF35653}"/>
                </a:ext>
              </a:extLst>
            </p:cNvPr>
            <p:cNvSpPr/>
            <p:nvPr/>
          </p:nvSpPr>
          <p:spPr>
            <a:xfrm>
              <a:off x="66675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0" name="Freeform 1049">
              <a:extLst>
                <a:ext uri="{FF2B5EF4-FFF2-40B4-BE49-F238E27FC236}">
                  <a16:creationId xmlns:a16="http://schemas.microsoft.com/office/drawing/2014/main" id="{0FF18FB8-68DB-9C28-1042-2A48622A2DE4}"/>
                </a:ext>
              </a:extLst>
            </p:cNvPr>
            <p:cNvSpPr/>
            <p:nvPr/>
          </p:nvSpPr>
          <p:spPr>
            <a:xfrm>
              <a:off x="66675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1" name="Freeform 1050">
              <a:extLst>
                <a:ext uri="{FF2B5EF4-FFF2-40B4-BE49-F238E27FC236}">
                  <a16:creationId xmlns:a16="http://schemas.microsoft.com/office/drawing/2014/main" id="{FA8C6846-55BE-2B38-6ED8-B5252084D58C}"/>
                </a:ext>
              </a:extLst>
            </p:cNvPr>
            <p:cNvSpPr/>
            <p:nvPr/>
          </p:nvSpPr>
          <p:spPr>
            <a:xfrm>
              <a:off x="66675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2" name="Freeform 1051">
              <a:extLst>
                <a:ext uri="{FF2B5EF4-FFF2-40B4-BE49-F238E27FC236}">
                  <a16:creationId xmlns:a16="http://schemas.microsoft.com/office/drawing/2014/main" id="{AAA914BC-96F5-9DEE-A3E6-F97BC6D3E44B}"/>
                </a:ext>
              </a:extLst>
            </p:cNvPr>
            <p:cNvSpPr/>
            <p:nvPr/>
          </p:nvSpPr>
          <p:spPr>
            <a:xfrm>
              <a:off x="66675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3" name="Freeform 1052">
              <a:extLst>
                <a:ext uri="{FF2B5EF4-FFF2-40B4-BE49-F238E27FC236}">
                  <a16:creationId xmlns:a16="http://schemas.microsoft.com/office/drawing/2014/main" id="{4B6CD53A-038A-97FD-75AA-852B9340D184}"/>
                </a:ext>
              </a:extLst>
            </p:cNvPr>
            <p:cNvSpPr/>
            <p:nvPr/>
          </p:nvSpPr>
          <p:spPr>
            <a:xfrm>
              <a:off x="66675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4" name="Freeform 1053">
              <a:extLst>
                <a:ext uri="{FF2B5EF4-FFF2-40B4-BE49-F238E27FC236}">
                  <a16:creationId xmlns:a16="http://schemas.microsoft.com/office/drawing/2014/main" id="{5800AEE8-C8A3-3A64-1915-EEF152050627}"/>
                </a:ext>
              </a:extLst>
            </p:cNvPr>
            <p:cNvSpPr/>
            <p:nvPr/>
          </p:nvSpPr>
          <p:spPr>
            <a:xfrm>
              <a:off x="66675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5" name="Freeform 1054">
              <a:extLst>
                <a:ext uri="{FF2B5EF4-FFF2-40B4-BE49-F238E27FC236}">
                  <a16:creationId xmlns:a16="http://schemas.microsoft.com/office/drawing/2014/main" id="{57B5F741-5F73-8E2D-A1B8-2E383D1D33DD}"/>
                </a:ext>
              </a:extLst>
            </p:cNvPr>
            <p:cNvSpPr/>
            <p:nvPr/>
          </p:nvSpPr>
          <p:spPr>
            <a:xfrm>
              <a:off x="66675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6" name="Freeform 1055">
              <a:extLst>
                <a:ext uri="{FF2B5EF4-FFF2-40B4-BE49-F238E27FC236}">
                  <a16:creationId xmlns:a16="http://schemas.microsoft.com/office/drawing/2014/main" id="{2ECE3AB1-EFFB-E904-50EC-C88BC3ED149E}"/>
                </a:ext>
              </a:extLst>
            </p:cNvPr>
            <p:cNvSpPr/>
            <p:nvPr/>
          </p:nvSpPr>
          <p:spPr>
            <a:xfrm>
              <a:off x="66675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7" name="Freeform 1056">
              <a:extLst>
                <a:ext uri="{FF2B5EF4-FFF2-40B4-BE49-F238E27FC236}">
                  <a16:creationId xmlns:a16="http://schemas.microsoft.com/office/drawing/2014/main" id="{B1D6FC69-497A-AA43-341C-6FB458F7580F}"/>
                </a:ext>
              </a:extLst>
            </p:cNvPr>
            <p:cNvSpPr/>
            <p:nvPr/>
          </p:nvSpPr>
          <p:spPr>
            <a:xfrm>
              <a:off x="66675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8" name="Freeform 1057">
              <a:extLst>
                <a:ext uri="{FF2B5EF4-FFF2-40B4-BE49-F238E27FC236}">
                  <a16:creationId xmlns:a16="http://schemas.microsoft.com/office/drawing/2014/main" id="{C65D8DD2-797D-1F9B-5FDD-0C3431BDE738}"/>
                </a:ext>
              </a:extLst>
            </p:cNvPr>
            <p:cNvSpPr/>
            <p:nvPr/>
          </p:nvSpPr>
          <p:spPr>
            <a:xfrm>
              <a:off x="66675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9" name="Freeform 1058">
              <a:extLst>
                <a:ext uri="{FF2B5EF4-FFF2-40B4-BE49-F238E27FC236}">
                  <a16:creationId xmlns:a16="http://schemas.microsoft.com/office/drawing/2014/main" id="{DBEEA8BD-AAC9-038B-E422-C288CC70FB47}"/>
                </a:ext>
              </a:extLst>
            </p:cNvPr>
            <p:cNvSpPr/>
            <p:nvPr/>
          </p:nvSpPr>
          <p:spPr>
            <a:xfrm>
              <a:off x="66675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0" name="Freeform 1059">
              <a:extLst>
                <a:ext uri="{FF2B5EF4-FFF2-40B4-BE49-F238E27FC236}">
                  <a16:creationId xmlns:a16="http://schemas.microsoft.com/office/drawing/2014/main" id="{9C0845B0-8838-1808-76D8-1C9972F91362}"/>
                </a:ext>
              </a:extLst>
            </p:cNvPr>
            <p:cNvSpPr/>
            <p:nvPr/>
          </p:nvSpPr>
          <p:spPr>
            <a:xfrm>
              <a:off x="66675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1" name="Freeform 1060">
              <a:extLst>
                <a:ext uri="{FF2B5EF4-FFF2-40B4-BE49-F238E27FC236}">
                  <a16:creationId xmlns:a16="http://schemas.microsoft.com/office/drawing/2014/main" id="{D75893E2-BBB2-16B5-F724-F7F8907C42EC}"/>
                </a:ext>
              </a:extLst>
            </p:cNvPr>
            <p:cNvSpPr/>
            <p:nvPr/>
          </p:nvSpPr>
          <p:spPr>
            <a:xfrm>
              <a:off x="66675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2" name="Freeform 1061">
              <a:extLst>
                <a:ext uri="{FF2B5EF4-FFF2-40B4-BE49-F238E27FC236}">
                  <a16:creationId xmlns:a16="http://schemas.microsoft.com/office/drawing/2014/main" id="{DE0D2E4B-5785-7F5E-7038-5E8498022979}"/>
                </a:ext>
              </a:extLst>
            </p:cNvPr>
            <p:cNvSpPr/>
            <p:nvPr/>
          </p:nvSpPr>
          <p:spPr>
            <a:xfrm>
              <a:off x="67722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3" name="Freeform 1062">
              <a:extLst>
                <a:ext uri="{FF2B5EF4-FFF2-40B4-BE49-F238E27FC236}">
                  <a16:creationId xmlns:a16="http://schemas.microsoft.com/office/drawing/2014/main" id="{4C4E45DD-FFB0-6D11-B57E-C13F128CA39F}"/>
                </a:ext>
              </a:extLst>
            </p:cNvPr>
            <p:cNvSpPr/>
            <p:nvPr/>
          </p:nvSpPr>
          <p:spPr>
            <a:xfrm>
              <a:off x="67722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4" name="Freeform 1063">
              <a:extLst>
                <a:ext uri="{FF2B5EF4-FFF2-40B4-BE49-F238E27FC236}">
                  <a16:creationId xmlns:a16="http://schemas.microsoft.com/office/drawing/2014/main" id="{093C84F7-4608-DB5B-0D55-3E373ACB0581}"/>
                </a:ext>
              </a:extLst>
            </p:cNvPr>
            <p:cNvSpPr/>
            <p:nvPr/>
          </p:nvSpPr>
          <p:spPr>
            <a:xfrm>
              <a:off x="67722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5" name="Freeform 1064">
              <a:extLst>
                <a:ext uri="{FF2B5EF4-FFF2-40B4-BE49-F238E27FC236}">
                  <a16:creationId xmlns:a16="http://schemas.microsoft.com/office/drawing/2014/main" id="{5B5C727E-F90A-A2D2-A32A-BD98EFBCBD57}"/>
                </a:ext>
              </a:extLst>
            </p:cNvPr>
            <p:cNvSpPr/>
            <p:nvPr/>
          </p:nvSpPr>
          <p:spPr>
            <a:xfrm>
              <a:off x="67722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6" name="Freeform 1065">
              <a:extLst>
                <a:ext uri="{FF2B5EF4-FFF2-40B4-BE49-F238E27FC236}">
                  <a16:creationId xmlns:a16="http://schemas.microsoft.com/office/drawing/2014/main" id="{4FD1AD9B-2D82-DB10-E05A-0678F41B37B5}"/>
                </a:ext>
              </a:extLst>
            </p:cNvPr>
            <p:cNvSpPr/>
            <p:nvPr/>
          </p:nvSpPr>
          <p:spPr>
            <a:xfrm>
              <a:off x="67722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7" name="Freeform 1066">
              <a:extLst>
                <a:ext uri="{FF2B5EF4-FFF2-40B4-BE49-F238E27FC236}">
                  <a16:creationId xmlns:a16="http://schemas.microsoft.com/office/drawing/2014/main" id="{1C8EBCAC-9511-40B3-AF78-6EF5B6D785C8}"/>
                </a:ext>
              </a:extLst>
            </p:cNvPr>
            <p:cNvSpPr/>
            <p:nvPr/>
          </p:nvSpPr>
          <p:spPr>
            <a:xfrm>
              <a:off x="67722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8" name="Freeform 1067">
              <a:extLst>
                <a:ext uri="{FF2B5EF4-FFF2-40B4-BE49-F238E27FC236}">
                  <a16:creationId xmlns:a16="http://schemas.microsoft.com/office/drawing/2014/main" id="{781A0F8A-D6B9-DA7D-A981-BDD249A01D29}"/>
                </a:ext>
              </a:extLst>
            </p:cNvPr>
            <p:cNvSpPr/>
            <p:nvPr/>
          </p:nvSpPr>
          <p:spPr>
            <a:xfrm>
              <a:off x="67722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9" name="Freeform 1068">
              <a:extLst>
                <a:ext uri="{FF2B5EF4-FFF2-40B4-BE49-F238E27FC236}">
                  <a16:creationId xmlns:a16="http://schemas.microsoft.com/office/drawing/2014/main" id="{BCE6397F-B20F-D5EA-6D8E-4D75939CF5EB}"/>
                </a:ext>
              </a:extLst>
            </p:cNvPr>
            <p:cNvSpPr/>
            <p:nvPr/>
          </p:nvSpPr>
          <p:spPr>
            <a:xfrm>
              <a:off x="67722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0" name="Freeform 1069">
              <a:extLst>
                <a:ext uri="{FF2B5EF4-FFF2-40B4-BE49-F238E27FC236}">
                  <a16:creationId xmlns:a16="http://schemas.microsoft.com/office/drawing/2014/main" id="{7762875D-1736-D641-6D9D-A607422045CC}"/>
                </a:ext>
              </a:extLst>
            </p:cNvPr>
            <p:cNvSpPr/>
            <p:nvPr/>
          </p:nvSpPr>
          <p:spPr>
            <a:xfrm>
              <a:off x="67722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1" name="Freeform 1070">
              <a:extLst>
                <a:ext uri="{FF2B5EF4-FFF2-40B4-BE49-F238E27FC236}">
                  <a16:creationId xmlns:a16="http://schemas.microsoft.com/office/drawing/2014/main" id="{95842B03-2B57-70F0-7432-E93620D16785}"/>
                </a:ext>
              </a:extLst>
            </p:cNvPr>
            <p:cNvSpPr/>
            <p:nvPr/>
          </p:nvSpPr>
          <p:spPr>
            <a:xfrm>
              <a:off x="67722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2" name="Freeform 1071">
              <a:extLst>
                <a:ext uri="{FF2B5EF4-FFF2-40B4-BE49-F238E27FC236}">
                  <a16:creationId xmlns:a16="http://schemas.microsoft.com/office/drawing/2014/main" id="{98A838DF-1DE5-BFF8-C5B1-7013DA9CEDCC}"/>
                </a:ext>
              </a:extLst>
            </p:cNvPr>
            <p:cNvSpPr/>
            <p:nvPr/>
          </p:nvSpPr>
          <p:spPr>
            <a:xfrm>
              <a:off x="67722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3" name="Freeform 1072">
              <a:extLst>
                <a:ext uri="{FF2B5EF4-FFF2-40B4-BE49-F238E27FC236}">
                  <a16:creationId xmlns:a16="http://schemas.microsoft.com/office/drawing/2014/main" id="{F5B2E783-D159-78E4-40EF-8D7F543A044C}"/>
                </a:ext>
              </a:extLst>
            </p:cNvPr>
            <p:cNvSpPr/>
            <p:nvPr/>
          </p:nvSpPr>
          <p:spPr>
            <a:xfrm>
              <a:off x="67722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4" name="Freeform 1073">
              <a:extLst>
                <a:ext uri="{FF2B5EF4-FFF2-40B4-BE49-F238E27FC236}">
                  <a16:creationId xmlns:a16="http://schemas.microsoft.com/office/drawing/2014/main" id="{3EBF7AB4-86BE-34FD-D3D6-372E51A59A60}"/>
                </a:ext>
              </a:extLst>
            </p:cNvPr>
            <p:cNvSpPr/>
            <p:nvPr/>
          </p:nvSpPr>
          <p:spPr>
            <a:xfrm>
              <a:off x="67722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5" name="Freeform 1074">
              <a:extLst>
                <a:ext uri="{FF2B5EF4-FFF2-40B4-BE49-F238E27FC236}">
                  <a16:creationId xmlns:a16="http://schemas.microsoft.com/office/drawing/2014/main" id="{015551E2-7C72-4382-3B91-11C8C3EDF43A}"/>
                </a:ext>
              </a:extLst>
            </p:cNvPr>
            <p:cNvSpPr/>
            <p:nvPr/>
          </p:nvSpPr>
          <p:spPr>
            <a:xfrm>
              <a:off x="68770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6" name="Freeform 1075">
              <a:extLst>
                <a:ext uri="{FF2B5EF4-FFF2-40B4-BE49-F238E27FC236}">
                  <a16:creationId xmlns:a16="http://schemas.microsoft.com/office/drawing/2014/main" id="{C27B3ED4-8E5D-0A62-69CD-24E76AE0F848}"/>
                </a:ext>
              </a:extLst>
            </p:cNvPr>
            <p:cNvSpPr/>
            <p:nvPr/>
          </p:nvSpPr>
          <p:spPr>
            <a:xfrm>
              <a:off x="68770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7" name="Freeform 1076">
              <a:extLst>
                <a:ext uri="{FF2B5EF4-FFF2-40B4-BE49-F238E27FC236}">
                  <a16:creationId xmlns:a16="http://schemas.microsoft.com/office/drawing/2014/main" id="{6FD0A9FC-05E4-582E-D091-7F7474D4B944}"/>
                </a:ext>
              </a:extLst>
            </p:cNvPr>
            <p:cNvSpPr/>
            <p:nvPr/>
          </p:nvSpPr>
          <p:spPr>
            <a:xfrm>
              <a:off x="68770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E34A14B6-4270-FF6D-1601-4E26A79713CB}"/>
                </a:ext>
              </a:extLst>
            </p:cNvPr>
            <p:cNvSpPr/>
            <p:nvPr/>
          </p:nvSpPr>
          <p:spPr>
            <a:xfrm>
              <a:off x="68770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2FF517AC-E0E2-C9EA-7C1E-EB4C5AEFE2C9}"/>
                </a:ext>
              </a:extLst>
            </p:cNvPr>
            <p:cNvSpPr/>
            <p:nvPr/>
          </p:nvSpPr>
          <p:spPr>
            <a:xfrm>
              <a:off x="68770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0E013C12-9F68-967F-F238-2CC70F7B2D90}"/>
                </a:ext>
              </a:extLst>
            </p:cNvPr>
            <p:cNvSpPr/>
            <p:nvPr/>
          </p:nvSpPr>
          <p:spPr>
            <a:xfrm>
              <a:off x="68770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1" name="Freeform 1080">
              <a:extLst>
                <a:ext uri="{FF2B5EF4-FFF2-40B4-BE49-F238E27FC236}">
                  <a16:creationId xmlns:a16="http://schemas.microsoft.com/office/drawing/2014/main" id="{EDEAB8AB-2BDB-618A-AA69-D77BE203F893}"/>
                </a:ext>
              </a:extLst>
            </p:cNvPr>
            <p:cNvSpPr/>
            <p:nvPr/>
          </p:nvSpPr>
          <p:spPr>
            <a:xfrm>
              <a:off x="68770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2" name="Freeform 1081">
              <a:extLst>
                <a:ext uri="{FF2B5EF4-FFF2-40B4-BE49-F238E27FC236}">
                  <a16:creationId xmlns:a16="http://schemas.microsoft.com/office/drawing/2014/main" id="{E9DE6489-0879-F33F-283E-F4A612DF93A0}"/>
                </a:ext>
              </a:extLst>
            </p:cNvPr>
            <p:cNvSpPr/>
            <p:nvPr/>
          </p:nvSpPr>
          <p:spPr>
            <a:xfrm>
              <a:off x="68770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3" name="Freeform 1082">
              <a:extLst>
                <a:ext uri="{FF2B5EF4-FFF2-40B4-BE49-F238E27FC236}">
                  <a16:creationId xmlns:a16="http://schemas.microsoft.com/office/drawing/2014/main" id="{452373F6-7225-63D9-C591-C990C244EF98}"/>
                </a:ext>
              </a:extLst>
            </p:cNvPr>
            <p:cNvSpPr/>
            <p:nvPr/>
          </p:nvSpPr>
          <p:spPr>
            <a:xfrm>
              <a:off x="68770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4" name="Freeform 1083">
              <a:extLst>
                <a:ext uri="{FF2B5EF4-FFF2-40B4-BE49-F238E27FC236}">
                  <a16:creationId xmlns:a16="http://schemas.microsoft.com/office/drawing/2014/main" id="{4A53B9F5-3037-5750-1BFD-2E0C2EAFD4BD}"/>
                </a:ext>
              </a:extLst>
            </p:cNvPr>
            <p:cNvSpPr/>
            <p:nvPr/>
          </p:nvSpPr>
          <p:spPr>
            <a:xfrm>
              <a:off x="68770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5" name="Freeform 1084">
              <a:extLst>
                <a:ext uri="{FF2B5EF4-FFF2-40B4-BE49-F238E27FC236}">
                  <a16:creationId xmlns:a16="http://schemas.microsoft.com/office/drawing/2014/main" id="{615B20B4-576F-52BD-1DA6-A1B803A957AB}"/>
                </a:ext>
              </a:extLst>
            </p:cNvPr>
            <p:cNvSpPr/>
            <p:nvPr/>
          </p:nvSpPr>
          <p:spPr>
            <a:xfrm>
              <a:off x="68770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6" name="Freeform 1085">
              <a:extLst>
                <a:ext uri="{FF2B5EF4-FFF2-40B4-BE49-F238E27FC236}">
                  <a16:creationId xmlns:a16="http://schemas.microsoft.com/office/drawing/2014/main" id="{E1AA752E-411B-CA06-EFA3-810DA82A2422}"/>
                </a:ext>
              </a:extLst>
            </p:cNvPr>
            <p:cNvSpPr/>
            <p:nvPr/>
          </p:nvSpPr>
          <p:spPr>
            <a:xfrm>
              <a:off x="68770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7" name="Freeform 1086">
              <a:extLst>
                <a:ext uri="{FF2B5EF4-FFF2-40B4-BE49-F238E27FC236}">
                  <a16:creationId xmlns:a16="http://schemas.microsoft.com/office/drawing/2014/main" id="{B84EFBEE-F656-2D47-62CB-BE2C40AA1A9C}"/>
                </a:ext>
              </a:extLst>
            </p:cNvPr>
            <p:cNvSpPr/>
            <p:nvPr/>
          </p:nvSpPr>
          <p:spPr>
            <a:xfrm>
              <a:off x="68770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8" name="Freeform 1087">
              <a:extLst>
                <a:ext uri="{FF2B5EF4-FFF2-40B4-BE49-F238E27FC236}">
                  <a16:creationId xmlns:a16="http://schemas.microsoft.com/office/drawing/2014/main" id="{E77B5AB6-2A1D-BFD9-82E1-C54EDCB6BEEC}"/>
                </a:ext>
              </a:extLst>
            </p:cNvPr>
            <p:cNvSpPr/>
            <p:nvPr/>
          </p:nvSpPr>
          <p:spPr>
            <a:xfrm>
              <a:off x="68770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9" name="Freeform 1088">
              <a:extLst>
                <a:ext uri="{FF2B5EF4-FFF2-40B4-BE49-F238E27FC236}">
                  <a16:creationId xmlns:a16="http://schemas.microsoft.com/office/drawing/2014/main" id="{E3907ED6-C006-4294-E3D3-467C69F22BD8}"/>
                </a:ext>
              </a:extLst>
            </p:cNvPr>
            <p:cNvSpPr/>
            <p:nvPr/>
          </p:nvSpPr>
          <p:spPr>
            <a:xfrm>
              <a:off x="68770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0" name="Freeform 1089">
              <a:extLst>
                <a:ext uri="{FF2B5EF4-FFF2-40B4-BE49-F238E27FC236}">
                  <a16:creationId xmlns:a16="http://schemas.microsoft.com/office/drawing/2014/main" id="{F3A97590-911C-3F91-0968-81D18C25E1EA}"/>
                </a:ext>
              </a:extLst>
            </p:cNvPr>
            <p:cNvSpPr/>
            <p:nvPr/>
          </p:nvSpPr>
          <p:spPr>
            <a:xfrm>
              <a:off x="68770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1" name="Freeform 1090">
              <a:extLst>
                <a:ext uri="{FF2B5EF4-FFF2-40B4-BE49-F238E27FC236}">
                  <a16:creationId xmlns:a16="http://schemas.microsoft.com/office/drawing/2014/main" id="{A24D5A5C-20CF-9EC2-C015-0A7A51B7AD3B}"/>
                </a:ext>
              </a:extLst>
            </p:cNvPr>
            <p:cNvSpPr/>
            <p:nvPr/>
          </p:nvSpPr>
          <p:spPr>
            <a:xfrm>
              <a:off x="69818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2" name="Freeform 1091">
              <a:extLst>
                <a:ext uri="{FF2B5EF4-FFF2-40B4-BE49-F238E27FC236}">
                  <a16:creationId xmlns:a16="http://schemas.microsoft.com/office/drawing/2014/main" id="{C47EC82C-4403-0591-AFED-4D161D4A180D}"/>
                </a:ext>
              </a:extLst>
            </p:cNvPr>
            <p:cNvSpPr/>
            <p:nvPr/>
          </p:nvSpPr>
          <p:spPr>
            <a:xfrm>
              <a:off x="698182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3" name="Freeform 1092">
              <a:extLst>
                <a:ext uri="{FF2B5EF4-FFF2-40B4-BE49-F238E27FC236}">
                  <a16:creationId xmlns:a16="http://schemas.microsoft.com/office/drawing/2014/main" id="{126FF0C7-9934-DDC1-DEB2-E572FC49FC23}"/>
                </a:ext>
              </a:extLst>
            </p:cNvPr>
            <p:cNvSpPr/>
            <p:nvPr/>
          </p:nvSpPr>
          <p:spPr>
            <a:xfrm>
              <a:off x="69818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4" name="Freeform 1093">
              <a:extLst>
                <a:ext uri="{FF2B5EF4-FFF2-40B4-BE49-F238E27FC236}">
                  <a16:creationId xmlns:a16="http://schemas.microsoft.com/office/drawing/2014/main" id="{8840550A-DDEC-3A78-7967-FB479033C49F}"/>
                </a:ext>
              </a:extLst>
            </p:cNvPr>
            <p:cNvSpPr/>
            <p:nvPr/>
          </p:nvSpPr>
          <p:spPr>
            <a:xfrm>
              <a:off x="69818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5" name="Freeform 1094">
              <a:extLst>
                <a:ext uri="{FF2B5EF4-FFF2-40B4-BE49-F238E27FC236}">
                  <a16:creationId xmlns:a16="http://schemas.microsoft.com/office/drawing/2014/main" id="{8434CBF8-1454-9738-D342-E2573A9799CE}"/>
                </a:ext>
              </a:extLst>
            </p:cNvPr>
            <p:cNvSpPr/>
            <p:nvPr/>
          </p:nvSpPr>
          <p:spPr>
            <a:xfrm>
              <a:off x="69818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6DC6B514-D6CA-A351-A814-4FDD207EE369}"/>
                </a:ext>
              </a:extLst>
            </p:cNvPr>
            <p:cNvSpPr/>
            <p:nvPr/>
          </p:nvSpPr>
          <p:spPr>
            <a:xfrm>
              <a:off x="69818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4C3B13E3-F870-B6B0-0FBC-D6A32E5B5EBB}"/>
                </a:ext>
              </a:extLst>
            </p:cNvPr>
            <p:cNvSpPr/>
            <p:nvPr/>
          </p:nvSpPr>
          <p:spPr>
            <a:xfrm>
              <a:off x="69818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8" name="Freeform 1097">
              <a:extLst>
                <a:ext uri="{FF2B5EF4-FFF2-40B4-BE49-F238E27FC236}">
                  <a16:creationId xmlns:a16="http://schemas.microsoft.com/office/drawing/2014/main" id="{932B0D9A-519C-C2BC-EF27-6213F37991A7}"/>
                </a:ext>
              </a:extLst>
            </p:cNvPr>
            <p:cNvSpPr/>
            <p:nvPr/>
          </p:nvSpPr>
          <p:spPr>
            <a:xfrm>
              <a:off x="69818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9" name="Freeform 1098">
              <a:extLst>
                <a:ext uri="{FF2B5EF4-FFF2-40B4-BE49-F238E27FC236}">
                  <a16:creationId xmlns:a16="http://schemas.microsoft.com/office/drawing/2014/main" id="{DEAAFBC6-EA67-5A84-824B-4E928676B526}"/>
                </a:ext>
              </a:extLst>
            </p:cNvPr>
            <p:cNvSpPr/>
            <p:nvPr/>
          </p:nvSpPr>
          <p:spPr>
            <a:xfrm>
              <a:off x="69818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0" name="Freeform 1099">
              <a:extLst>
                <a:ext uri="{FF2B5EF4-FFF2-40B4-BE49-F238E27FC236}">
                  <a16:creationId xmlns:a16="http://schemas.microsoft.com/office/drawing/2014/main" id="{D3E0127C-4001-D12E-18D6-79425B3BBBFC}"/>
                </a:ext>
              </a:extLst>
            </p:cNvPr>
            <p:cNvSpPr/>
            <p:nvPr/>
          </p:nvSpPr>
          <p:spPr>
            <a:xfrm>
              <a:off x="69818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1" name="Freeform 1100">
              <a:extLst>
                <a:ext uri="{FF2B5EF4-FFF2-40B4-BE49-F238E27FC236}">
                  <a16:creationId xmlns:a16="http://schemas.microsoft.com/office/drawing/2014/main" id="{A130F615-DC46-4748-7736-AE3D9A487C2A}"/>
                </a:ext>
              </a:extLst>
            </p:cNvPr>
            <p:cNvSpPr/>
            <p:nvPr/>
          </p:nvSpPr>
          <p:spPr>
            <a:xfrm>
              <a:off x="69818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2" name="Freeform 1101">
              <a:extLst>
                <a:ext uri="{FF2B5EF4-FFF2-40B4-BE49-F238E27FC236}">
                  <a16:creationId xmlns:a16="http://schemas.microsoft.com/office/drawing/2014/main" id="{26D79A12-4B7B-AFC6-BA49-0D28F85712CB}"/>
                </a:ext>
              </a:extLst>
            </p:cNvPr>
            <p:cNvSpPr/>
            <p:nvPr/>
          </p:nvSpPr>
          <p:spPr>
            <a:xfrm>
              <a:off x="69818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3" name="Freeform 1102">
              <a:extLst>
                <a:ext uri="{FF2B5EF4-FFF2-40B4-BE49-F238E27FC236}">
                  <a16:creationId xmlns:a16="http://schemas.microsoft.com/office/drawing/2014/main" id="{1C401BB0-438B-809A-D0F4-BA40C775AD61}"/>
                </a:ext>
              </a:extLst>
            </p:cNvPr>
            <p:cNvSpPr/>
            <p:nvPr/>
          </p:nvSpPr>
          <p:spPr>
            <a:xfrm>
              <a:off x="69818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4" name="Freeform 1103">
              <a:extLst>
                <a:ext uri="{FF2B5EF4-FFF2-40B4-BE49-F238E27FC236}">
                  <a16:creationId xmlns:a16="http://schemas.microsoft.com/office/drawing/2014/main" id="{3AD9A617-84AB-B2B9-F54F-5639E3749E0B}"/>
                </a:ext>
              </a:extLst>
            </p:cNvPr>
            <p:cNvSpPr/>
            <p:nvPr/>
          </p:nvSpPr>
          <p:spPr>
            <a:xfrm>
              <a:off x="69818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5" name="Freeform 1104">
              <a:extLst>
                <a:ext uri="{FF2B5EF4-FFF2-40B4-BE49-F238E27FC236}">
                  <a16:creationId xmlns:a16="http://schemas.microsoft.com/office/drawing/2014/main" id="{EE234F11-5D00-539A-7399-59C318A7839B}"/>
                </a:ext>
              </a:extLst>
            </p:cNvPr>
            <p:cNvSpPr/>
            <p:nvPr/>
          </p:nvSpPr>
          <p:spPr>
            <a:xfrm>
              <a:off x="69818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3A3CD2EE-1DE5-68F0-4B45-2DC395B34962}"/>
                </a:ext>
              </a:extLst>
            </p:cNvPr>
            <p:cNvSpPr/>
            <p:nvPr/>
          </p:nvSpPr>
          <p:spPr>
            <a:xfrm>
              <a:off x="69818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7C52D778-9049-4370-52CA-87918CEBDDDA}"/>
                </a:ext>
              </a:extLst>
            </p:cNvPr>
            <p:cNvSpPr/>
            <p:nvPr/>
          </p:nvSpPr>
          <p:spPr>
            <a:xfrm>
              <a:off x="69818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A1CFB350-E9B7-94CE-BF29-2655E6545289}"/>
                </a:ext>
              </a:extLst>
            </p:cNvPr>
            <p:cNvSpPr/>
            <p:nvPr/>
          </p:nvSpPr>
          <p:spPr>
            <a:xfrm>
              <a:off x="69818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EC730D16-01AE-B8AA-675B-15CE0C9B05E5}"/>
                </a:ext>
              </a:extLst>
            </p:cNvPr>
            <p:cNvSpPr/>
            <p:nvPr/>
          </p:nvSpPr>
          <p:spPr>
            <a:xfrm>
              <a:off x="69818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39B9A73F-4F98-C51C-5247-A722AAE70815}"/>
                </a:ext>
              </a:extLst>
            </p:cNvPr>
            <p:cNvSpPr/>
            <p:nvPr/>
          </p:nvSpPr>
          <p:spPr>
            <a:xfrm>
              <a:off x="708660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79BEB633-49A4-F22D-E5B6-B8A391D148CC}"/>
                </a:ext>
              </a:extLst>
            </p:cNvPr>
            <p:cNvSpPr/>
            <p:nvPr/>
          </p:nvSpPr>
          <p:spPr>
            <a:xfrm>
              <a:off x="70866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B75F7F14-29EA-4318-4ED1-EFFFBAF12180}"/>
                </a:ext>
              </a:extLst>
            </p:cNvPr>
            <p:cNvSpPr/>
            <p:nvPr/>
          </p:nvSpPr>
          <p:spPr>
            <a:xfrm>
              <a:off x="70866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8B0D36AA-45EC-9D77-18E3-BCF0D526680B}"/>
                </a:ext>
              </a:extLst>
            </p:cNvPr>
            <p:cNvSpPr/>
            <p:nvPr/>
          </p:nvSpPr>
          <p:spPr>
            <a:xfrm>
              <a:off x="70866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4" name="Freeform 1113">
              <a:extLst>
                <a:ext uri="{FF2B5EF4-FFF2-40B4-BE49-F238E27FC236}">
                  <a16:creationId xmlns:a16="http://schemas.microsoft.com/office/drawing/2014/main" id="{481C9B5F-B411-10F2-BF45-FB2007DC1F01}"/>
                </a:ext>
              </a:extLst>
            </p:cNvPr>
            <p:cNvSpPr/>
            <p:nvPr/>
          </p:nvSpPr>
          <p:spPr>
            <a:xfrm>
              <a:off x="70866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5" name="Freeform 1114">
              <a:extLst>
                <a:ext uri="{FF2B5EF4-FFF2-40B4-BE49-F238E27FC236}">
                  <a16:creationId xmlns:a16="http://schemas.microsoft.com/office/drawing/2014/main" id="{FF42532D-4B95-25B0-131A-3A62111ED6B5}"/>
                </a:ext>
              </a:extLst>
            </p:cNvPr>
            <p:cNvSpPr/>
            <p:nvPr/>
          </p:nvSpPr>
          <p:spPr>
            <a:xfrm>
              <a:off x="70866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6" name="Freeform 1115">
              <a:extLst>
                <a:ext uri="{FF2B5EF4-FFF2-40B4-BE49-F238E27FC236}">
                  <a16:creationId xmlns:a16="http://schemas.microsoft.com/office/drawing/2014/main" id="{B6021B17-EBB9-7E5A-BF0E-AF697F548137}"/>
                </a:ext>
              </a:extLst>
            </p:cNvPr>
            <p:cNvSpPr/>
            <p:nvPr/>
          </p:nvSpPr>
          <p:spPr>
            <a:xfrm>
              <a:off x="70866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7" name="Freeform 1116">
              <a:extLst>
                <a:ext uri="{FF2B5EF4-FFF2-40B4-BE49-F238E27FC236}">
                  <a16:creationId xmlns:a16="http://schemas.microsoft.com/office/drawing/2014/main" id="{01CD54BF-2B82-F4A6-12CB-59519DA9EADF}"/>
                </a:ext>
              </a:extLst>
            </p:cNvPr>
            <p:cNvSpPr/>
            <p:nvPr/>
          </p:nvSpPr>
          <p:spPr>
            <a:xfrm>
              <a:off x="70866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8" name="Freeform 1117">
              <a:extLst>
                <a:ext uri="{FF2B5EF4-FFF2-40B4-BE49-F238E27FC236}">
                  <a16:creationId xmlns:a16="http://schemas.microsoft.com/office/drawing/2014/main" id="{4C8133B2-7013-E06E-725C-DC7762C28B70}"/>
                </a:ext>
              </a:extLst>
            </p:cNvPr>
            <p:cNvSpPr/>
            <p:nvPr/>
          </p:nvSpPr>
          <p:spPr>
            <a:xfrm>
              <a:off x="70866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9" name="Freeform 1118">
              <a:extLst>
                <a:ext uri="{FF2B5EF4-FFF2-40B4-BE49-F238E27FC236}">
                  <a16:creationId xmlns:a16="http://schemas.microsoft.com/office/drawing/2014/main" id="{287C5E11-26A1-615D-EBA5-11B0DA144CDD}"/>
                </a:ext>
              </a:extLst>
            </p:cNvPr>
            <p:cNvSpPr/>
            <p:nvPr/>
          </p:nvSpPr>
          <p:spPr>
            <a:xfrm>
              <a:off x="70866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0" name="Freeform 1119">
              <a:extLst>
                <a:ext uri="{FF2B5EF4-FFF2-40B4-BE49-F238E27FC236}">
                  <a16:creationId xmlns:a16="http://schemas.microsoft.com/office/drawing/2014/main" id="{AF2D37B3-9D0A-990E-FEFC-63CB129E4239}"/>
                </a:ext>
              </a:extLst>
            </p:cNvPr>
            <p:cNvSpPr/>
            <p:nvPr/>
          </p:nvSpPr>
          <p:spPr>
            <a:xfrm>
              <a:off x="70866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1" name="Freeform 1120">
              <a:extLst>
                <a:ext uri="{FF2B5EF4-FFF2-40B4-BE49-F238E27FC236}">
                  <a16:creationId xmlns:a16="http://schemas.microsoft.com/office/drawing/2014/main" id="{61FAB459-5923-99D7-54C1-9B2040B9857D}"/>
                </a:ext>
              </a:extLst>
            </p:cNvPr>
            <p:cNvSpPr/>
            <p:nvPr/>
          </p:nvSpPr>
          <p:spPr>
            <a:xfrm>
              <a:off x="70866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2" name="Freeform 1121">
              <a:extLst>
                <a:ext uri="{FF2B5EF4-FFF2-40B4-BE49-F238E27FC236}">
                  <a16:creationId xmlns:a16="http://schemas.microsoft.com/office/drawing/2014/main" id="{B144ACBD-8417-C6EE-4A2E-EE4E3DCC8967}"/>
                </a:ext>
              </a:extLst>
            </p:cNvPr>
            <p:cNvSpPr/>
            <p:nvPr/>
          </p:nvSpPr>
          <p:spPr>
            <a:xfrm>
              <a:off x="70866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3" name="Freeform 1122">
              <a:extLst>
                <a:ext uri="{FF2B5EF4-FFF2-40B4-BE49-F238E27FC236}">
                  <a16:creationId xmlns:a16="http://schemas.microsoft.com/office/drawing/2014/main" id="{4C4D0E8D-314D-C417-E93F-126E61D8EDE8}"/>
                </a:ext>
              </a:extLst>
            </p:cNvPr>
            <p:cNvSpPr/>
            <p:nvPr/>
          </p:nvSpPr>
          <p:spPr>
            <a:xfrm>
              <a:off x="70866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4" name="Freeform 1123">
              <a:extLst>
                <a:ext uri="{FF2B5EF4-FFF2-40B4-BE49-F238E27FC236}">
                  <a16:creationId xmlns:a16="http://schemas.microsoft.com/office/drawing/2014/main" id="{0052742B-8DB0-36D7-0F65-183F8DF753D4}"/>
                </a:ext>
              </a:extLst>
            </p:cNvPr>
            <p:cNvSpPr/>
            <p:nvPr/>
          </p:nvSpPr>
          <p:spPr>
            <a:xfrm>
              <a:off x="70866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5" name="Freeform 1124">
              <a:extLst>
                <a:ext uri="{FF2B5EF4-FFF2-40B4-BE49-F238E27FC236}">
                  <a16:creationId xmlns:a16="http://schemas.microsoft.com/office/drawing/2014/main" id="{25A3E616-BFE6-715A-01CE-5986E0A95FC4}"/>
                </a:ext>
              </a:extLst>
            </p:cNvPr>
            <p:cNvSpPr/>
            <p:nvPr/>
          </p:nvSpPr>
          <p:spPr>
            <a:xfrm>
              <a:off x="70866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6" name="Freeform 1125">
              <a:extLst>
                <a:ext uri="{FF2B5EF4-FFF2-40B4-BE49-F238E27FC236}">
                  <a16:creationId xmlns:a16="http://schemas.microsoft.com/office/drawing/2014/main" id="{7D8786EA-1E6D-9852-22F4-E156CECE242D}"/>
                </a:ext>
              </a:extLst>
            </p:cNvPr>
            <p:cNvSpPr/>
            <p:nvPr/>
          </p:nvSpPr>
          <p:spPr>
            <a:xfrm>
              <a:off x="70866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7" name="Freeform 1126">
              <a:extLst>
                <a:ext uri="{FF2B5EF4-FFF2-40B4-BE49-F238E27FC236}">
                  <a16:creationId xmlns:a16="http://schemas.microsoft.com/office/drawing/2014/main" id="{EFBB1EDC-03D5-830A-B8F2-F1F01CDCA6D6}"/>
                </a:ext>
              </a:extLst>
            </p:cNvPr>
            <p:cNvSpPr/>
            <p:nvPr/>
          </p:nvSpPr>
          <p:spPr>
            <a:xfrm>
              <a:off x="70866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8" name="Freeform 1127">
              <a:extLst>
                <a:ext uri="{FF2B5EF4-FFF2-40B4-BE49-F238E27FC236}">
                  <a16:creationId xmlns:a16="http://schemas.microsoft.com/office/drawing/2014/main" id="{AB21F77B-C089-4D1C-6939-1E118949B03A}"/>
                </a:ext>
              </a:extLst>
            </p:cNvPr>
            <p:cNvSpPr/>
            <p:nvPr/>
          </p:nvSpPr>
          <p:spPr>
            <a:xfrm>
              <a:off x="70866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9" name="Freeform 1128">
              <a:extLst>
                <a:ext uri="{FF2B5EF4-FFF2-40B4-BE49-F238E27FC236}">
                  <a16:creationId xmlns:a16="http://schemas.microsoft.com/office/drawing/2014/main" id="{7FD82C17-82B4-F6C3-8071-BC0B4077BE88}"/>
                </a:ext>
              </a:extLst>
            </p:cNvPr>
            <p:cNvSpPr/>
            <p:nvPr/>
          </p:nvSpPr>
          <p:spPr>
            <a:xfrm>
              <a:off x="71913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0" name="Freeform 1129">
              <a:extLst>
                <a:ext uri="{FF2B5EF4-FFF2-40B4-BE49-F238E27FC236}">
                  <a16:creationId xmlns:a16="http://schemas.microsoft.com/office/drawing/2014/main" id="{A13B078A-82B7-F314-E108-8D8AEC598A3D}"/>
                </a:ext>
              </a:extLst>
            </p:cNvPr>
            <p:cNvSpPr/>
            <p:nvPr/>
          </p:nvSpPr>
          <p:spPr>
            <a:xfrm>
              <a:off x="71913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1" name="Freeform 1130">
              <a:extLst>
                <a:ext uri="{FF2B5EF4-FFF2-40B4-BE49-F238E27FC236}">
                  <a16:creationId xmlns:a16="http://schemas.microsoft.com/office/drawing/2014/main" id="{AD347BBA-08AF-2F7B-5502-B15AB09DC142}"/>
                </a:ext>
              </a:extLst>
            </p:cNvPr>
            <p:cNvSpPr/>
            <p:nvPr/>
          </p:nvSpPr>
          <p:spPr>
            <a:xfrm>
              <a:off x="71913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2" name="Freeform 1131">
              <a:extLst>
                <a:ext uri="{FF2B5EF4-FFF2-40B4-BE49-F238E27FC236}">
                  <a16:creationId xmlns:a16="http://schemas.microsoft.com/office/drawing/2014/main" id="{15665281-8DF4-33A1-594F-1644E4E90E1E}"/>
                </a:ext>
              </a:extLst>
            </p:cNvPr>
            <p:cNvSpPr/>
            <p:nvPr/>
          </p:nvSpPr>
          <p:spPr>
            <a:xfrm>
              <a:off x="71913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3" name="Freeform 1132">
              <a:extLst>
                <a:ext uri="{FF2B5EF4-FFF2-40B4-BE49-F238E27FC236}">
                  <a16:creationId xmlns:a16="http://schemas.microsoft.com/office/drawing/2014/main" id="{B68E7E8D-BBD7-4664-8AAF-D8C6F305E57F}"/>
                </a:ext>
              </a:extLst>
            </p:cNvPr>
            <p:cNvSpPr/>
            <p:nvPr/>
          </p:nvSpPr>
          <p:spPr>
            <a:xfrm>
              <a:off x="71913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4" name="Freeform 1133">
              <a:extLst>
                <a:ext uri="{FF2B5EF4-FFF2-40B4-BE49-F238E27FC236}">
                  <a16:creationId xmlns:a16="http://schemas.microsoft.com/office/drawing/2014/main" id="{223AE077-DC3E-FD40-D68E-B5C2F96CED0F}"/>
                </a:ext>
              </a:extLst>
            </p:cNvPr>
            <p:cNvSpPr/>
            <p:nvPr/>
          </p:nvSpPr>
          <p:spPr>
            <a:xfrm>
              <a:off x="71913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5" name="Freeform 1134">
              <a:extLst>
                <a:ext uri="{FF2B5EF4-FFF2-40B4-BE49-F238E27FC236}">
                  <a16:creationId xmlns:a16="http://schemas.microsoft.com/office/drawing/2014/main" id="{3018241E-917F-DB34-B71C-E6DA9924F6BF}"/>
                </a:ext>
              </a:extLst>
            </p:cNvPr>
            <p:cNvSpPr/>
            <p:nvPr/>
          </p:nvSpPr>
          <p:spPr>
            <a:xfrm>
              <a:off x="71913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6" name="Freeform 1135">
              <a:extLst>
                <a:ext uri="{FF2B5EF4-FFF2-40B4-BE49-F238E27FC236}">
                  <a16:creationId xmlns:a16="http://schemas.microsoft.com/office/drawing/2014/main" id="{64EB1230-1174-FB67-1D49-C7C3899B2A53}"/>
                </a:ext>
              </a:extLst>
            </p:cNvPr>
            <p:cNvSpPr/>
            <p:nvPr/>
          </p:nvSpPr>
          <p:spPr>
            <a:xfrm>
              <a:off x="71913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7" name="Freeform 1136">
              <a:extLst>
                <a:ext uri="{FF2B5EF4-FFF2-40B4-BE49-F238E27FC236}">
                  <a16:creationId xmlns:a16="http://schemas.microsoft.com/office/drawing/2014/main" id="{61FF2966-21BD-9D9A-700F-74B213CDA5CE}"/>
                </a:ext>
              </a:extLst>
            </p:cNvPr>
            <p:cNvSpPr/>
            <p:nvPr/>
          </p:nvSpPr>
          <p:spPr>
            <a:xfrm>
              <a:off x="71913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8" name="Freeform 1137">
              <a:extLst>
                <a:ext uri="{FF2B5EF4-FFF2-40B4-BE49-F238E27FC236}">
                  <a16:creationId xmlns:a16="http://schemas.microsoft.com/office/drawing/2014/main" id="{F54ACFFD-4A52-B9C8-BA85-8F2C19A393A9}"/>
                </a:ext>
              </a:extLst>
            </p:cNvPr>
            <p:cNvSpPr/>
            <p:nvPr/>
          </p:nvSpPr>
          <p:spPr>
            <a:xfrm>
              <a:off x="71913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9" name="Freeform 1138">
              <a:extLst>
                <a:ext uri="{FF2B5EF4-FFF2-40B4-BE49-F238E27FC236}">
                  <a16:creationId xmlns:a16="http://schemas.microsoft.com/office/drawing/2014/main" id="{F6C68E44-4AF7-EA01-A3E6-F798246610EB}"/>
                </a:ext>
              </a:extLst>
            </p:cNvPr>
            <p:cNvSpPr/>
            <p:nvPr/>
          </p:nvSpPr>
          <p:spPr>
            <a:xfrm>
              <a:off x="71913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0" name="Freeform 1139">
              <a:extLst>
                <a:ext uri="{FF2B5EF4-FFF2-40B4-BE49-F238E27FC236}">
                  <a16:creationId xmlns:a16="http://schemas.microsoft.com/office/drawing/2014/main" id="{44614F84-63D8-A7EC-E879-764B8BD6B64B}"/>
                </a:ext>
              </a:extLst>
            </p:cNvPr>
            <p:cNvSpPr/>
            <p:nvPr/>
          </p:nvSpPr>
          <p:spPr>
            <a:xfrm>
              <a:off x="71913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1" name="Freeform 1140">
              <a:extLst>
                <a:ext uri="{FF2B5EF4-FFF2-40B4-BE49-F238E27FC236}">
                  <a16:creationId xmlns:a16="http://schemas.microsoft.com/office/drawing/2014/main" id="{5B3A688F-94B8-C81F-9A1F-F5015F5DF6A1}"/>
                </a:ext>
              </a:extLst>
            </p:cNvPr>
            <p:cNvSpPr/>
            <p:nvPr/>
          </p:nvSpPr>
          <p:spPr>
            <a:xfrm>
              <a:off x="719137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2" name="Freeform 1141">
              <a:extLst>
                <a:ext uri="{FF2B5EF4-FFF2-40B4-BE49-F238E27FC236}">
                  <a16:creationId xmlns:a16="http://schemas.microsoft.com/office/drawing/2014/main" id="{33DA234E-BD6C-60C1-C49C-DABB2DD022BA}"/>
                </a:ext>
              </a:extLst>
            </p:cNvPr>
            <p:cNvSpPr/>
            <p:nvPr/>
          </p:nvSpPr>
          <p:spPr>
            <a:xfrm>
              <a:off x="71913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3" name="Freeform 1142">
              <a:extLst>
                <a:ext uri="{FF2B5EF4-FFF2-40B4-BE49-F238E27FC236}">
                  <a16:creationId xmlns:a16="http://schemas.microsoft.com/office/drawing/2014/main" id="{F6128E1D-2FE9-8D19-609E-25915A8CB957}"/>
                </a:ext>
              </a:extLst>
            </p:cNvPr>
            <p:cNvSpPr/>
            <p:nvPr/>
          </p:nvSpPr>
          <p:spPr>
            <a:xfrm>
              <a:off x="71913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4" name="Freeform 1143">
              <a:extLst>
                <a:ext uri="{FF2B5EF4-FFF2-40B4-BE49-F238E27FC236}">
                  <a16:creationId xmlns:a16="http://schemas.microsoft.com/office/drawing/2014/main" id="{54854967-D5BA-95EE-1B20-99690B29F746}"/>
                </a:ext>
              </a:extLst>
            </p:cNvPr>
            <p:cNvSpPr/>
            <p:nvPr/>
          </p:nvSpPr>
          <p:spPr>
            <a:xfrm>
              <a:off x="71913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5" name="Freeform 1144">
              <a:extLst>
                <a:ext uri="{FF2B5EF4-FFF2-40B4-BE49-F238E27FC236}">
                  <a16:creationId xmlns:a16="http://schemas.microsoft.com/office/drawing/2014/main" id="{4A0BB9EF-5C2C-9242-B752-8E9DDF840215}"/>
                </a:ext>
              </a:extLst>
            </p:cNvPr>
            <p:cNvSpPr/>
            <p:nvPr/>
          </p:nvSpPr>
          <p:spPr>
            <a:xfrm>
              <a:off x="71913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6" name="Freeform 1145">
              <a:extLst>
                <a:ext uri="{FF2B5EF4-FFF2-40B4-BE49-F238E27FC236}">
                  <a16:creationId xmlns:a16="http://schemas.microsoft.com/office/drawing/2014/main" id="{925158A5-A736-F766-9DD3-C2C79F3FD589}"/>
                </a:ext>
              </a:extLst>
            </p:cNvPr>
            <p:cNvSpPr/>
            <p:nvPr/>
          </p:nvSpPr>
          <p:spPr>
            <a:xfrm>
              <a:off x="72961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7" name="Freeform 1146">
              <a:extLst>
                <a:ext uri="{FF2B5EF4-FFF2-40B4-BE49-F238E27FC236}">
                  <a16:creationId xmlns:a16="http://schemas.microsoft.com/office/drawing/2014/main" id="{F0CF2893-9D45-38A8-B5CD-58619C4D079F}"/>
                </a:ext>
              </a:extLst>
            </p:cNvPr>
            <p:cNvSpPr/>
            <p:nvPr/>
          </p:nvSpPr>
          <p:spPr>
            <a:xfrm>
              <a:off x="72961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8" name="Freeform 1147">
              <a:extLst>
                <a:ext uri="{FF2B5EF4-FFF2-40B4-BE49-F238E27FC236}">
                  <a16:creationId xmlns:a16="http://schemas.microsoft.com/office/drawing/2014/main" id="{0E439F17-1BBF-795D-7348-DF48CC5E94B3}"/>
                </a:ext>
              </a:extLst>
            </p:cNvPr>
            <p:cNvSpPr/>
            <p:nvPr/>
          </p:nvSpPr>
          <p:spPr>
            <a:xfrm>
              <a:off x="72961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9" name="Freeform 1148">
              <a:extLst>
                <a:ext uri="{FF2B5EF4-FFF2-40B4-BE49-F238E27FC236}">
                  <a16:creationId xmlns:a16="http://schemas.microsoft.com/office/drawing/2014/main" id="{62A884CF-731E-6225-59AB-145E6FA4A3A4}"/>
                </a:ext>
              </a:extLst>
            </p:cNvPr>
            <p:cNvSpPr/>
            <p:nvPr/>
          </p:nvSpPr>
          <p:spPr>
            <a:xfrm>
              <a:off x="72961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0" name="Freeform 1149">
              <a:extLst>
                <a:ext uri="{FF2B5EF4-FFF2-40B4-BE49-F238E27FC236}">
                  <a16:creationId xmlns:a16="http://schemas.microsoft.com/office/drawing/2014/main" id="{DB09F7BF-0E1A-F200-54E9-4D742965E06F}"/>
                </a:ext>
              </a:extLst>
            </p:cNvPr>
            <p:cNvSpPr/>
            <p:nvPr/>
          </p:nvSpPr>
          <p:spPr>
            <a:xfrm>
              <a:off x="72961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1" name="Freeform 1150">
              <a:extLst>
                <a:ext uri="{FF2B5EF4-FFF2-40B4-BE49-F238E27FC236}">
                  <a16:creationId xmlns:a16="http://schemas.microsoft.com/office/drawing/2014/main" id="{C333A2B3-94FC-AB64-3525-51E90D12C8FF}"/>
                </a:ext>
              </a:extLst>
            </p:cNvPr>
            <p:cNvSpPr/>
            <p:nvPr/>
          </p:nvSpPr>
          <p:spPr>
            <a:xfrm>
              <a:off x="72961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2" name="Freeform 1151">
              <a:extLst>
                <a:ext uri="{FF2B5EF4-FFF2-40B4-BE49-F238E27FC236}">
                  <a16:creationId xmlns:a16="http://schemas.microsoft.com/office/drawing/2014/main" id="{BB1C8EA3-6DE3-CDFA-0FC3-67B288BEF0C5}"/>
                </a:ext>
              </a:extLst>
            </p:cNvPr>
            <p:cNvSpPr/>
            <p:nvPr/>
          </p:nvSpPr>
          <p:spPr>
            <a:xfrm>
              <a:off x="72961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3" name="Freeform 1152">
              <a:extLst>
                <a:ext uri="{FF2B5EF4-FFF2-40B4-BE49-F238E27FC236}">
                  <a16:creationId xmlns:a16="http://schemas.microsoft.com/office/drawing/2014/main" id="{B423AE77-F20E-6459-D7C9-B804685893C0}"/>
                </a:ext>
              </a:extLst>
            </p:cNvPr>
            <p:cNvSpPr/>
            <p:nvPr/>
          </p:nvSpPr>
          <p:spPr>
            <a:xfrm>
              <a:off x="72961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4" name="Freeform 1153">
              <a:extLst>
                <a:ext uri="{FF2B5EF4-FFF2-40B4-BE49-F238E27FC236}">
                  <a16:creationId xmlns:a16="http://schemas.microsoft.com/office/drawing/2014/main" id="{1505619B-40C0-71E6-C29A-6E17E42C5B55}"/>
                </a:ext>
              </a:extLst>
            </p:cNvPr>
            <p:cNvSpPr/>
            <p:nvPr/>
          </p:nvSpPr>
          <p:spPr>
            <a:xfrm>
              <a:off x="72961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5" name="Freeform 1154">
              <a:extLst>
                <a:ext uri="{FF2B5EF4-FFF2-40B4-BE49-F238E27FC236}">
                  <a16:creationId xmlns:a16="http://schemas.microsoft.com/office/drawing/2014/main" id="{F6E64CDB-3903-CD59-F3BB-33082422804B}"/>
                </a:ext>
              </a:extLst>
            </p:cNvPr>
            <p:cNvSpPr/>
            <p:nvPr/>
          </p:nvSpPr>
          <p:spPr>
            <a:xfrm>
              <a:off x="72961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6" name="Freeform 1155">
              <a:extLst>
                <a:ext uri="{FF2B5EF4-FFF2-40B4-BE49-F238E27FC236}">
                  <a16:creationId xmlns:a16="http://schemas.microsoft.com/office/drawing/2014/main" id="{AF1FA5A2-BA5D-3BA2-0658-D027E5771AC5}"/>
                </a:ext>
              </a:extLst>
            </p:cNvPr>
            <p:cNvSpPr/>
            <p:nvPr/>
          </p:nvSpPr>
          <p:spPr>
            <a:xfrm>
              <a:off x="72961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7" name="Freeform 1156">
              <a:extLst>
                <a:ext uri="{FF2B5EF4-FFF2-40B4-BE49-F238E27FC236}">
                  <a16:creationId xmlns:a16="http://schemas.microsoft.com/office/drawing/2014/main" id="{2A412BDB-5B36-CB61-A399-719041126462}"/>
                </a:ext>
              </a:extLst>
            </p:cNvPr>
            <p:cNvSpPr/>
            <p:nvPr/>
          </p:nvSpPr>
          <p:spPr>
            <a:xfrm>
              <a:off x="72961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8" name="Freeform 1157">
              <a:extLst>
                <a:ext uri="{FF2B5EF4-FFF2-40B4-BE49-F238E27FC236}">
                  <a16:creationId xmlns:a16="http://schemas.microsoft.com/office/drawing/2014/main" id="{2DD109D3-908C-6F9E-6981-951A0F9E043D}"/>
                </a:ext>
              </a:extLst>
            </p:cNvPr>
            <p:cNvSpPr/>
            <p:nvPr/>
          </p:nvSpPr>
          <p:spPr>
            <a:xfrm>
              <a:off x="72961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9" name="Freeform 1158">
              <a:extLst>
                <a:ext uri="{FF2B5EF4-FFF2-40B4-BE49-F238E27FC236}">
                  <a16:creationId xmlns:a16="http://schemas.microsoft.com/office/drawing/2014/main" id="{15606DF5-A7E9-DDF4-A9A3-51D91CB657A0}"/>
                </a:ext>
              </a:extLst>
            </p:cNvPr>
            <p:cNvSpPr/>
            <p:nvPr/>
          </p:nvSpPr>
          <p:spPr>
            <a:xfrm>
              <a:off x="72961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0" name="Freeform 1159">
              <a:extLst>
                <a:ext uri="{FF2B5EF4-FFF2-40B4-BE49-F238E27FC236}">
                  <a16:creationId xmlns:a16="http://schemas.microsoft.com/office/drawing/2014/main" id="{BFE4317E-5376-A3F6-62B4-92C240396F66}"/>
                </a:ext>
              </a:extLst>
            </p:cNvPr>
            <p:cNvSpPr/>
            <p:nvPr/>
          </p:nvSpPr>
          <p:spPr>
            <a:xfrm>
              <a:off x="72961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1" name="Freeform 1160">
              <a:extLst>
                <a:ext uri="{FF2B5EF4-FFF2-40B4-BE49-F238E27FC236}">
                  <a16:creationId xmlns:a16="http://schemas.microsoft.com/office/drawing/2014/main" id="{51FFD888-5692-FA1E-6B63-6E7DC4527DE8}"/>
                </a:ext>
              </a:extLst>
            </p:cNvPr>
            <p:cNvSpPr/>
            <p:nvPr/>
          </p:nvSpPr>
          <p:spPr>
            <a:xfrm>
              <a:off x="72961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2" name="Freeform 1161">
              <a:extLst>
                <a:ext uri="{FF2B5EF4-FFF2-40B4-BE49-F238E27FC236}">
                  <a16:creationId xmlns:a16="http://schemas.microsoft.com/office/drawing/2014/main" id="{4B81294E-D086-59FC-4CDD-C2C80D079254}"/>
                </a:ext>
              </a:extLst>
            </p:cNvPr>
            <p:cNvSpPr/>
            <p:nvPr/>
          </p:nvSpPr>
          <p:spPr>
            <a:xfrm>
              <a:off x="72961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3" name="Freeform 1162">
              <a:extLst>
                <a:ext uri="{FF2B5EF4-FFF2-40B4-BE49-F238E27FC236}">
                  <a16:creationId xmlns:a16="http://schemas.microsoft.com/office/drawing/2014/main" id="{3E1702EF-A9C2-EE7B-C958-5E7D06A5CD9B}"/>
                </a:ext>
              </a:extLst>
            </p:cNvPr>
            <p:cNvSpPr/>
            <p:nvPr/>
          </p:nvSpPr>
          <p:spPr>
            <a:xfrm>
              <a:off x="729615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4" name="Freeform 1163">
              <a:extLst>
                <a:ext uri="{FF2B5EF4-FFF2-40B4-BE49-F238E27FC236}">
                  <a16:creationId xmlns:a16="http://schemas.microsoft.com/office/drawing/2014/main" id="{862712E4-A099-9F35-9345-35A72A41DEDE}"/>
                </a:ext>
              </a:extLst>
            </p:cNvPr>
            <p:cNvSpPr/>
            <p:nvPr/>
          </p:nvSpPr>
          <p:spPr>
            <a:xfrm>
              <a:off x="72961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5" name="Freeform 1164">
              <a:extLst>
                <a:ext uri="{FF2B5EF4-FFF2-40B4-BE49-F238E27FC236}">
                  <a16:creationId xmlns:a16="http://schemas.microsoft.com/office/drawing/2014/main" id="{671B2F0E-65E7-4962-13C6-6489DA345B08}"/>
                </a:ext>
              </a:extLst>
            </p:cNvPr>
            <p:cNvSpPr/>
            <p:nvPr/>
          </p:nvSpPr>
          <p:spPr>
            <a:xfrm>
              <a:off x="72961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6" name="Freeform 1165">
              <a:extLst>
                <a:ext uri="{FF2B5EF4-FFF2-40B4-BE49-F238E27FC236}">
                  <a16:creationId xmlns:a16="http://schemas.microsoft.com/office/drawing/2014/main" id="{A69A15DB-A4B6-4028-8D28-9A39C21B8582}"/>
                </a:ext>
              </a:extLst>
            </p:cNvPr>
            <p:cNvSpPr/>
            <p:nvPr/>
          </p:nvSpPr>
          <p:spPr>
            <a:xfrm>
              <a:off x="72961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7" name="Freeform 1166">
              <a:extLst>
                <a:ext uri="{FF2B5EF4-FFF2-40B4-BE49-F238E27FC236}">
                  <a16:creationId xmlns:a16="http://schemas.microsoft.com/office/drawing/2014/main" id="{072BDDC8-115C-2CE2-70CA-5793220CD85A}"/>
                </a:ext>
              </a:extLst>
            </p:cNvPr>
            <p:cNvSpPr/>
            <p:nvPr/>
          </p:nvSpPr>
          <p:spPr>
            <a:xfrm>
              <a:off x="72961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8" name="Freeform 1167">
              <a:extLst>
                <a:ext uri="{FF2B5EF4-FFF2-40B4-BE49-F238E27FC236}">
                  <a16:creationId xmlns:a16="http://schemas.microsoft.com/office/drawing/2014/main" id="{A560BD94-9097-8514-3FAA-1D3209CEA306}"/>
                </a:ext>
              </a:extLst>
            </p:cNvPr>
            <p:cNvSpPr/>
            <p:nvPr/>
          </p:nvSpPr>
          <p:spPr>
            <a:xfrm>
              <a:off x="72961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9" name="Freeform 1168">
              <a:extLst>
                <a:ext uri="{FF2B5EF4-FFF2-40B4-BE49-F238E27FC236}">
                  <a16:creationId xmlns:a16="http://schemas.microsoft.com/office/drawing/2014/main" id="{01502907-FDB5-7D08-8C19-ADB1B6FED94F}"/>
                </a:ext>
              </a:extLst>
            </p:cNvPr>
            <p:cNvSpPr/>
            <p:nvPr/>
          </p:nvSpPr>
          <p:spPr>
            <a:xfrm>
              <a:off x="74009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0" name="Freeform 1169">
              <a:extLst>
                <a:ext uri="{FF2B5EF4-FFF2-40B4-BE49-F238E27FC236}">
                  <a16:creationId xmlns:a16="http://schemas.microsoft.com/office/drawing/2014/main" id="{E793B321-3242-398D-BF0F-328D8B23FEC1}"/>
                </a:ext>
              </a:extLst>
            </p:cNvPr>
            <p:cNvSpPr/>
            <p:nvPr/>
          </p:nvSpPr>
          <p:spPr>
            <a:xfrm>
              <a:off x="74009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1" name="Freeform 1170">
              <a:extLst>
                <a:ext uri="{FF2B5EF4-FFF2-40B4-BE49-F238E27FC236}">
                  <a16:creationId xmlns:a16="http://schemas.microsoft.com/office/drawing/2014/main" id="{114E0394-0CD2-0814-3F91-4D8D97199069}"/>
                </a:ext>
              </a:extLst>
            </p:cNvPr>
            <p:cNvSpPr/>
            <p:nvPr/>
          </p:nvSpPr>
          <p:spPr>
            <a:xfrm>
              <a:off x="74009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2" name="Freeform 1171">
              <a:extLst>
                <a:ext uri="{FF2B5EF4-FFF2-40B4-BE49-F238E27FC236}">
                  <a16:creationId xmlns:a16="http://schemas.microsoft.com/office/drawing/2014/main" id="{E1DC1C6A-3993-505F-7FA2-C11D856B747F}"/>
                </a:ext>
              </a:extLst>
            </p:cNvPr>
            <p:cNvSpPr/>
            <p:nvPr/>
          </p:nvSpPr>
          <p:spPr>
            <a:xfrm>
              <a:off x="74009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3" name="Freeform 1172">
              <a:extLst>
                <a:ext uri="{FF2B5EF4-FFF2-40B4-BE49-F238E27FC236}">
                  <a16:creationId xmlns:a16="http://schemas.microsoft.com/office/drawing/2014/main" id="{B0BC32F1-D797-0136-32BF-678B50886221}"/>
                </a:ext>
              </a:extLst>
            </p:cNvPr>
            <p:cNvSpPr/>
            <p:nvPr/>
          </p:nvSpPr>
          <p:spPr>
            <a:xfrm>
              <a:off x="74009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4" name="Freeform 1173">
              <a:extLst>
                <a:ext uri="{FF2B5EF4-FFF2-40B4-BE49-F238E27FC236}">
                  <a16:creationId xmlns:a16="http://schemas.microsoft.com/office/drawing/2014/main" id="{17612EB0-9053-6E80-FC5F-C5C46BAC5155}"/>
                </a:ext>
              </a:extLst>
            </p:cNvPr>
            <p:cNvSpPr/>
            <p:nvPr/>
          </p:nvSpPr>
          <p:spPr>
            <a:xfrm>
              <a:off x="740092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5" name="Freeform 1174">
              <a:extLst>
                <a:ext uri="{FF2B5EF4-FFF2-40B4-BE49-F238E27FC236}">
                  <a16:creationId xmlns:a16="http://schemas.microsoft.com/office/drawing/2014/main" id="{A46BE30D-3700-7BF9-BB74-0DF8EF564BEC}"/>
                </a:ext>
              </a:extLst>
            </p:cNvPr>
            <p:cNvSpPr/>
            <p:nvPr/>
          </p:nvSpPr>
          <p:spPr>
            <a:xfrm>
              <a:off x="740092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6" name="Freeform 1175">
              <a:extLst>
                <a:ext uri="{FF2B5EF4-FFF2-40B4-BE49-F238E27FC236}">
                  <a16:creationId xmlns:a16="http://schemas.microsoft.com/office/drawing/2014/main" id="{A5A45ACA-6E21-38C7-7870-68D4C25CF5AC}"/>
                </a:ext>
              </a:extLst>
            </p:cNvPr>
            <p:cNvSpPr/>
            <p:nvPr/>
          </p:nvSpPr>
          <p:spPr>
            <a:xfrm>
              <a:off x="74009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7" name="Freeform 1176">
              <a:extLst>
                <a:ext uri="{FF2B5EF4-FFF2-40B4-BE49-F238E27FC236}">
                  <a16:creationId xmlns:a16="http://schemas.microsoft.com/office/drawing/2014/main" id="{C2338294-67E7-4230-35D2-35ADC8D5C1A2}"/>
                </a:ext>
              </a:extLst>
            </p:cNvPr>
            <p:cNvSpPr/>
            <p:nvPr/>
          </p:nvSpPr>
          <p:spPr>
            <a:xfrm>
              <a:off x="74009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8" name="Freeform 1177">
              <a:extLst>
                <a:ext uri="{FF2B5EF4-FFF2-40B4-BE49-F238E27FC236}">
                  <a16:creationId xmlns:a16="http://schemas.microsoft.com/office/drawing/2014/main" id="{9CB9DE2A-E145-9E75-C52F-531441F11F55}"/>
                </a:ext>
              </a:extLst>
            </p:cNvPr>
            <p:cNvSpPr/>
            <p:nvPr/>
          </p:nvSpPr>
          <p:spPr>
            <a:xfrm>
              <a:off x="74009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9" name="Freeform 1178">
              <a:extLst>
                <a:ext uri="{FF2B5EF4-FFF2-40B4-BE49-F238E27FC236}">
                  <a16:creationId xmlns:a16="http://schemas.microsoft.com/office/drawing/2014/main" id="{69634A1B-85DD-267B-FEB9-8FB682C881BC}"/>
                </a:ext>
              </a:extLst>
            </p:cNvPr>
            <p:cNvSpPr/>
            <p:nvPr/>
          </p:nvSpPr>
          <p:spPr>
            <a:xfrm>
              <a:off x="74009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0" name="Freeform 1179">
              <a:extLst>
                <a:ext uri="{FF2B5EF4-FFF2-40B4-BE49-F238E27FC236}">
                  <a16:creationId xmlns:a16="http://schemas.microsoft.com/office/drawing/2014/main" id="{6471965D-6870-A72E-88E4-662C55726B6B}"/>
                </a:ext>
              </a:extLst>
            </p:cNvPr>
            <p:cNvSpPr/>
            <p:nvPr/>
          </p:nvSpPr>
          <p:spPr>
            <a:xfrm>
              <a:off x="74009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1" name="Freeform 1180">
              <a:extLst>
                <a:ext uri="{FF2B5EF4-FFF2-40B4-BE49-F238E27FC236}">
                  <a16:creationId xmlns:a16="http://schemas.microsoft.com/office/drawing/2014/main" id="{84A7904C-DF3A-4B9E-C766-1A758522504E}"/>
                </a:ext>
              </a:extLst>
            </p:cNvPr>
            <p:cNvSpPr/>
            <p:nvPr/>
          </p:nvSpPr>
          <p:spPr>
            <a:xfrm>
              <a:off x="74009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2" name="Freeform 1181">
              <a:extLst>
                <a:ext uri="{FF2B5EF4-FFF2-40B4-BE49-F238E27FC236}">
                  <a16:creationId xmlns:a16="http://schemas.microsoft.com/office/drawing/2014/main" id="{E89A9B29-DCBD-033B-6B15-599DF1E65C86}"/>
                </a:ext>
              </a:extLst>
            </p:cNvPr>
            <p:cNvSpPr/>
            <p:nvPr/>
          </p:nvSpPr>
          <p:spPr>
            <a:xfrm>
              <a:off x="74009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3" name="Freeform 1182">
              <a:extLst>
                <a:ext uri="{FF2B5EF4-FFF2-40B4-BE49-F238E27FC236}">
                  <a16:creationId xmlns:a16="http://schemas.microsoft.com/office/drawing/2014/main" id="{CE49ACC5-82D2-4E54-3ECC-8E6EECE07019}"/>
                </a:ext>
              </a:extLst>
            </p:cNvPr>
            <p:cNvSpPr/>
            <p:nvPr/>
          </p:nvSpPr>
          <p:spPr>
            <a:xfrm>
              <a:off x="74009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4" name="Freeform 1183">
              <a:extLst>
                <a:ext uri="{FF2B5EF4-FFF2-40B4-BE49-F238E27FC236}">
                  <a16:creationId xmlns:a16="http://schemas.microsoft.com/office/drawing/2014/main" id="{F56A9DE7-EEBB-62EA-5BD5-BC45E74099BB}"/>
                </a:ext>
              </a:extLst>
            </p:cNvPr>
            <p:cNvSpPr/>
            <p:nvPr/>
          </p:nvSpPr>
          <p:spPr>
            <a:xfrm>
              <a:off x="74009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5" name="Freeform 1184">
              <a:extLst>
                <a:ext uri="{FF2B5EF4-FFF2-40B4-BE49-F238E27FC236}">
                  <a16:creationId xmlns:a16="http://schemas.microsoft.com/office/drawing/2014/main" id="{0945FAE5-54D4-CDB4-69F8-E23A5EF0DF76}"/>
                </a:ext>
              </a:extLst>
            </p:cNvPr>
            <p:cNvSpPr/>
            <p:nvPr/>
          </p:nvSpPr>
          <p:spPr>
            <a:xfrm>
              <a:off x="74009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6" name="Freeform 1185">
              <a:extLst>
                <a:ext uri="{FF2B5EF4-FFF2-40B4-BE49-F238E27FC236}">
                  <a16:creationId xmlns:a16="http://schemas.microsoft.com/office/drawing/2014/main" id="{0D0F94AB-0991-3495-2584-2B72FEBA355F}"/>
                </a:ext>
              </a:extLst>
            </p:cNvPr>
            <p:cNvSpPr/>
            <p:nvPr/>
          </p:nvSpPr>
          <p:spPr>
            <a:xfrm>
              <a:off x="74009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7" name="Freeform 1186">
              <a:extLst>
                <a:ext uri="{FF2B5EF4-FFF2-40B4-BE49-F238E27FC236}">
                  <a16:creationId xmlns:a16="http://schemas.microsoft.com/office/drawing/2014/main" id="{BCC02E89-FAF5-036F-F4F3-CF4150B7B740}"/>
                </a:ext>
              </a:extLst>
            </p:cNvPr>
            <p:cNvSpPr/>
            <p:nvPr/>
          </p:nvSpPr>
          <p:spPr>
            <a:xfrm>
              <a:off x="75057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8" name="Freeform 1187">
              <a:extLst>
                <a:ext uri="{FF2B5EF4-FFF2-40B4-BE49-F238E27FC236}">
                  <a16:creationId xmlns:a16="http://schemas.microsoft.com/office/drawing/2014/main" id="{7ADE8C23-BB9F-1DCC-258A-94F7ABD85F6B}"/>
                </a:ext>
              </a:extLst>
            </p:cNvPr>
            <p:cNvSpPr/>
            <p:nvPr/>
          </p:nvSpPr>
          <p:spPr>
            <a:xfrm>
              <a:off x="75057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9" name="Freeform 1188">
              <a:extLst>
                <a:ext uri="{FF2B5EF4-FFF2-40B4-BE49-F238E27FC236}">
                  <a16:creationId xmlns:a16="http://schemas.microsoft.com/office/drawing/2014/main" id="{519228E1-5A62-4009-048F-875106EA6AB8}"/>
                </a:ext>
              </a:extLst>
            </p:cNvPr>
            <p:cNvSpPr/>
            <p:nvPr/>
          </p:nvSpPr>
          <p:spPr>
            <a:xfrm>
              <a:off x="75057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0" name="Freeform 1189">
              <a:extLst>
                <a:ext uri="{FF2B5EF4-FFF2-40B4-BE49-F238E27FC236}">
                  <a16:creationId xmlns:a16="http://schemas.microsoft.com/office/drawing/2014/main" id="{91FBA77D-AF1D-3862-BD2A-38C6E3E2E217}"/>
                </a:ext>
              </a:extLst>
            </p:cNvPr>
            <p:cNvSpPr/>
            <p:nvPr/>
          </p:nvSpPr>
          <p:spPr>
            <a:xfrm>
              <a:off x="75057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1" name="Freeform 1190">
              <a:extLst>
                <a:ext uri="{FF2B5EF4-FFF2-40B4-BE49-F238E27FC236}">
                  <a16:creationId xmlns:a16="http://schemas.microsoft.com/office/drawing/2014/main" id="{9F4A21AA-D8BF-3D77-1FCE-6F0EC4A961F2}"/>
                </a:ext>
              </a:extLst>
            </p:cNvPr>
            <p:cNvSpPr/>
            <p:nvPr/>
          </p:nvSpPr>
          <p:spPr>
            <a:xfrm>
              <a:off x="75057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2" name="Freeform 1191">
              <a:extLst>
                <a:ext uri="{FF2B5EF4-FFF2-40B4-BE49-F238E27FC236}">
                  <a16:creationId xmlns:a16="http://schemas.microsoft.com/office/drawing/2014/main" id="{B9AE20B8-1781-94E5-54E8-936EBA95ADD8}"/>
                </a:ext>
              </a:extLst>
            </p:cNvPr>
            <p:cNvSpPr/>
            <p:nvPr/>
          </p:nvSpPr>
          <p:spPr>
            <a:xfrm>
              <a:off x="75057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3" name="Freeform 1192">
              <a:extLst>
                <a:ext uri="{FF2B5EF4-FFF2-40B4-BE49-F238E27FC236}">
                  <a16:creationId xmlns:a16="http://schemas.microsoft.com/office/drawing/2014/main" id="{B8840F1E-616B-AA56-6960-983692269E61}"/>
                </a:ext>
              </a:extLst>
            </p:cNvPr>
            <p:cNvSpPr/>
            <p:nvPr/>
          </p:nvSpPr>
          <p:spPr>
            <a:xfrm>
              <a:off x="75057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4" name="Freeform 1193">
              <a:extLst>
                <a:ext uri="{FF2B5EF4-FFF2-40B4-BE49-F238E27FC236}">
                  <a16:creationId xmlns:a16="http://schemas.microsoft.com/office/drawing/2014/main" id="{F21A718A-94DF-5A5B-FB78-0976D719F492}"/>
                </a:ext>
              </a:extLst>
            </p:cNvPr>
            <p:cNvSpPr/>
            <p:nvPr/>
          </p:nvSpPr>
          <p:spPr>
            <a:xfrm>
              <a:off x="75057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5" name="Freeform 1194">
              <a:extLst>
                <a:ext uri="{FF2B5EF4-FFF2-40B4-BE49-F238E27FC236}">
                  <a16:creationId xmlns:a16="http://schemas.microsoft.com/office/drawing/2014/main" id="{9DE1B9D4-58A4-CB3B-2CF7-E78B1194573E}"/>
                </a:ext>
              </a:extLst>
            </p:cNvPr>
            <p:cNvSpPr/>
            <p:nvPr/>
          </p:nvSpPr>
          <p:spPr>
            <a:xfrm>
              <a:off x="75057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6" name="Freeform 1195">
              <a:extLst>
                <a:ext uri="{FF2B5EF4-FFF2-40B4-BE49-F238E27FC236}">
                  <a16:creationId xmlns:a16="http://schemas.microsoft.com/office/drawing/2014/main" id="{3BC2AF08-6C58-F71D-4905-375A787C7821}"/>
                </a:ext>
              </a:extLst>
            </p:cNvPr>
            <p:cNvSpPr/>
            <p:nvPr/>
          </p:nvSpPr>
          <p:spPr>
            <a:xfrm>
              <a:off x="75057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7" name="Freeform 1196">
              <a:extLst>
                <a:ext uri="{FF2B5EF4-FFF2-40B4-BE49-F238E27FC236}">
                  <a16:creationId xmlns:a16="http://schemas.microsoft.com/office/drawing/2014/main" id="{F914441B-A44A-CB3B-F9DE-0864F9EC2CB7}"/>
                </a:ext>
              </a:extLst>
            </p:cNvPr>
            <p:cNvSpPr/>
            <p:nvPr/>
          </p:nvSpPr>
          <p:spPr>
            <a:xfrm>
              <a:off x="750570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8" name="Freeform 1197">
              <a:extLst>
                <a:ext uri="{FF2B5EF4-FFF2-40B4-BE49-F238E27FC236}">
                  <a16:creationId xmlns:a16="http://schemas.microsoft.com/office/drawing/2014/main" id="{D644AD72-152F-ACCB-977F-ADE3401D3CA1}"/>
                </a:ext>
              </a:extLst>
            </p:cNvPr>
            <p:cNvSpPr/>
            <p:nvPr/>
          </p:nvSpPr>
          <p:spPr>
            <a:xfrm>
              <a:off x="75057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9" name="Freeform 1198">
              <a:extLst>
                <a:ext uri="{FF2B5EF4-FFF2-40B4-BE49-F238E27FC236}">
                  <a16:creationId xmlns:a16="http://schemas.microsoft.com/office/drawing/2014/main" id="{ABD08A41-DBAA-088A-2A5F-37A691DB3857}"/>
                </a:ext>
              </a:extLst>
            </p:cNvPr>
            <p:cNvSpPr/>
            <p:nvPr/>
          </p:nvSpPr>
          <p:spPr>
            <a:xfrm>
              <a:off x="75057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0" name="Freeform 1199">
              <a:extLst>
                <a:ext uri="{FF2B5EF4-FFF2-40B4-BE49-F238E27FC236}">
                  <a16:creationId xmlns:a16="http://schemas.microsoft.com/office/drawing/2014/main" id="{35392D1F-B157-BC54-F605-DB3F9ED09B54}"/>
                </a:ext>
              </a:extLst>
            </p:cNvPr>
            <p:cNvSpPr/>
            <p:nvPr/>
          </p:nvSpPr>
          <p:spPr>
            <a:xfrm>
              <a:off x="75057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1" name="Freeform 1200">
              <a:extLst>
                <a:ext uri="{FF2B5EF4-FFF2-40B4-BE49-F238E27FC236}">
                  <a16:creationId xmlns:a16="http://schemas.microsoft.com/office/drawing/2014/main" id="{91B2BA9A-63F7-7A26-A4D3-9AF8E39DE92F}"/>
                </a:ext>
              </a:extLst>
            </p:cNvPr>
            <p:cNvSpPr/>
            <p:nvPr/>
          </p:nvSpPr>
          <p:spPr>
            <a:xfrm>
              <a:off x="75057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2" name="Freeform 1201">
              <a:extLst>
                <a:ext uri="{FF2B5EF4-FFF2-40B4-BE49-F238E27FC236}">
                  <a16:creationId xmlns:a16="http://schemas.microsoft.com/office/drawing/2014/main" id="{132D6123-D4F2-9A56-D426-513BC743DDB2}"/>
                </a:ext>
              </a:extLst>
            </p:cNvPr>
            <p:cNvSpPr/>
            <p:nvPr/>
          </p:nvSpPr>
          <p:spPr>
            <a:xfrm>
              <a:off x="750570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3" name="Freeform 1202">
              <a:extLst>
                <a:ext uri="{FF2B5EF4-FFF2-40B4-BE49-F238E27FC236}">
                  <a16:creationId xmlns:a16="http://schemas.microsoft.com/office/drawing/2014/main" id="{FFB14AA9-0050-3BCD-DB09-7910F72A6CAA}"/>
                </a:ext>
              </a:extLst>
            </p:cNvPr>
            <p:cNvSpPr/>
            <p:nvPr/>
          </p:nvSpPr>
          <p:spPr>
            <a:xfrm>
              <a:off x="76104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4" name="Freeform 1203">
              <a:extLst>
                <a:ext uri="{FF2B5EF4-FFF2-40B4-BE49-F238E27FC236}">
                  <a16:creationId xmlns:a16="http://schemas.microsoft.com/office/drawing/2014/main" id="{7C74537E-5B35-D03A-5544-0FD70D89B2F2}"/>
                </a:ext>
              </a:extLst>
            </p:cNvPr>
            <p:cNvSpPr/>
            <p:nvPr/>
          </p:nvSpPr>
          <p:spPr>
            <a:xfrm>
              <a:off x="76104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5" name="Freeform 1204">
              <a:extLst>
                <a:ext uri="{FF2B5EF4-FFF2-40B4-BE49-F238E27FC236}">
                  <a16:creationId xmlns:a16="http://schemas.microsoft.com/office/drawing/2014/main" id="{62FF08E2-E470-9B4E-EF46-3743B41CAFE5}"/>
                </a:ext>
              </a:extLst>
            </p:cNvPr>
            <p:cNvSpPr/>
            <p:nvPr/>
          </p:nvSpPr>
          <p:spPr>
            <a:xfrm>
              <a:off x="76104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6" name="Freeform 1205">
              <a:extLst>
                <a:ext uri="{FF2B5EF4-FFF2-40B4-BE49-F238E27FC236}">
                  <a16:creationId xmlns:a16="http://schemas.microsoft.com/office/drawing/2014/main" id="{1B9358FF-3A56-86DC-19BB-1687D60FF7E4}"/>
                </a:ext>
              </a:extLst>
            </p:cNvPr>
            <p:cNvSpPr/>
            <p:nvPr/>
          </p:nvSpPr>
          <p:spPr>
            <a:xfrm>
              <a:off x="761047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7" name="Freeform 1206">
              <a:extLst>
                <a:ext uri="{FF2B5EF4-FFF2-40B4-BE49-F238E27FC236}">
                  <a16:creationId xmlns:a16="http://schemas.microsoft.com/office/drawing/2014/main" id="{A420857B-0CB1-C6BE-C053-F3DB954EA6FE}"/>
                </a:ext>
              </a:extLst>
            </p:cNvPr>
            <p:cNvSpPr/>
            <p:nvPr/>
          </p:nvSpPr>
          <p:spPr>
            <a:xfrm>
              <a:off x="761047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8" name="Freeform 1207">
              <a:extLst>
                <a:ext uri="{FF2B5EF4-FFF2-40B4-BE49-F238E27FC236}">
                  <a16:creationId xmlns:a16="http://schemas.microsoft.com/office/drawing/2014/main" id="{BBBA5EB5-7B95-CDC6-779A-91BB79812ECC}"/>
                </a:ext>
              </a:extLst>
            </p:cNvPr>
            <p:cNvSpPr/>
            <p:nvPr/>
          </p:nvSpPr>
          <p:spPr>
            <a:xfrm>
              <a:off x="761047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9" name="Freeform 1208">
              <a:extLst>
                <a:ext uri="{FF2B5EF4-FFF2-40B4-BE49-F238E27FC236}">
                  <a16:creationId xmlns:a16="http://schemas.microsoft.com/office/drawing/2014/main" id="{F10DBCDA-BDFA-AD8B-6C09-3B492D87A0A9}"/>
                </a:ext>
              </a:extLst>
            </p:cNvPr>
            <p:cNvSpPr/>
            <p:nvPr/>
          </p:nvSpPr>
          <p:spPr>
            <a:xfrm>
              <a:off x="76104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0" name="Freeform 1209">
              <a:extLst>
                <a:ext uri="{FF2B5EF4-FFF2-40B4-BE49-F238E27FC236}">
                  <a16:creationId xmlns:a16="http://schemas.microsoft.com/office/drawing/2014/main" id="{96C66E52-F1C1-5B8C-0DB1-26D5C28672C5}"/>
                </a:ext>
              </a:extLst>
            </p:cNvPr>
            <p:cNvSpPr/>
            <p:nvPr/>
          </p:nvSpPr>
          <p:spPr>
            <a:xfrm>
              <a:off x="76104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1" name="Freeform 1210">
              <a:extLst>
                <a:ext uri="{FF2B5EF4-FFF2-40B4-BE49-F238E27FC236}">
                  <a16:creationId xmlns:a16="http://schemas.microsoft.com/office/drawing/2014/main" id="{B6ED15F5-AC47-7C13-701B-C79B7175DEC0}"/>
                </a:ext>
              </a:extLst>
            </p:cNvPr>
            <p:cNvSpPr/>
            <p:nvPr/>
          </p:nvSpPr>
          <p:spPr>
            <a:xfrm>
              <a:off x="76104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2" name="Freeform 1211">
              <a:extLst>
                <a:ext uri="{FF2B5EF4-FFF2-40B4-BE49-F238E27FC236}">
                  <a16:creationId xmlns:a16="http://schemas.microsoft.com/office/drawing/2014/main" id="{54027A3A-F077-08D3-B2EF-EF6242A52B5B}"/>
                </a:ext>
              </a:extLst>
            </p:cNvPr>
            <p:cNvSpPr/>
            <p:nvPr/>
          </p:nvSpPr>
          <p:spPr>
            <a:xfrm>
              <a:off x="76104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3" name="Freeform 1212">
              <a:extLst>
                <a:ext uri="{FF2B5EF4-FFF2-40B4-BE49-F238E27FC236}">
                  <a16:creationId xmlns:a16="http://schemas.microsoft.com/office/drawing/2014/main" id="{103050DE-4993-6361-57D5-966373152C34}"/>
                </a:ext>
              </a:extLst>
            </p:cNvPr>
            <p:cNvSpPr/>
            <p:nvPr/>
          </p:nvSpPr>
          <p:spPr>
            <a:xfrm>
              <a:off x="76104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4" name="Freeform 1213">
              <a:extLst>
                <a:ext uri="{FF2B5EF4-FFF2-40B4-BE49-F238E27FC236}">
                  <a16:creationId xmlns:a16="http://schemas.microsoft.com/office/drawing/2014/main" id="{E46C48CD-75ED-F144-83CC-2F01E5FA6539}"/>
                </a:ext>
              </a:extLst>
            </p:cNvPr>
            <p:cNvSpPr/>
            <p:nvPr/>
          </p:nvSpPr>
          <p:spPr>
            <a:xfrm>
              <a:off x="76104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5" name="Freeform 1214">
              <a:extLst>
                <a:ext uri="{FF2B5EF4-FFF2-40B4-BE49-F238E27FC236}">
                  <a16:creationId xmlns:a16="http://schemas.microsoft.com/office/drawing/2014/main" id="{D4BC9D56-0568-20DF-4180-EC9BE23D2A2A}"/>
                </a:ext>
              </a:extLst>
            </p:cNvPr>
            <p:cNvSpPr/>
            <p:nvPr/>
          </p:nvSpPr>
          <p:spPr>
            <a:xfrm>
              <a:off x="76104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6" name="Freeform 1215">
              <a:extLst>
                <a:ext uri="{FF2B5EF4-FFF2-40B4-BE49-F238E27FC236}">
                  <a16:creationId xmlns:a16="http://schemas.microsoft.com/office/drawing/2014/main" id="{CA6A62BE-6B5F-C9E5-55BE-6902B6443750}"/>
                </a:ext>
              </a:extLst>
            </p:cNvPr>
            <p:cNvSpPr/>
            <p:nvPr/>
          </p:nvSpPr>
          <p:spPr>
            <a:xfrm>
              <a:off x="77152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7" name="Freeform 1216">
              <a:extLst>
                <a:ext uri="{FF2B5EF4-FFF2-40B4-BE49-F238E27FC236}">
                  <a16:creationId xmlns:a16="http://schemas.microsoft.com/office/drawing/2014/main" id="{AB08CD70-387C-2413-7B98-1C1997A6E825}"/>
                </a:ext>
              </a:extLst>
            </p:cNvPr>
            <p:cNvSpPr/>
            <p:nvPr/>
          </p:nvSpPr>
          <p:spPr>
            <a:xfrm>
              <a:off x="77152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8" name="Freeform 1217">
              <a:extLst>
                <a:ext uri="{FF2B5EF4-FFF2-40B4-BE49-F238E27FC236}">
                  <a16:creationId xmlns:a16="http://schemas.microsoft.com/office/drawing/2014/main" id="{773FF6BA-16E4-F940-C035-AC9C90D7F07A}"/>
                </a:ext>
              </a:extLst>
            </p:cNvPr>
            <p:cNvSpPr/>
            <p:nvPr/>
          </p:nvSpPr>
          <p:spPr>
            <a:xfrm>
              <a:off x="77152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9" name="Freeform 1218">
              <a:extLst>
                <a:ext uri="{FF2B5EF4-FFF2-40B4-BE49-F238E27FC236}">
                  <a16:creationId xmlns:a16="http://schemas.microsoft.com/office/drawing/2014/main" id="{09D39FC4-7F4F-9084-F20A-C96E6BF7D6E4}"/>
                </a:ext>
              </a:extLst>
            </p:cNvPr>
            <p:cNvSpPr/>
            <p:nvPr/>
          </p:nvSpPr>
          <p:spPr>
            <a:xfrm>
              <a:off x="77152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0" name="Freeform 1219">
              <a:extLst>
                <a:ext uri="{FF2B5EF4-FFF2-40B4-BE49-F238E27FC236}">
                  <a16:creationId xmlns:a16="http://schemas.microsoft.com/office/drawing/2014/main" id="{438D5384-6D86-613E-18A4-E733AEB97613}"/>
                </a:ext>
              </a:extLst>
            </p:cNvPr>
            <p:cNvSpPr/>
            <p:nvPr/>
          </p:nvSpPr>
          <p:spPr>
            <a:xfrm>
              <a:off x="77152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1" name="Freeform 1220">
              <a:extLst>
                <a:ext uri="{FF2B5EF4-FFF2-40B4-BE49-F238E27FC236}">
                  <a16:creationId xmlns:a16="http://schemas.microsoft.com/office/drawing/2014/main" id="{AFB07EEE-BAEF-1510-D6BE-856E2317E41A}"/>
                </a:ext>
              </a:extLst>
            </p:cNvPr>
            <p:cNvSpPr/>
            <p:nvPr/>
          </p:nvSpPr>
          <p:spPr>
            <a:xfrm>
              <a:off x="77152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2" name="Freeform 1221">
              <a:extLst>
                <a:ext uri="{FF2B5EF4-FFF2-40B4-BE49-F238E27FC236}">
                  <a16:creationId xmlns:a16="http://schemas.microsoft.com/office/drawing/2014/main" id="{27425224-C97B-751B-EE1D-4EDF39809F9B}"/>
                </a:ext>
              </a:extLst>
            </p:cNvPr>
            <p:cNvSpPr/>
            <p:nvPr/>
          </p:nvSpPr>
          <p:spPr>
            <a:xfrm>
              <a:off x="77152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3" name="Freeform 1222">
              <a:extLst>
                <a:ext uri="{FF2B5EF4-FFF2-40B4-BE49-F238E27FC236}">
                  <a16:creationId xmlns:a16="http://schemas.microsoft.com/office/drawing/2014/main" id="{4A3107A1-EE41-2A07-9C15-24B907F02CD7}"/>
                </a:ext>
              </a:extLst>
            </p:cNvPr>
            <p:cNvSpPr/>
            <p:nvPr/>
          </p:nvSpPr>
          <p:spPr>
            <a:xfrm>
              <a:off x="77152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4" name="Freeform 1223">
              <a:extLst>
                <a:ext uri="{FF2B5EF4-FFF2-40B4-BE49-F238E27FC236}">
                  <a16:creationId xmlns:a16="http://schemas.microsoft.com/office/drawing/2014/main" id="{6A417AA5-46BF-82FB-210F-70FF926F959C}"/>
                </a:ext>
              </a:extLst>
            </p:cNvPr>
            <p:cNvSpPr/>
            <p:nvPr/>
          </p:nvSpPr>
          <p:spPr>
            <a:xfrm>
              <a:off x="77152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5" name="Freeform 1224">
              <a:extLst>
                <a:ext uri="{FF2B5EF4-FFF2-40B4-BE49-F238E27FC236}">
                  <a16:creationId xmlns:a16="http://schemas.microsoft.com/office/drawing/2014/main" id="{35C0C7AB-804E-AE26-6D70-3854D9941491}"/>
                </a:ext>
              </a:extLst>
            </p:cNvPr>
            <p:cNvSpPr/>
            <p:nvPr/>
          </p:nvSpPr>
          <p:spPr>
            <a:xfrm>
              <a:off x="77152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6" name="Freeform 1225">
              <a:extLst>
                <a:ext uri="{FF2B5EF4-FFF2-40B4-BE49-F238E27FC236}">
                  <a16:creationId xmlns:a16="http://schemas.microsoft.com/office/drawing/2014/main" id="{D266D0F1-2852-5543-E6F6-A311F3D2FFD0}"/>
                </a:ext>
              </a:extLst>
            </p:cNvPr>
            <p:cNvSpPr/>
            <p:nvPr/>
          </p:nvSpPr>
          <p:spPr>
            <a:xfrm>
              <a:off x="77152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7" name="Freeform 1226">
              <a:extLst>
                <a:ext uri="{FF2B5EF4-FFF2-40B4-BE49-F238E27FC236}">
                  <a16:creationId xmlns:a16="http://schemas.microsoft.com/office/drawing/2014/main" id="{59741398-AFBB-B112-CB82-4A5B9AC64AF9}"/>
                </a:ext>
              </a:extLst>
            </p:cNvPr>
            <p:cNvSpPr/>
            <p:nvPr/>
          </p:nvSpPr>
          <p:spPr>
            <a:xfrm>
              <a:off x="77152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8" name="Freeform 1227">
              <a:extLst>
                <a:ext uri="{FF2B5EF4-FFF2-40B4-BE49-F238E27FC236}">
                  <a16:creationId xmlns:a16="http://schemas.microsoft.com/office/drawing/2014/main" id="{B959855E-053E-FDD0-9211-0ABD3A7F0370}"/>
                </a:ext>
              </a:extLst>
            </p:cNvPr>
            <p:cNvSpPr/>
            <p:nvPr/>
          </p:nvSpPr>
          <p:spPr>
            <a:xfrm>
              <a:off x="77152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9" name="Freeform 1228">
              <a:extLst>
                <a:ext uri="{FF2B5EF4-FFF2-40B4-BE49-F238E27FC236}">
                  <a16:creationId xmlns:a16="http://schemas.microsoft.com/office/drawing/2014/main" id="{1A455A18-427D-1B21-0E61-85A35322E634}"/>
                </a:ext>
              </a:extLst>
            </p:cNvPr>
            <p:cNvSpPr/>
            <p:nvPr/>
          </p:nvSpPr>
          <p:spPr>
            <a:xfrm>
              <a:off x="77152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0" name="Freeform 1229">
              <a:extLst>
                <a:ext uri="{FF2B5EF4-FFF2-40B4-BE49-F238E27FC236}">
                  <a16:creationId xmlns:a16="http://schemas.microsoft.com/office/drawing/2014/main" id="{E09EDE02-FA36-6117-8103-932CFECD9371}"/>
                </a:ext>
              </a:extLst>
            </p:cNvPr>
            <p:cNvSpPr/>
            <p:nvPr/>
          </p:nvSpPr>
          <p:spPr>
            <a:xfrm>
              <a:off x="77152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1" name="Freeform 1230">
              <a:extLst>
                <a:ext uri="{FF2B5EF4-FFF2-40B4-BE49-F238E27FC236}">
                  <a16:creationId xmlns:a16="http://schemas.microsoft.com/office/drawing/2014/main" id="{159D5E1D-77F8-6FE3-ADE4-E51267EAF767}"/>
                </a:ext>
              </a:extLst>
            </p:cNvPr>
            <p:cNvSpPr/>
            <p:nvPr/>
          </p:nvSpPr>
          <p:spPr>
            <a:xfrm>
              <a:off x="771525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2" name="Freeform 1231">
              <a:extLst>
                <a:ext uri="{FF2B5EF4-FFF2-40B4-BE49-F238E27FC236}">
                  <a16:creationId xmlns:a16="http://schemas.microsoft.com/office/drawing/2014/main" id="{87AE0532-20B3-B15E-59C4-25FD9A1D0280}"/>
                </a:ext>
              </a:extLst>
            </p:cNvPr>
            <p:cNvSpPr/>
            <p:nvPr/>
          </p:nvSpPr>
          <p:spPr>
            <a:xfrm>
              <a:off x="77152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3" name="Freeform 1232">
              <a:extLst>
                <a:ext uri="{FF2B5EF4-FFF2-40B4-BE49-F238E27FC236}">
                  <a16:creationId xmlns:a16="http://schemas.microsoft.com/office/drawing/2014/main" id="{3DF5B9EC-DB1C-CC56-F260-8CB36BEAE77F}"/>
                </a:ext>
              </a:extLst>
            </p:cNvPr>
            <p:cNvSpPr/>
            <p:nvPr/>
          </p:nvSpPr>
          <p:spPr>
            <a:xfrm>
              <a:off x="77152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4" name="Freeform 1233">
              <a:extLst>
                <a:ext uri="{FF2B5EF4-FFF2-40B4-BE49-F238E27FC236}">
                  <a16:creationId xmlns:a16="http://schemas.microsoft.com/office/drawing/2014/main" id="{78DD2A9C-73AB-38BC-34A6-399BD98279EF}"/>
                </a:ext>
              </a:extLst>
            </p:cNvPr>
            <p:cNvSpPr/>
            <p:nvPr/>
          </p:nvSpPr>
          <p:spPr>
            <a:xfrm>
              <a:off x="77152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5" name="Freeform 1234">
              <a:extLst>
                <a:ext uri="{FF2B5EF4-FFF2-40B4-BE49-F238E27FC236}">
                  <a16:creationId xmlns:a16="http://schemas.microsoft.com/office/drawing/2014/main" id="{64397C0A-693E-A783-D009-B29C1B9479FD}"/>
                </a:ext>
              </a:extLst>
            </p:cNvPr>
            <p:cNvSpPr/>
            <p:nvPr/>
          </p:nvSpPr>
          <p:spPr>
            <a:xfrm>
              <a:off x="77152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6" name="Freeform 1235">
              <a:extLst>
                <a:ext uri="{FF2B5EF4-FFF2-40B4-BE49-F238E27FC236}">
                  <a16:creationId xmlns:a16="http://schemas.microsoft.com/office/drawing/2014/main" id="{FC6716F3-706E-2DD8-8F09-BDA75DF2EF36}"/>
                </a:ext>
              </a:extLst>
            </p:cNvPr>
            <p:cNvSpPr/>
            <p:nvPr/>
          </p:nvSpPr>
          <p:spPr>
            <a:xfrm>
              <a:off x="77152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7" name="Freeform 1236">
              <a:extLst>
                <a:ext uri="{FF2B5EF4-FFF2-40B4-BE49-F238E27FC236}">
                  <a16:creationId xmlns:a16="http://schemas.microsoft.com/office/drawing/2014/main" id="{F8153B25-E569-A7A7-0C93-29F21E74E713}"/>
                </a:ext>
              </a:extLst>
            </p:cNvPr>
            <p:cNvSpPr/>
            <p:nvPr/>
          </p:nvSpPr>
          <p:spPr>
            <a:xfrm>
              <a:off x="78200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8" name="Freeform 1237">
              <a:extLst>
                <a:ext uri="{FF2B5EF4-FFF2-40B4-BE49-F238E27FC236}">
                  <a16:creationId xmlns:a16="http://schemas.microsoft.com/office/drawing/2014/main" id="{21A282FD-9ACA-0C9D-20BF-71DC15A2F19D}"/>
                </a:ext>
              </a:extLst>
            </p:cNvPr>
            <p:cNvSpPr/>
            <p:nvPr/>
          </p:nvSpPr>
          <p:spPr>
            <a:xfrm>
              <a:off x="78200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9" name="Freeform 1238">
              <a:extLst>
                <a:ext uri="{FF2B5EF4-FFF2-40B4-BE49-F238E27FC236}">
                  <a16:creationId xmlns:a16="http://schemas.microsoft.com/office/drawing/2014/main" id="{1FD369EA-149B-21D5-5A4A-671C65C40C93}"/>
                </a:ext>
              </a:extLst>
            </p:cNvPr>
            <p:cNvSpPr/>
            <p:nvPr/>
          </p:nvSpPr>
          <p:spPr>
            <a:xfrm>
              <a:off x="78200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0" name="Freeform 1239">
              <a:extLst>
                <a:ext uri="{FF2B5EF4-FFF2-40B4-BE49-F238E27FC236}">
                  <a16:creationId xmlns:a16="http://schemas.microsoft.com/office/drawing/2014/main" id="{E05B96A2-63E0-04B8-1EEA-C1F2407DF7E5}"/>
                </a:ext>
              </a:extLst>
            </p:cNvPr>
            <p:cNvSpPr/>
            <p:nvPr/>
          </p:nvSpPr>
          <p:spPr>
            <a:xfrm>
              <a:off x="78200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1" name="Freeform 1240">
              <a:extLst>
                <a:ext uri="{FF2B5EF4-FFF2-40B4-BE49-F238E27FC236}">
                  <a16:creationId xmlns:a16="http://schemas.microsoft.com/office/drawing/2014/main" id="{5B3E59E6-AB71-1AEC-DD8D-BA350F969F9B}"/>
                </a:ext>
              </a:extLst>
            </p:cNvPr>
            <p:cNvSpPr/>
            <p:nvPr/>
          </p:nvSpPr>
          <p:spPr>
            <a:xfrm>
              <a:off x="78200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2" name="Freeform 1241">
              <a:extLst>
                <a:ext uri="{FF2B5EF4-FFF2-40B4-BE49-F238E27FC236}">
                  <a16:creationId xmlns:a16="http://schemas.microsoft.com/office/drawing/2014/main" id="{1ACA16FC-97EB-F8FE-59F8-1CC1A7537D1B}"/>
                </a:ext>
              </a:extLst>
            </p:cNvPr>
            <p:cNvSpPr/>
            <p:nvPr/>
          </p:nvSpPr>
          <p:spPr>
            <a:xfrm>
              <a:off x="782002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3" name="Freeform 1242">
              <a:extLst>
                <a:ext uri="{FF2B5EF4-FFF2-40B4-BE49-F238E27FC236}">
                  <a16:creationId xmlns:a16="http://schemas.microsoft.com/office/drawing/2014/main" id="{76392286-CE05-429B-8DDD-FD0E969E772F}"/>
                </a:ext>
              </a:extLst>
            </p:cNvPr>
            <p:cNvSpPr/>
            <p:nvPr/>
          </p:nvSpPr>
          <p:spPr>
            <a:xfrm>
              <a:off x="782002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4" name="Freeform 1243">
              <a:extLst>
                <a:ext uri="{FF2B5EF4-FFF2-40B4-BE49-F238E27FC236}">
                  <a16:creationId xmlns:a16="http://schemas.microsoft.com/office/drawing/2014/main" id="{342CC27F-C355-55BE-B870-85C283DA508D}"/>
                </a:ext>
              </a:extLst>
            </p:cNvPr>
            <p:cNvSpPr/>
            <p:nvPr/>
          </p:nvSpPr>
          <p:spPr>
            <a:xfrm>
              <a:off x="78200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5" name="Freeform 1244">
              <a:extLst>
                <a:ext uri="{FF2B5EF4-FFF2-40B4-BE49-F238E27FC236}">
                  <a16:creationId xmlns:a16="http://schemas.microsoft.com/office/drawing/2014/main" id="{126282FF-6FA3-D406-8225-A440D48874B4}"/>
                </a:ext>
              </a:extLst>
            </p:cNvPr>
            <p:cNvSpPr/>
            <p:nvPr/>
          </p:nvSpPr>
          <p:spPr>
            <a:xfrm>
              <a:off x="78200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6" name="Freeform 1245">
              <a:extLst>
                <a:ext uri="{FF2B5EF4-FFF2-40B4-BE49-F238E27FC236}">
                  <a16:creationId xmlns:a16="http://schemas.microsoft.com/office/drawing/2014/main" id="{3CA1486B-D654-F52A-E823-A99D513DA621}"/>
                </a:ext>
              </a:extLst>
            </p:cNvPr>
            <p:cNvSpPr/>
            <p:nvPr/>
          </p:nvSpPr>
          <p:spPr>
            <a:xfrm>
              <a:off x="78200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7" name="Freeform 1246">
              <a:extLst>
                <a:ext uri="{FF2B5EF4-FFF2-40B4-BE49-F238E27FC236}">
                  <a16:creationId xmlns:a16="http://schemas.microsoft.com/office/drawing/2014/main" id="{57E91A08-A466-CD31-DA02-4970A3EB49AB}"/>
                </a:ext>
              </a:extLst>
            </p:cNvPr>
            <p:cNvSpPr/>
            <p:nvPr/>
          </p:nvSpPr>
          <p:spPr>
            <a:xfrm>
              <a:off x="78200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8" name="Freeform 1247">
              <a:extLst>
                <a:ext uri="{FF2B5EF4-FFF2-40B4-BE49-F238E27FC236}">
                  <a16:creationId xmlns:a16="http://schemas.microsoft.com/office/drawing/2014/main" id="{D2D73B81-323D-237B-0376-E7F34E5CC67F}"/>
                </a:ext>
              </a:extLst>
            </p:cNvPr>
            <p:cNvSpPr/>
            <p:nvPr/>
          </p:nvSpPr>
          <p:spPr>
            <a:xfrm>
              <a:off x="78200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9" name="Freeform 1248">
              <a:extLst>
                <a:ext uri="{FF2B5EF4-FFF2-40B4-BE49-F238E27FC236}">
                  <a16:creationId xmlns:a16="http://schemas.microsoft.com/office/drawing/2014/main" id="{92D03245-6363-83AE-E28E-DF98498044DA}"/>
                </a:ext>
              </a:extLst>
            </p:cNvPr>
            <p:cNvSpPr/>
            <p:nvPr/>
          </p:nvSpPr>
          <p:spPr>
            <a:xfrm>
              <a:off x="782002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0" name="Freeform 1249">
              <a:extLst>
                <a:ext uri="{FF2B5EF4-FFF2-40B4-BE49-F238E27FC236}">
                  <a16:creationId xmlns:a16="http://schemas.microsoft.com/office/drawing/2014/main" id="{6430ADD6-150C-0D8F-1DB0-2011CFBBD5AF}"/>
                </a:ext>
              </a:extLst>
            </p:cNvPr>
            <p:cNvSpPr/>
            <p:nvPr/>
          </p:nvSpPr>
          <p:spPr>
            <a:xfrm>
              <a:off x="78200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1" name="Freeform 1250">
              <a:extLst>
                <a:ext uri="{FF2B5EF4-FFF2-40B4-BE49-F238E27FC236}">
                  <a16:creationId xmlns:a16="http://schemas.microsoft.com/office/drawing/2014/main" id="{5C7B7198-FB23-56E9-8EAB-2285EEC3EC85}"/>
                </a:ext>
              </a:extLst>
            </p:cNvPr>
            <p:cNvSpPr/>
            <p:nvPr/>
          </p:nvSpPr>
          <p:spPr>
            <a:xfrm>
              <a:off x="78200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2" name="Freeform 1251">
              <a:extLst>
                <a:ext uri="{FF2B5EF4-FFF2-40B4-BE49-F238E27FC236}">
                  <a16:creationId xmlns:a16="http://schemas.microsoft.com/office/drawing/2014/main" id="{434EF52A-6102-29BB-E9F4-036F220AEE0E}"/>
                </a:ext>
              </a:extLst>
            </p:cNvPr>
            <p:cNvSpPr/>
            <p:nvPr/>
          </p:nvSpPr>
          <p:spPr>
            <a:xfrm>
              <a:off x="78200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3" name="Freeform 1252">
              <a:extLst>
                <a:ext uri="{FF2B5EF4-FFF2-40B4-BE49-F238E27FC236}">
                  <a16:creationId xmlns:a16="http://schemas.microsoft.com/office/drawing/2014/main" id="{D34FE013-C253-2F16-EC76-DC72D812BA53}"/>
                </a:ext>
              </a:extLst>
            </p:cNvPr>
            <p:cNvSpPr/>
            <p:nvPr/>
          </p:nvSpPr>
          <p:spPr>
            <a:xfrm>
              <a:off x="79248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4" name="Freeform 1253">
              <a:extLst>
                <a:ext uri="{FF2B5EF4-FFF2-40B4-BE49-F238E27FC236}">
                  <a16:creationId xmlns:a16="http://schemas.microsoft.com/office/drawing/2014/main" id="{7D02BE5E-E727-F59D-22BC-FE08C5B6F068}"/>
                </a:ext>
              </a:extLst>
            </p:cNvPr>
            <p:cNvSpPr/>
            <p:nvPr/>
          </p:nvSpPr>
          <p:spPr>
            <a:xfrm>
              <a:off x="79248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5" name="Freeform 1254">
              <a:extLst>
                <a:ext uri="{FF2B5EF4-FFF2-40B4-BE49-F238E27FC236}">
                  <a16:creationId xmlns:a16="http://schemas.microsoft.com/office/drawing/2014/main" id="{4CCAFFC9-348F-E7C1-DBEE-53D07DD7905E}"/>
                </a:ext>
              </a:extLst>
            </p:cNvPr>
            <p:cNvSpPr/>
            <p:nvPr/>
          </p:nvSpPr>
          <p:spPr>
            <a:xfrm>
              <a:off x="79248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6" name="Freeform 1255">
              <a:extLst>
                <a:ext uri="{FF2B5EF4-FFF2-40B4-BE49-F238E27FC236}">
                  <a16:creationId xmlns:a16="http://schemas.microsoft.com/office/drawing/2014/main" id="{C2CD95F8-515D-6D5C-26F2-4134C564C4B2}"/>
                </a:ext>
              </a:extLst>
            </p:cNvPr>
            <p:cNvSpPr/>
            <p:nvPr/>
          </p:nvSpPr>
          <p:spPr>
            <a:xfrm>
              <a:off x="79248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7" name="Freeform 1256">
              <a:extLst>
                <a:ext uri="{FF2B5EF4-FFF2-40B4-BE49-F238E27FC236}">
                  <a16:creationId xmlns:a16="http://schemas.microsoft.com/office/drawing/2014/main" id="{8B09BDA5-59F5-2705-C2F7-F66853241D69}"/>
                </a:ext>
              </a:extLst>
            </p:cNvPr>
            <p:cNvSpPr/>
            <p:nvPr/>
          </p:nvSpPr>
          <p:spPr>
            <a:xfrm>
              <a:off x="79248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8" name="Freeform 1257">
              <a:extLst>
                <a:ext uri="{FF2B5EF4-FFF2-40B4-BE49-F238E27FC236}">
                  <a16:creationId xmlns:a16="http://schemas.microsoft.com/office/drawing/2014/main" id="{6F9D8AB1-40E4-591E-B805-703C9B43B247}"/>
                </a:ext>
              </a:extLst>
            </p:cNvPr>
            <p:cNvSpPr/>
            <p:nvPr/>
          </p:nvSpPr>
          <p:spPr>
            <a:xfrm>
              <a:off x="79248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9" name="Freeform 1258">
              <a:extLst>
                <a:ext uri="{FF2B5EF4-FFF2-40B4-BE49-F238E27FC236}">
                  <a16:creationId xmlns:a16="http://schemas.microsoft.com/office/drawing/2014/main" id="{EB6DA5C4-A057-775B-C05C-2A6902D341EE}"/>
                </a:ext>
              </a:extLst>
            </p:cNvPr>
            <p:cNvSpPr/>
            <p:nvPr/>
          </p:nvSpPr>
          <p:spPr>
            <a:xfrm>
              <a:off x="792480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0" name="Freeform 1259">
              <a:extLst>
                <a:ext uri="{FF2B5EF4-FFF2-40B4-BE49-F238E27FC236}">
                  <a16:creationId xmlns:a16="http://schemas.microsoft.com/office/drawing/2014/main" id="{404251E4-7CE8-CD12-3835-0BCF3870BFAA}"/>
                </a:ext>
              </a:extLst>
            </p:cNvPr>
            <p:cNvSpPr/>
            <p:nvPr/>
          </p:nvSpPr>
          <p:spPr>
            <a:xfrm>
              <a:off x="79248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1" name="Freeform 1260">
              <a:extLst>
                <a:ext uri="{FF2B5EF4-FFF2-40B4-BE49-F238E27FC236}">
                  <a16:creationId xmlns:a16="http://schemas.microsoft.com/office/drawing/2014/main" id="{72807444-6C2C-B9C0-5A2C-7166289AB498}"/>
                </a:ext>
              </a:extLst>
            </p:cNvPr>
            <p:cNvSpPr/>
            <p:nvPr/>
          </p:nvSpPr>
          <p:spPr>
            <a:xfrm>
              <a:off x="792480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2" name="Freeform 1261">
              <a:extLst>
                <a:ext uri="{FF2B5EF4-FFF2-40B4-BE49-F238E27FC236}">
                  <a16:creationId xmlns:a16="http://schemas.microsoft.com/office/drawing/2014/main" id="{CF953F31-B816-479B-7BF7-3E9C5EEFABCF}"/>
                </a:ext>
              </a:extLst>
            </p:cNvPr>
            <p:cNvSpPr/>
            <p:nvPr/>
          </p:nvSpPr>
          <p:spPr>
            <a:xfrm>
              <a:off x="79248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3" name="Freeform 1262">
              <a:extLst>
                <a:ext uri="{FF2B5EF4-FFF2-40B4-BE49-F238E27FC236}">
                  <a16:creationId xmlns:a16="http://schemas.microsoft.com/office/drawing/2014/main" id="{855A5AAD-F4CC-4E67-B5BE-E4205D9CEA56}"/>
                </a:ext>
              </a:extLst>
            </p:cNvPr>
            <p:cNvSpPr/>
            <p:nvPr/>
          </p:nvSpPr>
          <p:spPr>
            <a:xfrm>
              <a:off x="79248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4" name="Freeform 1263">
              <a:extLst>
                <a:ext uri="{FF2B5EF4-FFF2-40B4-BE49-F238E27FC236}">
                  <a16:creationId xmlns:a16="http://schemas.microsoft.com/office/drawing/2014/main" id="{B6B47045-BAC1-92D4-72A9-3CAD5833D46C}"/>
                </a:ext>
              </a:extLst>
            </p:cNvPr>
            <p:cNvSpPr/>
            <p:nvPr/>
          </p:nvSpPr>
          <p:spPr>
            <a:xfrm>
              <a:off x="79248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5" name="Freeform 1264">
              <a:extLst>
                <a:ext uri="{FF2B5EF4-FFF2-40B4-BE49-F238E27FC236}">
                  <a16:creationId xmlns:a16="http://schemas.microsoft.com/office/drawing/2014/main" id="{60780F1A-7470-6F30-9051-A4B7741A4F37}"/>
                </a:ext>
              </a:extLst>
            </p:cNvPr>
            <p:cNvSpPr/>
            <p:nvPr/>
          </p:nvSpPr>
          <p:spPr>
            <a:xfrm>
              <a:off x="792480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6" name="Freeform 1265">
              <a:extLst>
                <a:ext uri="{FF2B5EF4-FFF2-40B4-BE49-F238E27FC236}">
                  <a16:creationId xmlns:a16="http://schemas.microsoft.com/office/drawing/2014/main" id="{00BCE13D-F858-A740-A469-38E8D2FCC48D}"/>
                </a:ext>
              </a:extLst>
            </p:cNvPr>
            <p:cNvSpPr/>
            <p:nvPr/>
          </p:nvSpPr>
          <p:spPr>
            <a:xfrm>
              <a:off x="79248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7" name="Freeform 1266">
              <a:extLst>
                <a:ext uri="{FF2B5EF4-FFF2-40B4-BE49-F238E27FC236}">
                  <a16:creationId xmlns:a16="http://schemas.microsoft.com/office/drawing/2014/main" id="{B1291853-3CE2-E8D1-90E1-EB4B3488DBBB}"/>
                </a:ext>
              </a:extLst>
            </p:cNvPr>
            <p:cNvSpPr/>
            <p:nvPr/>
          </p:nvSpPr>
          <p:spPr>
            <a:xfrm>
              <a:off x="79248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8" name="Freeform 1267">
              <a:extLst>
                <a:ext uri="{FF2B5EF4-FFF2-40B4-BE49-F238E27FC236}">
                  <a16:creationId xmlns:a16="http://schemas.microsoft.com/office/drawing/2014/main" id="{E2FDDC89-6151-47F1-FD92-E7D436FE699E}"/>
                </a:ext>
              </a:extLst>
            </p:cNvPr>
            <p:cNvSpPr/>
            <p:nvPr/>
          </p:nvSpPr>
          <p:spPr>
            <a:xfrm>
              <a:off x="79248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9" name="Freeform 1268">
              <a:extLst>
                <a:ext uri="{FF2B5EF4-FFF2-40B4-BE49-F238E27FC236}">
                  <a16:creationId xmlns:a16="http://schemas.microsoft.com/office/drawing/2014/main" id="{0E93623E-B94E-7217-CE67-DE832644297B}"/>
                </a:ext>
              </a:extLst>
            </p:cNvPr>
            <p:cNvSpPr/>
            <p:nvPr/>
          </p:nvSpPr>
          <p:spPr>
            <a:xfrm>
              <a:off x="79248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0" name="Freeform 1269">
              <a:extLst>
                <a:ext uri="{FF2B5EF4-FFF2-40B4-BE49-F238E27FC236}">
                  <a16:creationId xmlns:a16="http://schemas.microsoft.com/office/drawing/2014/main" id="{D090C7D0-2353-C548-3387-24D1A4F6C319}"/>
                </a:ext>
              </a:extLst>
            </p:cNvPr>
            <p:cNvSpPr/>
            <p:nvPr/>
          </p:nvSpPr>
          <p:spPr>
            <a:xfrm>
              <a:off x="79248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1" name="Freeform 1270">
              <a:extLst>
                <a:ext uri="{FF2B5EF4-FFF2-40B4-BE49-F238E27FC236}">
                  <a16:creationId xmlns:a16="http://schemas.microsoft.com/office/drawing/2014/main" id="{75FF0E80-609F-A2B8-01C9-E14DD610163C}"/>
                </a:ext>
              </a:extLst>
            </p:cNvPr>
            <p:cNvSpPr/>
            <p:nvPr/>
          </p:nvSpPr>
          <p:spPr>
            <a:xfrm>
              <a:off x="80295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2" name="Freeform 1271">
              <a:extLst>
                <a:ext uri="{FF2B5EF4-FFF2-40B4-BE49-F238E27FC236}">
                  <a16:creationId xmlns:a16="http://schemas.microsoft.com/office/drawing/2014/main" id="{C069BBA3-A2F9-E5C2-0471-89738A59FC0A}"/>
                </a:ext>
              </a:extLst>
            </p:cNvPr>
            <p:cNvSpPr/>
            <p:nvPr/>
          </p:nvSpPr>
          <p:spPr>
            <a:xfrm>
              <a:off x="80295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3" name="Freeform 1272">
              <a:extLst>
                <a:ext uri="{FF2B5EF4-FFF2-40B4-BE49-F238E27FC236}">
                  <a16:creationId xmlns:a16="http://schemas.microsoft.com/office/drawing/2014/main" id="{13C7E2F8-1520-D179-208E-6149F06F025C}"/>
                </a:ext>
              </a:extLst>
            </p:cNvPr>
            <p:cNvSpPr/>
            <p:nvPr/>
          </p:nvSpPr>
          <p:spPr>
            <a:xfrm>
              <a:off x="80295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4" name="Freeform 1273">
              <a:extLst>
                <a:ext uri="{FF2B5EF4-FFF2-40B4-BE49-F238E27FC236}">
                  <a16:creationId xmlns:a16="http://schemas.microsoft.com/office/drawing/2014/main" id="{3AD827E5-FF2E-AAF6-A410-F00C9DA35F2E}"/>
                </a:ext>
              </a:extLst>
            </p:cNvPr>
            <p:cNvSpPr/>
            <p:nvPr/>
          </p:nvSpPr>
          <p:spPr>
            <a:xfrm>
              <a:off x="80295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5" name="Freeform 1274">
              <a:extLst>
                <a:ext uri="{FF2B5EF4-FFF2-40B4-BE49-F238E27FC236}">
                  <a16:creationId xmlns:a16="http://schemas.microsoft.com/office/drawing/2014/main" id="{E3AA3F9D-8C36-9821-9643-8E5CFF3A00B4}"/>
                </a:ext>
              </a:extLst>
            </p:cNvPr>
            <p:cNvSpPr/>
            <p:nvPr/>
          </p:nvSpPr>
          <p:spPr>
            <a:xfrm>
              <a:off x="8029575"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6" name="Freeform 1275">
              <a:extLst>
                <a:ext uri="{FF2B5EF4-FFF2-40B4-BE49-F238E27FC236}">
                  <a16:creationId xmlns:a16="http://schemas.microsoft.com/office/drawing/2014/main" id="{1EA48560-1FCA-F223-863F-D98E1C67441C}"/>
                </a:ext>
              </a:extLst>
            </p:cNvPr>
            <p:cNvSpPr/>
            <p:nvPr/>
          </p:nvSpPr>
          <p:spPr>
            <a:xfrm>
              <a:off x="802957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7" name="Freeform 1276">
              <a:extLst>
                <a:ext uri="{FF2B5EF4-FFF2-40B4-BE49-F238E27FC236}">
                  <a16:creationId xmlns:a16="http://schemas.microsoft.com/office/drawing/2014/main" id="{536AFA49-F12B-0888-83F1-4A136F44C87A}"/>
                </a:ext>
              </a:extLst>
            </p:cNvPr>
            <p:cNvSpPr/>
            <p:nvPr/>
          </p:nvSpPr>
          <p:spPr>
            <a:xfrm>
              <a:off x="80295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8" name="Freeform 1277">
              <a:extLst>
                <a:ext uri="{FF2B5EF4-FFF2-40B4-BE49-F238E27FC236}">
                  <a16:creationId xmlns:a16="http://schemas.microsoft.com/office/drawing/2014/main" id="{36DE8B2C-5FAC-7E82-3C31-19CAFCFB9EE3}"/>
                </a:ext>
              </a:extLst>
            </p:cNvPr>
            <p:cNvSpPr/>
            <p:nvPr/>
          </p:nvSpPr>
          <p:spPr>
            <a:xfrm>
              <a:off x="80295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9" name="Freeform 1278">
              <a:extLst>
                <a:ext uri="{FF2B5EF4-FFF2-40B4-BE49-F238E27FC236}">
                  <a16:creationId xmlns:a16="http://schemas.microsoft.com/office/drawing/2014/main" id="{1B97A303-EC28-F238-0CA6-7422C83765CD}"/>
                </a:ext>
              </a:extLst>
            </p:cNvPr>
            <p:cNvSpPr/>
            <p:nvPr/>
          </p:nvSpPr>
          <p:spPr>
            <a:xfrm>
              <a:off x="80295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0" name="Freeform 1279">
              <a:extLst>
                <a:ext uri="{FF2B5EF4-FFF2-40B4-BE49-F238E27FC236}">
                  <a16:creationId xmlns:a16="http://schemas.microsoft.com/office/drawing/2014/main" id="{A912D194-E0C7-7E40-6773-D66FC7D3AD05}"/>
                </a:ext>
              </a:extLst>
            </p:cNvPr>
            <p:cNvSpPr/>
            <p:nvPr/>
          </p:nvSpPr>
          <p:spPr>
            <a:xfrm>
              <a:off x="80295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1" name="Freeform 1280">
              <a:extLst>
                <a:ext uri="{FF2B5EF4-FFF2-40B4-BE49-F238E27FC236}">
                  <a16:creationId xmlns:a16="http://schemas.microsoft.com/office/drawing/2014/main" id="{C174F7A1-5D18-4AF1-32C7-F07B792DA326}"/>
                </a:ext>
              </a:extLst>
            </p:cNvPr>
            <p:cNvSpPr/>
            <p:nvPr/>
          </p:nvSpPr>
          <p:spPr>
            <a:xfrm>
              <a:off x="80295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2" name="Freeform 1281">
              <a:extLst>
                <a:ext uri="{FF2B5EF4-FFF2-40B4-BE49-F238E27FC236}">
                  <a16:creationId xmlns:a16="http://schemas.microsoft.com/office/drawing/2014/main" id="{4622AA77-11B0-D927-D731-9A825B9A75D2}"/>
                </a:ext>
              </a:extLst>
            </p:cNvPr>
            <p:cNvSpPr/>
            <p:nvPr/>
          </p:nvSpPr>
          <p:spPr>
            <a:xfrm>
              <a:off x="80295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3" name="Freeform 1282">
              <a:extLst>
                <a:ext uri="{FF2B5EF4-FFF2-40B4-BE49-F238E27FC236}">
                  <a16:creationId xmlns:a16="http://schemas.microsoft.com/office/drawing/2014/main" id="{6C8811F7-0F32-6255-D9F7-D901071D7EF6}"/>
                </a:ext>
              </a:extLst>
            </p:cNvPr>
            <p:cNvSpPr/>
            <p:nvPr/>
          </p:nvSpPr>
          <p:spPr>
            <a:xfrm>
              <a:off x="81343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4" name="Freeform 1283">
              <a:extLst>
                <a:ext uri="{FF2B5EF4-FFF2-40B4-BE49-F238E27FC236}">
                  <a16:creationId xmlns:a16="http://schemas.microsoft.com/office/drawing/2014/main" id="{2DC00572-CEC5-8FD7-6EAF-CF4D525D473E}"/>
                </a:ext>
              </a:extLst>
            </p:cNvPr>
            <p:cNvSpPr/>
            <p:nvPr/>
          </p:nvSpPr>
          <p:spPr>
            <a:xfrm>
              <a:off x="81343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5" name="Freeform 1284">
              <a:extLst>
                <a:ext uri="{FF2B5EF4-FFF2-40B4-BE49-F238E27FC236}">
                  <a16:creationId xmlns:a16="http://schemas.microsoft.com/office/drawing/2014/main" id="{E0D08111-0963-ADD3-3E33-620715CA41E6}"/>
                </a:ext>
              </a:extLst>
            </p:cNvPr>
            <p:cNvSpPr/>
            <p:nvPr/>
          </p:nvSpPr>
          <p:spPr>
            <a:xfrm>
              <a:off x="81343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6" name="Freeform 1285">
              <a:extLst>
                <a:ext uri="{FF2B5EF4-FFF2-40B4-BE49-F238E27FC236}">
                  <a16:creationId xmlns:a16="http://schemas.microsoft.com/office/drawing/2014/main" id="{307A7854-5239-CCE8-8AF3-9EA3251FEACB}"/>
                </a:ext>
              </a:extLst>
            </p:cNvPr>
            <p:cNvSpPr/>
            <p:nvPr/>
          </p:nvSpPr>
          <p:spPr>
            <a:xfrm>
              <a:off x="813435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7" name="Freeform 1286">
              <a:extLst>
                <a:ext uri="{FF2B5EF4-FFF2-40B4-BE49-F238E27FC236}">
                  <a16:creationId xmlns:a16="http://schemas.microsoft.com/office/drawing/2014/main" id="{8F12B65F-75BE-D405-F195-615B652BD0E0}"/>
                </a:ext>
              </a:extLst>
            </p:cNvPr>
            <p:cNvSpPr/>
            <p:nvPr/>
          </p:nvSpPr>
          <p:spPr>
            <a:xfrm>
              <a:off x="81343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8" name="Freeform 1287">
              <a:extLst>
                <a:ext uri="{FF2B5EF4-FFF2-40B4-BE49-F238E27FC236}">
                  <a16:creationId xmlns:a16="http://schemas.microsoft.com/office/drawing/2014/main" id="{3C0E8CA1-3BE5-8E67-01DE-6E7C386802C3}"/>
                </a:ext>
              </a:extLst>
            </p:cNvPr>
            <p:cNvSpPr/>
            <p:nvPr/>
          </p:nvSpPr>
          <p:spPr>
            <a:xfrm>
              <a:off x="813435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9" name="Freeform 1288">
              <a:extLst>
                <a:ext uri="{FF2B5EF4-FFF2-40B4-BE49-F238E27FC236}">
                  <a16:creationId xmlns:a16="http://schemas.microsoft.com/office/drawing/2014/main" id="{F5BD6872-996D-164A-9BFA-9C782C079418}"/>
                </a:ext>
              </a:extLst>
            </p:cNvPr>
            <p:cNvSpPr/>
            <p:nvPr/>
          </p:nvSpPr>
          <p:spPr>
            <a:xfrm>
              <a:off x="81343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0" name="Freeform 1289">
              <a:extLst>
                <a:ext uri="{FF2B5EF4-FFF2-40B4-BE49-F238E27FC236}">
                  <a16:creationId xmlns:a16="http://schemas.microsoft.com/office/drawing/2014/main" id="{2274AC51-D8FA-291E-099A-48D0EC208089}"/>
                </a:ext>
              </a:extLst>
            </p:cNvPr>
            <p:cNvSpPr/>
            <p:nvPr/>
          </p:nvSpPr>
          <p:spPr>
            <a:xfrm>
              <a:off x="81343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1" name="Freeform 1290">
              <a:extLst>
                <a:ext uri="{FF2B5EF4-FFF2-40B4-BE49-F238E27FC236}">
                  <a16:creationId xmlns:a16="http://schemas.microsoft.com/office/drawing/2014/main" id="{15DA8192-F2B2-97F2-C90C-3D5A77C0A619}"/>
                </a:ext>
              </a:extLst>
            </p:cNvPr>
            <p:cNvSpPr/>
            <p:nvPr/>
          </p:nvSpPr>
          <p:spPr>
            <a:xfrm>
              <a:off x="81343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2" name="Freeform 1291">
              <a:extLst>
                <a:ext uri="{FF2B5EF4-FFF2-40B4-BE49-F238E27FC236}">
                  <a16:creationId xmlns:a16="http://schemas.microsoft.com/office/drawing/2014/main" id="{0EDE9A20-8488-F1FF-27FF-CA5D89FCF897}"/>
                </a:ext>
              </a:extLst>
            </p:cNvPr>
            <p:cNvSpPr/>
            <p:nvPr/>
          </p:nvSpPr>
          <p:spPr>
            <a:xfrm>
              <a:off x="81343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3" name="Freeform 1292">
              <a:extLst>
                <a:ext uri="{FF2B5EF4-FFF2-40B4-BE49-F238E27FC236}">
                  <a16:creationId xmlns:a16="http://schemas.microsoft.com/office/drawing/2014/main" id="{1DBA68BD-4F6F-BBD7-1EB6-CBC9EA75FA36}"/>
                </a:ext>
              </a:extLst>
            </p:cNvPr>
            <p:cNvSpPr/>
            <p:nvPr/>
          </p:nvSpPr>
          <p:spPr>
            <a:xfrm>
              <a:off x="81343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4" name="Freeform 1293">
              <a:extLst>
                <a:ext uri="{FF2B5EF4-FFF2-40B4-BE49-F238E27FC236}">
                  <a16:creationId xmlns:a16="http://schemas.microsoft.com/office/drawing/2014/main" id="{447E5DFE-988C-EA7B-8ECC-0C2D6E78E26E}"/>
                </a:ext>
              </a:extLst>
            </p:cNvPr>
            <p:cNvSpPr/>
            <p:nvPr/>
          </p:nvSpPr>
          <p:spPr>
            <a:xfrm>
              <a:off x="81343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5" name="Freeform 1294">
              <a:extLst>
                <a:ext uri="{FF2B5EF4-FFF2-40B4-BE49-F238E27FC236}">
                  <a16:creationId xmlns:a16="http://schemas.microsoft.com/office/drawing/2014/main" id="{FD901510-67EE-30AE-2C1A-05674A860352}"/>
                </a:ext>
              </a:extLst>
            </p:cNvPr>
            <p:cNvSpPr/>
            <p:nvPr/>
          </p:nvSpPr>
          <p:spPr>
            <a:xfrm>
              <a:off x="81343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6" name="Freeform 1295">
              <a:extLst>
                <a:ext uri="{FF2B5EF4-FFF2-40B4-BE49-F238E27FC236}">
                  <a16:creationId xmlns:a16="http://schemas.microsoft.com/office/drawing/2014/main" id="{FD725030-1E29-4671-E352-204BA8415FEE}"/>
                </a:ext>
              </a:extLst>
            </p:cNvPr>
            <p:cNvSpPr/>
            <p:nvPr/>
          </p:nvSpPr>
          <p:spPr>
            <a:xfrm>
              <a:off x="81343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7" name="Freeform 1296">
              <a:extLst>
                <a:ext uri="{FF2B5EF4-FFF2-40B4-BE49-F238E27FC236}">
                  <a16:creationId xmlns:a16="http://schemas.microsoft.com/office/drawing/2014/main" id="{EEEFAE17-F2AA-BBF7-94FE-D285C608758A}"/>
                </a:ext>
              </a:extLst>
            </p:cNvPr>
            <p:cNvSpPr/>
            <p:nvPr/>
          </p:nvSpPr>
          <p:spPr>
            <a:xfrm>
              <a:off x="81343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8" name="Freeform 1297">
              <a:extLst>
                <a:ext uri="{FF2B5EF4-FFF2-40B4-BE49-F238E27FC236}">
                  <a16:creationId xmlns:a16="http://schemas.microsoft.com/office/drawing/2014/main" id="{D7B964D9-BFEB-676B-912F-E97A619D1E77}"/>
                </a:ext>
              </a:extLst>
            </p:cNvPr>
            <p:cNvSpPr/>
            <p:nvPr/>
          </p:nvSpPr>
          <p:spPr>
            <a:xfrm>
              <a:off x="81343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9" name="Freeform 1298">
              <a:extLst>
                <a:ext uri="{FF2B5EF4-FFF2-40B4-BE49-F238E27FC236}">
                  <a16:creationId xmlns:a16="http://schemas.microsoft.com/office/drawing/2014/main" id="{8D1EE707-2A53-5253-76EB-844EA90C8623}"/>
                </a:ext>
              </a:extLst>
            </p:cNvPr>
            <p:cNvSpPr/>
            <p:nvPr/>
          </p:nvSpPr>
          <p:spPr>
            <a:xfrm>
              <a:off x="3943350" y="1276350"/>
              <a:ext cx="733425" cy="733425"/>
            </a:xfrm>
            <a:custGeom>
              <a:avLst/>
              <a:gdLst>
                <a:gd name="connsiteX0" fmla="*/ 261938 w 733425"/>
                <a:gd name="connsiteY0" fmla="*/ 733425 h 733425"/>
                <a:gd name="connsiteX1" fmla="*/ 471488 w 733425"/>
                <a:gd name="connsiteY1" fmla="*/ 733425 h 733425"/>
                <a:gd name="connsiteX2" fmla="*/ 733425 w 733425"/>
                <a:gd name="connsiteY2" fmla="*/ 471488 h 733425"/>
                <a:gd name="connsiteX3" fmla="*/ 733425 w 733425"/>
                <a:gd name="connsiteY3" fmla="*/ 261938 h 733425"/>
                <a:gd name="connsiteX4" fmla="*/ 471488 w 733425"/>
                <a:gd name="connsiteY4" fmla="*/ 0 h 733425"/>
                <a:gd name="connsiteX5" fmla="*/ 261938 w 733425"/>
                <a:gd name="connsiteY5" fmla="*/ 0 h 733425"/>
                <a:gd name="connsiteX6" fmla="*/ 0 w 733425"/>
                <a:gd name="connsiteY6" fmla="*/ 261938 h 733425"/>
                <a:gd name="connsiteX7" fmla="*/ 0 w 733425"/>
                <a:gd name="connsiteY7" fmla="*/ 471488 h 733425"/>
                <a:gd name="connsiteX8" fmla="*/ 261938 w 733425"/>
                <a:gd name="connsiteY8" fmla="*/ 733425 h 733425"/>
                <a:gd name="connsiteX9" fmla="*/ 104775 w 733425"/>
                <a:gd name="connsiteY9" fmla="*/ 261938 h 733425"/>
                <a:gd name="connsiteX10" fmla="*/ 261938 w 733425"/>
                <a:gd name="connsiteY10" fmla="*/ 104775 h 733425"/>
                <a:gd name="connsiteX11" fmla="*/ 471488 w 733425"/>
                <a:gd name="connsiteY11" fmla="*/ 104775 h 733425"/>
                <a:gd name="connsiteX12" fmla="*/ 628650 w 733425"/>
                <a:gd name="connsiteY12" fmla="*/ 261938 h 733425"/>
                <a:gd name="connsiteX13" fmla="*/ 628650 w 733425"/>
                <a:gd name="connsiteY13" fmla="*/ 471488 h 733425"/>
                <a:gd name="connsiteX14" fmla="*/ 471488 w 733425"/>
                <a:gd name="connsiteY14" fmla="*/ 628650 h 733425"/>
                <a:gd name="connsiteX15" fmla="*/ 261938 w 733425"/>
                <a:gd name="connsiteY15" fmla="*/ 628650 h 733425"/>
                <a:gd name="connsiteX16" fmla="*/ 104775 w 733425"/>
                <a:gd name="connsiteY16" fmla="*/ 471488 h 733425"/>
                <a:gd name="connsiteX17" fmla="*/ 104775 w 733425"/>
                <a:gd name="connsiteY17" fmla="*/ 26193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261938" y="733425"/>
                  </a:moveTo>
                  <a:lnTo>
                    <a:pt x="471488" y="733425"/>
                  </a:lnTo>
                  <a:cubicBezTo>
                    <a:pt x="616268" y="733425"/>
                    <a:pt x="733425" y="616268"/>
                    <a:pt x="733425" y="471488"/>
                  </a:cubicBezTo>
                  <a:lnTo>
                    <a:pt x="733425" y="261938"/>
                  </a:lnTo>
                  <a:cubicBezTo>
                    <a:pt x="733425" y="117157"/>
                    <a:pt x="616268" y="0"/>
                    <a:pt x="471488" y="0"/>
                  </a:cubicBezTo>
                  <a:lnTo>
                    <a:pt x="261938" y="0"/>
                  </a:lnTo>
                  <a:cubicBezTo>
                    <a:pt x="117157" y="0"/>
                    <a:pt x="0" y="117157"/>
                    <a:pt x="0" y="261938"/>
                  </a:cubicBezTo>
                  <a:lnTo>
                    <a:pt x="0" y="471488"/>
                  </a:lnTo>
                  <a:cubicBezTo>
                    <a:pt x="0" y="616268"/>
                    <a:pt x="117157" y="733425"/>
                    <a:pt x="261938" y="733425"/>
                  </a:cubicBezTo>
                  <a:close/>
                  <a:moveTo>
                    <a:pt x="104775" y="261938"/>
                  </a:moveTo>
                  <a:cubicBezTo>
                    <a:pt x="104775" y="175260"/>
                    <a:pt x="175260" y="104775"/>
                    <a:pt x="261938" y="104775"/>
                  </a:cubicBezTo>
                  <a:lnTo>
                    <a:pt x="471488" y="104775"/>
                  </a:lnTo>
                  <a:cubicBezTo>
                    <a:pt x="558165" y="104775"/>
                    <a:pt x="628650" y="175260"/>
                    <a:pt x="628650" y="261938"/>
                  </a:cubicBezTo>
                  <a:lnTo>
                    <a:pt x="628650" y="471488"/>
                  </a:lnTo>
                  <a:cubicBezTo>
                    <a:pt x="628650" y="558165"/>
                    <a:pt x="558165" y="628650"/>
                    <a:pt x="471488" y="628650"/>
                  </a:cubicBezTo>
                  <a:lnTo>
                    <a:pt x="261938" y="628650"/>
                  </a:lnTo>
                  <a:cubicBezTo>
                    <a:pt x="175260" y="628650"/>
                    <a:pt x="104775" y="558165"/>
                    <a:pt x="104775" y="471488"/>
                  </a:cubicBezTo>
                  <a:lnTo>
                    <a:pt x="104775" y="261938"/>
                  </a:lnTo>
                  <a:close/>
                </a:path>
              </a:pathLst>
            </a:custGeom>
            <a:solidFill>
              <a:srgbClr val="FFFFFF"/>
            </a:solidFill>
            <a:ln w="9525" cap="flat">
              <a:noFill/>
              <a:prstDash val="solid"/>
              <a:miter/>
            </a:ln>
          </p:spPr>
          <p:txBody>
            <a:bodyPr rtlCol="0" anchor="ctr"/>
            <a:lstStyle/>
            <a:p>
              <a:endParaRPr lang="en-US"/>
            </a:p>
          </p:txBody>
        </p:sp>
        <p:sp>
          <p:nvSpPr>
            <p:cNvPr id="1300" name="Freeform 1299">
              <a:extLst>
                <a:ext uri="{FF2B5EF4-FFF2-40B4-BE49-F238E27FC236}">
                  <a16:creationId xmlns:a16="http://schemas.microsoft.com/office/drawing/2014/main" id="{1828E2F1-42F6-48DB-6764-3A04813EFD05}"/>
                </a:ext>
              </a:extLst>
            </p:cNvPr>
            <p:cNvSpPr/>
            <p:nvPr/>
          </p:nvSpPr>
          <p:spPr>
            <a:xfrm>
              <a:off x="4152900" y="148590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1" name="Freeform 1300">
              <a:extLst>
                <a:ext uri="{FF2B5EF4-FFF2-40B4-BE49-F238E27FC236}">
                  <a16:creationId xmlns:a16="http://schemas.microsoft.com/office/drawing/2014/main" id="{EF1DE939-7ECE-B488-2BB8-6F5F4A9CFC84}"/>
                </a:ext>
              </a:extLst>
            </p:cNvPr>
            <p:cNvSpPr/>
            <p:nvPr/>
          </p:nvSpPr>
          <p:spPr>
            <a:xfrm>
              <a:off x="7505700" y="1276350"/>
              <a:ext cx="733425" cy="733425"/>
            </a:xfrm>
            <a:custGeom>
              <a:avLst/>
              <a:gdLst>
                <a:gd name="connsiteX0" fmla="*/ 471488 w 733425"/>
                <a:gd name="connsiteY0" fmla="*/ 0 h 733425"/>
                <a:gd name="connsiteX1" fmla="*/ 261938 w 733425"/>
                <a:gd name="connsiteY1" fmla="*/ 0 h 733425"/>
                <a:gd name="connsiteX2" fmla="*/ 0 w 733425"/>
                <a:gd name="connsiteY2" fmla="*/ 261938 h 733425"/>
                <a:gd name="connsiteX3" fmla="*/ 0 w 733425"/>
                <a:gd name="connsiteY3" fmla="*/ 471488 h 733425"/>
                <a:gd name="connsiteX4" fmla="*/ 261938 w 733425"/>
                <a:gd name="connsiteY4" fmla="*/ 733425 h 733425"/>
                <a:gd name="connsiteX5" fmla="*/ 471488 w 733425"/>
                <a:gd name="connsiteY5" fmla="*/ 733425 h 733425"/>
                <a:gd name="connsiteX6" fmla="*/ 733425 w 733425"/>
                <a:gd name="connsiteY6" fmla="*/ 471488 h 733425"/>
                <a:gd name="connsiteX7" fmla="*/ 733425 w 733425"/>
                <a:gd name="connsiteY7" fmla="*/ 261938 h 733425"/>
                <a:gd name="connsiteX8" fmla="*/ 471488 w 733425"/>
                <a:gd name="connsiteY8" fmla="*/ 0 h 733425"/>
                <a:gd name="connsiteX9" fmla="*/ 628650 w 733425"/>
                <a:gd name="connsiteY9" fmla="*/ 471488 h 733425"/>
                <a:gd name="connsiteX10" fmla="*/ 471488 w 733425"/>
                <a:gd name="connsiteY10" fmla="*/ 628650 h 733425"/>
                <a:gd name="connsiteX11" fmla="*/ 261938 w 733425"/>
                <a:gd name="connsiteY11" fmla="*/ 628650 h 733425"/>
                <a:gd name="connsiteX12" fmla="*/ 104775 w 733425"/>
                <a:gd name="connsiteY12" fmla="*/ 471488 h 733425"/>
                <a:gd name="connsiteX13" fmla="*/ 104775 w 733425"/>
                <a:gd name="connsiteY13" fmla="*/ 261938 h 733425"/>
                <a:gd name="connsiteX14" fmla="*/ 261938 w 733425"/>
                <a:gd name="connsiteY14" fmla="*/ 104775 h 733425"/>
                <a:gd name="connsiteX15" fmla="*/ 471488 w 733425"/>
                <a:gd name="connsiteY15" fmla="*/ 104775 h 733425"/>
                <a:gd name="connsiteX16" fmla="*/ 628650 w 733425"/>
                <a:gd name="connsiteY16" fmla="*/ 261938 h 733425"/>
                <a:gd name="connsiteX17" fmla="*/ 628650 w 733425"/>
                <a:gd name="connsiteY17" fmla="*/ 47148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471488" y="0"/>
                  </a:moveTo>
                  <a:lnTo>
                    <a:pt x="261938" y="0"/>
                  </a:lnTo>
                  <a:cubicBezTo>
                    <a:pt x="117157" y="0"/>
                    <a:pt x="0" y="117157"/>
                    <a:pt x="0" y="261938"/>
                  </a:cubicBezTo>
                  <a:lnTo>
                    <a:pt x="0" y="471488"/>
                  </a:lnTo>
                  <a:cubicBezTo>
                    <a:pt x="0" y="616268"/>
                    <a:pt x="117157" y="733425"/>
                    <a:pt x="261938" y="733425"/>
                  </a:cubicBezTo>
                  <a:lnTo>
                    <a:pt x="471488" y="733425"/>
                  </a:lnTo>
                  <a:cubicBezTo>
                    <a:pt x="616268" y="733425"/>
                    <a:pt x="733425" y="616268"/>
                    <a:pt x="733425" y="471488"/>
                  </a:cubicBezTo>
                  <a:lnTo>
                    <a:pt x="733425" y="261938"/>
                  </a:lnTo>
                  <a:cubicBezTo>
                    <a:pt x="733425" y="117157"/>
                    <a:pt x="616268" y="0"/>
                    <a:pt x="471488" y="0"/>
                  </a:cubicBezTo>
                  <a:close/>
                  <a:moveTo>
                    <a:pt x="628650" y="471488"/>
                  </a:moveTo>
                  <a:cubicBezTo>
                    <a:pt x="628650" y="558165"/>
                    <a:pt x="558165" y="628650"/>
                    <a:pt x="471488" y="628650"/>
                  </a:cubicBezTo>
                  <a:lnTo>
                    <a:pt x="261938" y="628650"/>
                  </a:lnTo>
                  <a:cubicBezTo>
                    <a:pt x="175260" y="628650"/>
                    <a:pt x="104775" y="558165"/>
                    <a:pt x="104775" y="471488"/>
                  </a:cubicBezTo>
                  <a:lnTo>
                    <a:pt x="104775" y="261938"/>
                  </a:lnTo>
                  <a:cubicBezTo>
                    <a:pt x="104775" y="175260"/>
                    <a:pt x="175260" y="104775"/>
                    <a:pt x="261938" y="104775"/>
                  </a:cubicBezTo>
                  <a:lnTo>
                    <a:pt x="471488" y="104775"/>
                  </a:lnTo>
                  <a:cubicBezTo>
                    <a:pt x="558165" y="104775"/>
                    <a:pt x="628650" y="175260"/>
                    <a:pt x="628650" y="261938"/>
                  </a:cubicBezTo>
                  <a:lnTo>
                    <a:pt x="628650" y="471488"/>
                  </a:lnTo>
                  <a:close/>
                </a:path>
              </a:pathLst>
            </a:custGeom>
            <a:solidFill>
              <a:srgbClr val="FFFFFF"/>
            </a:solidFill>
            <a:ln w="9525" cap="flat">
              <a:noFill/>
              <a:prstDash val="solid"/>
              <a:miter/>
            </a:ln>
          </p:spPr>
          <p:txBody>
            <a:bodyPr rtlCol="0" anchor="ctr"/>
            <a:lstStyle/>
            <a:p>
              <a:endParaRPr lang="en-US"/>
            </a:p>
          </p:txBody>
        </p:sp>
        <p:sp>
          <p:nvSpPr>
            <p:cNvPr id="1302" name="Freeform 1301">
              <a:extLst>
                <a:ext uri="{FF2B5EF4-FFF2-40B4-BE49-F238E27FC236}">
                  <a16:creationId xmlns:a16="http://schemas.microsoft.com/office/drawing/2014/main" id="{4881D58A-ED73-9727-A48D-76E19E1CF2E4}"/>
                </a:ext>
              </a:extLst>
            </p:cNvPr>
            <p:cNvSpPr/>
            <p:nvPr/>
          </p:nvSpPr>
          <p:spPr>
            <a:xfrm>
              <a:off x="7715250" y="148590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3" name="Freeform 1302">
              <a:extLst>
                <a:ext uri="{FF2B5EF4-FFF2-40B4-BE49-F238E27FC236}">
                  <a16:creationId xmlns:a16="http://schemas.microsoft.com/office/drawing/2014/main" id="{12447569-D809-9E04-63A2-DBE7B111F832}"/>
                </a:ext>
              </a:extLst>
            </p:cNvPr>
            <p:cNvSpPr/>
            <p:nvPr/>
          </p:nvSpPr>
          <p:spPr>
            <a:xfrm>
              <a:off x="3943350" y="4838700"/>
              <a:ext cx="733425" cy="733425"/>
            </a:xfrm>
            <a:custGeom>
              <a:avLst/>
              <a:gdLst>
                <a:gd name="connsiteX0" fmla="*/ 471488 w 733425"/>
                <a:gd name="connsiteY0" fmla="*/ 0 h 733425"/>
                <a:gd name="connsiteX1" fmla="*/ 261938 w 733425"/>
                <a:gd name="connsiteY1" fmla="*/ 0 h 733425"/>
                <a:gd name="connsiteX2" fmla="*/ 0 w 733425"/>
                <a:gd name="connsiteY2" fmla="*/ 261938 h 733425"/>
                <a:gd name="connsiteX3" fmla="*/ 0 w 733425"/>
                <a:gd name="connsiteY3" fmla="*/ 471488 h 733425"/>
                <a:gd name="connsiteX4" fmla="*/ 261938 w 733425"/>
                <a:gd name="connsiteY4" fmla="*/ 733425 h 733425"/>
                <a:gd name="connsiteX5" fmla="*/ 471488 w 733425"/>
                <a:gd name="connsiteY5" fmla="*/ 733425 h 733425"/>
                <a:gd name="connsiteX6" fmla="*/ 733425 w 733425"/>
                <a:gd name="connsiteY6" fmla="*/ 471488 h 733425"/>
                <a:gd name="connsiteX7" fmla="*/ 733425 w 733425"/>
                <a:gd name="connsiteY7" fmla="*/ 261938 h 733425"/>
                <a:gd name="connsiteX8" fmla="*/ 471488 w 733425"/>
                <a:gd name="connsiteY8" fmla="*/ 0 h 733425"/>
                <a:gd name="connsiteX9" fmla="*/ 628650 w 733425"/>
                <a:gd name="connsiteY9" fmla="*/ 471488 h 733425"/>
                <a:gd name="connsiteX10" fmla="*/ 471488 w 733425"/>
                <a:gd name="connsiteY10" fmla="*/ 628650 h 733425"/>
                <a:gd name="connsiteX11" fmla="*/ 261938 w 733425"/>
                <a:gd name="connsiteY11" fmla="*/ 628650 h 733425"/>
                <a:gd name="connsiteX12" fmla="*/ 104775 w 733425"/>
                <a:gd name="connsiteY12" fmla="*/ 471488 h 733425"/>
                <a:gd name="connsiteX13" fmla="*/ 104775 w 733425"/>
                <a:gd name="connsiteY13" fmla="*/ 261938 h 733425"/>
                <a:gd name="connsiteX14" fmla="*/ 261938 w 733425"/>
                <a:gd name="connsiteY14" fmla="*/ 104775 h 733425"/>
                <a:gd name="connsiteX15" fmla="*/ 471488 w 733425"/>
                <a:gd name="connsiteY15" fmla="*/ 104775 h 733425"/>
                <a:gd name="connsiteX16" fmla="*/ 628650 w 733425"/>
                <a:gd name="connsiteY16" fmla="*/ 261938 h 733425"/>
                <a:gd name="connsiteX17" fmla="*/ 628650 w 733425"/>
                <a:gd name="connsiteY17" fmla="*/ 47148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471488" y="0"/>
                  </a:moveTo>
                  <a:lnTo>
                    <a:pt x="261938" y="0"/>
                  </a:lnTo>
                  <a:cubicBezTo>
                    <a:pt x="117157" y="0"/>
                    <a:pt x="0" y="117157"/>
                    <a:pt x="0" y="261938"/>
                  </a:cubicBezTo>
                  <a:lnTo>
                    <a:pt x="0" y="471488"/>
                  </a:lnTo>
                  <a:cubicBezTo>
                    <a:pt x="0" y="616268"/>
                    <a:pt x="117157" y="733425"/>
                    <a:pt x="261938" y="733425"/>
                  </a:cubicBezTo>
                  <a:lnTo>
                    <a:pt x="471488" y="733425"/>
                  </a:lnTo>
                  <a:cubicBezTo>
                    <a:pt x="616268" y="733425"/>
                    <a:pt x="733425" y="616268"/>
                    <a:pt x="733425" y="471488"/>
                  </a:cubicBezTo>
                  <a:lnTo>
                    <a:pt x="733425" y="261938"/>
                  </a:lnTo>
                  <a:cubicBezTo>
                    <a:pt x="733425" y="117157"/>
                    <a:pt x="616268" y="0"/>
                    <a:pt x="471488" y="0"/>
                  </a:cubicBezTo>
                  <a:close/>
                  <a:moveTo>
                    <a:pt x="628650" y="471488"/>
                  </a:moveTo>
                  <a:cubicBezTo>
                    <a:pt x="628650" y="558165"/>
                    <a:pt x="558165" y="628650"/>
                    <a:pt x="471488" y="628650"/>
                  </a:cubicBezTo>
                  <a:lnTo>
                    <a:pt x="261938" y="628650"/>
                  </a:lnTo>
                  <a:cubicBezTo>
                    <a:pt x="175260" y="628650"/>
                    <a:pt x="104775" y="558165"/>
                    <a:pt x="104775" y="471488"/>
                  </a:cubicBezTo>
                  <a:lnTo>
                    <a:pt x="104775" y="261938"/>
                  </a:lnTo>
                  <a:cubicBezTo>
                    <a:pt x="104775" y="175260"/>
                    <a:pt x="175260" y="104775"/>
                    <a:pt x="261938" y="104775"/>
                  </a:cubicBezTo>
                  <a:lnTo>
                    <a:pt x="471488" y="104775"/>
                  </a:lnTo>
                  <a:cubicBezTo>
                    <a:pt x="558165" y="104775"/>
                    <a:pt x="628650" y="175260"/>
                    <a:pt x="628650" y="261938"/>
                  </a:cubicBezTo>
                  <a:lnTo>
                    <a:pt x="628650" y="471488"/>
                  </a:lnTo>
                  <a:close/>
                </a:path>
              </a:pathLst>
            </a:custGeom>
            <a:solidFill>
              <a:srgbClr val="FFFFFF"/>
            </a:solidFill>
            <a:ln w="9525" cap="flat">
              <a:noFill/>
              <a:prstDash val="solid"/>
              <a:miter/>
            </a:ln>
          </p:spPr>
          <p:txBody>
            <a:bodyPr rtlCol="0" anchor="ctr"/>
            <a:lstStyle/>
            <a:p>
              <a:endParaRPr lang="en-US"/>
            </a:p>
          </p:txBody>
        </p:sp>
        <p:sp>
          <p:nvSpPr>
            <p:cNvPr id="1304" name="Freeform 1303">
              <a:extLst>
                <a:ext uri="{FF2B5EF4-FFF2-40B4-BE49-F238E27FC236}">
                  <a16:creationId xmlns:a16="http://schemas.microsoft.com/office/drawing/2014/main" id="{721B698A-DEE8-BCCE-FB18-BB844F1A913F}"/>
                </a:ext>
              </a:extLst>
            </p:cNvPr>
            <p:cNvSpPr/>
            <p:nvPr/>
          </p:nvSpPr>
          <p:spPr>
            <a:xfrm>
              <a:off x="4152900" y="504825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5" name="Freeform 1304">
              <a:extLst>
                <a:ext uri="{FF2B5EF4-FFF2-40B4-BE49-F238E27FC236}">
                  <a16:creationId xmlns:a16="http://schemas.microsoft.com/office/drawing/2014/main" id="{11F885F6-C7C2-17FA-0D24-D978B3CB8AB1}"/>
                </a:ext>
              </a:extLst>
            </p:cNvPr>
            <p:cNvSpPr/>
            <p:nvPr/>
          </p:nvSpPr>
          <p:spPr>
            <a:xfrm>
              <a:off x="5676900" y="3197542"/>
              <a:ext cx="428625" cy="559117"/>
            </a:xfrm>
            <a:custGeom>
              <a:avLst/>
              <a:gdLst>
                <a:gd name="connsiteX0" fmla="*/ 427672 w 428625"/>
                <a:gd name="connsiteY0" fmla="*/ 497205 h 559117"/>
                <a:gd name="connsiteX1" fmla="*/ 391478 w 428625"/>
                <a:gd name="connsiteY1" fmla="*/ 432435 h 559117"/>
                <a:gd name="connsiteX2" fmla="*/ 129540 w 428625"/>
                <a:gd name="connsiteY2" fmla="*/ 432435 h 559117"/>
                <a:gd name="connsiteX3" fmla="*/ 129540 w 428625"/>
                <a:gd name="connsiteY3" fmla="*/ 321945 h 559117"/>
                <a:gd name="connsiteX4" fmla="*/ 398145 w 428625"/>
                <a:gd name="connsiteY4" fmla="*/ 321945 h 559117"/>
                <a:gd name="connsiteX5" fmla="*/ 398145 w 428625"/>
                <a:gd name="connsiteY5" fmla="*/ 207645 h 559117"/>
                <a:gd name="connsiteX6" fmla="*/ 129540 w 428625"/>
                <a:gd name="connsiteY6" fmla="*/ 207645 h 559117"/>
                <a:gd name="connsiteX7" fmla="*/ 129540 w 428625"/>
                <a:gd name="connsiteY7" fmla="*/ 119063 h 559117"/>
                <a:gd name="connsiteX8" fmla="*/ 405765 w 428625"/>
                <a:gd name="connsiteY8" fmla="*/ 119063 h 559117"/>
                <a:gd name="connsiteX9" fmla="*/ 420053 w 428625"/>
                <a:gd name="connsiteY9" fmla="*/ 83820 h 559117"/>
                <a:gd name="connsiteX10" fmla="*/ 420053 w 428625"/>
                <a:gd name="connsiteY10" fmla="*/ 0 h 559117"/>
                <a:gd name="connsiteX11" fmla="*/ 0 w 428625"/>
                <a:gd name="connsiteY11" fmla="*/ 0 h 559117"/>
                <a:gd name="connsiteX12" fmla="*/ 0 w 428625"/>
                <a:gd name="connsiteY12" fmla="*/ 559118 h 559117"/>
                <a:gd name="connsiteX13" fmla="*/ 428625 w 428625"/>
                <a:gd name="connsiteY13" fmla="*/ 559118 h 559117"/>
                <a:gd name="connsiteX14" fmla="*/ 428625 w 428625"/>
                <a:gd name="connsiteY14" fmla="*/ 497205 h 55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625" h="559117">
                  <a:moveTo>
                    <a:pt x="427672" y="497205"/>
                  </a:moveTo>
                  <a:cubicBezTo>
                    <a:pt x="411480" y="478155"/>
                    <a:pt x="400050" y="456248"/>
                    <a:pt x="391478" y="432435"/>
                  </a:cubicBezTo>
                  <a:lnTo>
                    <a:pt x="129540" y="432435"/>
                  </a:lnTo>
                  <a:lnTo>
                    <a:pt x="129540" y="321945"/>
                  </a:lnTo>
                  <a:lnTo>
                    <a:pt x="398145" y="321945"/>
                  </a:lnTo>
                  <a:lnTo>
                    <a:pt x="398145" y="207645"/>
                  </a:lnTo>
                  <a:lnTo>
                    <a:pt x="129540" y="207645"/>
                  </a:lnTo>
                  <a:lnTo>
                    <a:pt x="129540" y="119063"/>
                  </a:lnTo>
                  <a:lnTo>
                    <a:pt x="405765" y="119063"/>
                  </a:lnTo>
                  <a:cubicBezTo>
                    <a:pt x="408622" y="106680"/>
                    <a:pt x="413385" y="95250"/>
                    <a:pt x="420053" y="83820"/>
                  </a:cubicBezTo>
                  <a:lnTo>
                    <a:pt x="420053" y="0"/>
                  </a:lnTo>
                  <a:lnTo>
                    <a:pt x="0" y="0"/>
                  </a:lnTo>
                  <a:lnTo>
                    <a:pt x="0" y="559118"/>
                  </a:lnTo>
                  <a:lnTo>
                    <a:pt x="428625" y="559118"/>
                  </a:lnTo>
                  <a:lnTo>
                    <a:pt x="428625" y="497205"/>
                  </a:lnTo>
                  <a:close/>
                </a:path>
              </a:pathLst>
            </a:custGeom>
            <a:solidFill>
              <a:srgbClr val="FFFFFF"/>
            </a:solidFill>
            <a:ln w="9525" cap="flat">
              <a:noFill/>
              <a:prstDash val="solid"/>
              <a:miter/>
            </a:ln>
          </p:spPr>
          <p:txBody>
            <a:bodyPr rtlCol="0" anchor="ctr"/>
            <a:lstStyle/>
            <a:p>
              <a:endParaRPr lang="en-US"/>
            </a:p>
          </p:txBody>
        </p:sp>
        <p:sp>
          <p:nvSpPr>
            <p:cNvPr id="1306" name="Freeform 1305">
              <a:extLst>
                <a:ext uri="{FF2B5EF4-FFF2-40B4-BE49-F238E27FC236}">
                  <a16:creationId xmlns:a16="http://schemas.microsoft.com/office/drawing/2014/main" id="{ADF89D3C-41F5-A242-CBB1-77BDAF6B8D64}"/>
                </a:ext>
              </a:extLst>
            </p:cNvPr>
            <p:cNvSpPr/>
            <p:nvPr/>
          </p:nvSpPr>
          <p:spPr>
            <a:xfrm>
              <a:off x="6617969" y="3185159"/>
              <a:ext cx="543877" cy="578167"/>
            </a:xfrm>
            <a:custGeom>
              <a:avLst/>
              <a:gdLst>
                <a:gd name="connsiteX0" fmla="*/ 496253 w 543877"/>
                <a:gd name="connsiteY0" fmla="*/ 494347 h 578167"/>
                <a:gd name="connsiteX1" fmla="*/ 543878 w 543877"/>
                <a:gd name="connsiteY1" fmla="*/ 387668 h 578167"/>
                <a:gd name="connsiteX2" fmla="*/ 392430 w 543877"/>
                <a:gd name="connsiteY2" fmla="*/ 341947 h 578167"/>
                <a:gd name="connsiteX3" fmla="*/ 355283 w 543877"/>
                <a:gd name="connsiteY3" fmla="*/ 422910 h 578167"/>
                <a:gd name="connsiteX4" fmla="*/ 280035 w 543877"/>
                <a:gd name="connsiteY4" fmla="*/ 450533 h 578167"/>
                <a:gd name="connsiteX5" fmla="*/ 200978 w 543877"/>
                <a:gd name="connsiteY5" fmla="*/ 416243 h 578167"/>
                <a:gd name="connsiteX6" fmla="*/ 172403 w 543877"/>
                <a:gd name="connsiteY6" fmla="*/ 288608 h 578167"/>
                <a:gd name="connsiteX7" fmla="*/ 196215 w 543877"/>
                <a:gd name="connsiteY7" fmla="*/ 178118 h 578167"/>
                <a:gd name="connsiteX8" fmla="*/ 285750 w 543877"/>
                <a:gd name="connsiteY8" fmla="*/ 130493 h 578167"/>
                <a:gd name="connsiteX9" fmla="*/ 332423 w 543877"/>
                <a:gd name="connsiteY9" fmla="*/ 140970 h 578167"/>
                <a:gd name="connsiteX10" fmla="*/ 367665 w 543877"/>
                <a:gd name="connsiteY10" fmla="*/ 171450 h 578167"/>
                <a:gd name="connsiteX11" fmla="*/ 384810 w 543877"/>
                <a:gd name="connsiteY11" fmla="*/ 208598 h 578167"/>
                <a:gd name="connsiteX12" fmla="*/ 537210 w 543877"/>
                <a:gd name="connsiteY12" fmla="*/ 174308 h 578167"/>
                <a:gd name="connsiteX13" fmla="*/ 447675 w 543877"/>
                <a:gd name="connsiteY13" fmla="*/ 42863 h 578167"/>
                <a:gd name="connsiteX14" fmla="*/ 281940 w 543877"/>
                <a:gd name="connsiteY14" fmla="*/ 0 h 578167"/>
                <a:gd name="connsiteX15" fmla="*/ 73343 w 543877"/>
                <a:gd name="connsiteY15" fmla="*/ 74295 h 578167"/>
                <a:gd name="connsiteX16" fmla="*/ 0 w 543877"/>
                <a:gd name="connsiteY16" fmla="*/ 287655 h 578167"/>
                <a:gd name="connsiteX17" fmla="*/ 41910 w 543877"/>
                <a:gd name="connsiteY17" fmla="*/ 458153 h 578167"/>
                <a:gd name="connsiteX18" fmla="*/ 141923 w 543877"/>
                <a:gd name="connsiteY18" fmla="*/ 551497 h 578167"/>
                <a:gd name="connsiteX19" fmla="*/ 290513 w 543877"/>
                <a:gd name="connsiteY19" fmla="*/ 578168 h 578167"/>
                <a:gd name="connsiteX20" fmla="*/ 414338 w 543877"/>
                <a:gd name="connsiteY20" fmla="*/ 556260 h 578167"/>
                <a:gd name="connsiteX21" fmla="*/ 496253 w 543877"/>
                <a:gd name="connsiteY21" fmla="*/ 494347 h 57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3877" h="578167">
                  <a:moveTo>
                    <a:pt x="496253" y="494347"/>
                  </a:moveTo>
                  <a:cubicBezTo>
                    <a:pt x="518160" y="465772"/>
                    <a:pt x="534353" y="430530"/>
                    <a:pt x="543878" y="387668"/>
                  </a:cubicBezTo>
                  <a:lnTo>
                    <a:pt x="392430" y="341947"/>
                  </a:lnTo>
                  <a:cubicBezTo>
                    <a:pt x="384810" y="377190"/>
                    <a:pt x="372428" y="403860"/>
                    <a:pt x="355283" y="422910"/>
                  </a:cubicBezTo>
                  <a:cubicBezTo>
                    <a:pt x="338138" y="441008"/>
                    <a:pt x="313373" y="450533"/>
                    <a:pt x="280035" y="450533"/>
                  </a:cubicBezTo>
                  <a:cubicBezTo>
                    <a:pt x="245745" y="450533"/>
                    <a:pt x="219075" y="439103"/>
                    <a:pt x="200978" y="416243"/>
                  </a:cubicBezTo>
                  <a:cubicBezTo>
                    <a:pt x="181928" y="393383"/>
                    <a:pt x="172403" y="350520"/>
                    <a:pt x="172403" y="288608"/>
                  </a:cubicBezTo>
                  <a:cubicBezTo>
                    <a:pt x="172403" y="238125"/>
                    <a:pt x="180023" y="201930"/>
                    <a:pt x="196215" y="178118"/>
                  </a:cubicBezTo>
                  <a:cubicBezTo>
                    <a:pt x="217170" y="146685"/>
                    <a:pt x="246698" y="130493"/>
                    <a:pt x="285750" y="130493"/>
                  </a:cubicBezTo>
                  <a:cubicBezTo>
                    <a:pt x="302895" y="130493"/>
                    <a:pt x="319088" y="134303"/>
                    <a:pt x="332423" y="140970"/>
                  </a:cubicBezTo>
                  <a:cubicBezTo>
                    <a:pt x="346710" y="147638"/>
                    <a:pt x="358140" y="158115"/>
                    <a:pt x="367665" y="171450"/>
                  </a:cubicBezTo>
                  <a:cubicBezTo>
                    <a:pt x="373380" y="179070"/>
                    <a:pt x="379095" y="191453"/>
                    <a:pt x="384810" y="208598"/>
                  </a:cubicBezTo>
                  <a:lnTo>
                    <a:pt x="537210" y="174308"/>
                  </a:lnTo>
                  <a:cubicBezTo>
                    <a:pt x="517208" y="115253"/>
                    <a:pt x="487680" y="71438"/>
                    <a:pt x="447675" y="42863"/>
                  </a:cubicBezTo>
                  <a:cubicBezTo>
                    <a:pt x="407670" y="14288"/>
                    <a:pt x="352425" y="0"/>
                    <a:pt x="281940" y="0"/>
                  </a:cubicBezTo>
                  <a:cubicBezTo>
                    <a:pt x="192405" y="0"/>
                    <a:pt x="121920" y="24765"/>
                    <a:pt x="73343" y="74295"/>
                  </a:cubicBezTo>
                  <a:cubicBezTo>
                    <a:pt x="24765" y="123825"/>
                    <a:pt x="0" y="195263"/>
                    <a:pt x="0" y="287655"/>
                  </a:cubicBezTo>
                  <a:cubicBezTo>
                    <a:pt x="0" y="357188"/>
                    <a:pt x="14288" y="414338"/>
                    <a:pt x="41910" y="458153"/>
                  </a:cubicBezTo>
                  <a:cubicBezTo>
                    <a:pt x="69533" y="502920"/>
                    <a:pt x="102870" y="533400"/>
                    <a:pt x="141923" y="551497"/>
                  </a:cubicBezTo>
                  <a:cubicBezTo>
                    <a:pt x="180023" y="569595"/>
                    <a:pt x="230505" y="578168"/>
                    <a:pt x="290513" y="578168"/>
                  </a:cubicBezTo>
                  <a:cubicBezTo>
                    <a:pt x="340995" y="578168"/>
                    <a:pt x="381953" y="570547"/>
                    <a:pt x="414338" y="556260"/>
                  </a:cubicBezTo>
                  <a:cubicBezTo>
                    <a:pt x="446723" y="541972"/>
                    <a:pt x="474345" y="522922"/>
                    <a:pt x="496253" y="494347"/>
                  </a:cubicBezTo>
                  <a:close/>
                </a:path>
              </a:pathLst>
            </a:custGeom>
            <a:solidFill>
              <a:srgbClr val="FFFFFF"/>
            </a:solidFill>
            <a:ln w="9525" cap="flat">
              <a:noFill/>
              <a:prstDash val="solid"/>
              <a:miter/>
            </a:ln>
          </p:spPr>
          <p:txBody>
            <a:bodyPr rtlCol="0" anchor="ctr"/>
            <a:lstStyle/>
            <a:p>
              <a:endParaRPr lang="en-US"/>
            </a:p>
          </p:txBody>
        </p:sp>
        <p:sp>
          <p:nvSpPr>
            <p:cNvPr id="1307" name="Freeform 1306">
              <a:extLst>
                <a:ext uri="{FF2B5EF4-FFF2-40B4-BE49-F238E27FC236}">
                  <a16:creationId xmlns:a16="http://schemas.microsoft.com/office/drawing/2014/main" id="{AF99FBA5-05BF-1684-068F-CE8F7373C367}"/>
                </a:ext>
              </a:extLst>
            </p:cNvPr>
            <p:cNvSpPr/>
            <p:nvPr/>
          </p:nvSpPr>
          <p:spPr>
            <a:xfrm>
              <a:off x="6082665" y="3187065"/>
              <a:ext cx="506729" cy="578167"/>
            </a:xfrm>
            <a:custGeom>
              <a:avLst/>
              <a:gdLst>
                <a:gd name="connsiteX0" fmla="*/ 260032 w 506729"/>
                <a:gd name="connsiteY0" fmla="*/ 578167 h 578167"/>
                <a:gd name="connsiteX1" fmla="*/ 394335 w 506729"/>
                <a:gd name="connsiteY1" fmla="*/ 554355 h 578167"/>
                <a:gd name="connsiteX2" fmla="*/ 477203 w 506729"/>
                <a:gd name="connsiteY2" fmla="*/ 485775 h 578167"/>
                <a:gd name="connsiteX3" fmla="*/ 506730 w 506729"/>
                <a:gd name="connsiteY3" fmla="*/ 386715 h 578167"/>
                <a:gd name="connsiteX4" fmla="*/ 484822 w 506729"/>
                <a:gd name="connsiteY4" fmla="*/ 303847 h 578167"/>
                <a:gd name="connsiteX5" fmla="*/ 413385 w 506729"/>
                <a:gd name="connsiteY5" fmla="*/ 241935 h 578167"/>
                <a:gd name="connsiteX6" fmla="*/ 251460 w 506729"/>
                <a:gd name="connsiteY6" fmla="*/ 192405 h 578167"/>
                <a:gd name="connsiteX7" fmla="*/ 193357 w 506729"/>
                <a:gd name="connsiteY7" fmla="*/ 171450 h 578167"/>
                <a:gd name="connsiteX8" fmla="*/ 180975 w 506729"/>
                <a:gd name="connsiteY8" fmla="*/ 147638 h 578167"/>
                <a:gd name="connsiteX9" fmla="*/ 196215 w 506729"/>
                <a:gd name="connsiteY9" fmla="*/ 116205 h 578167"/>
                <a:gd name="connsiteX10" fmla="*/ 241935 w 506729"/>
                <a:gd name="connsiteY10" fmla="*/ 103822 h 578167"/>
                <a:gd name="connsiteX11" fmla="*/ 299085 w 506729"/>
                <a:gd name="connsiteY11" fmla="*/ 120967 h 578167"/>
                <a:gd name="connsiteX12" fmla="*/ 326707 w 506729"/>
                <a:gd name="connsiteY12" fmla="*/ 176213 h 578167"/>
                <a:gd name="connsiteX13" fmla="*/ 489585 w 506729"/>
                <a:gd name="connsiteY13" fmla="*/ 166688 h 578167"/>
                <a:gd name="connsiteX14" fmla="*/ 422910 w 506729"/>
                <a:gd name="connsiteY14" fmla="*/ 40005 h 578167"/>
                <a:gd name="connsiteX15" fmla="*/ 259080 w 506729"/>
                <a:gd name="connsiteY15" fmla="*/ 0 h 578167"/>
                <a:gd name="connsiteX16" fmla="*/ 121920 w 506729"/>
                <a:gd name="connsiteY16" fmla="*/ 21907 h 578167"/>
                <a:gd name="connsiteX17" fmla="*/ 46672 w 506729"/>
                <a:gd name="connsiteY17" fmla="*/ 81915 h 578167"/>
                <a:gd name="connsiteX18" fmla="*/ 21907 w 506729"/>
                <a:gd name="connsiteY18" fmla="*/ 162877 h 578167"/>
                <a:gd name="connsiteX19" fmla="*/ 70485 w 506729"/>
                <a:gd name="connsiteY19" fmla="*/ 270510 h 578167"/>
                <a:gd name="connsiteX20" fmla="*/ 232410 w 506729"/>
                <a:gd name="connsiteY20" fmla="*/ 338138 h 578167"/>
                <a:gd name="connsiteX21" fmla="*/ 320992 w 506729"/>
                <a:gd name="connsiteY21" fmla="*/ 370522 h 578167"/>
                <a:gd name="connsiteX22" fmla="*/ 340042 w 506729"/>
                <a:gd name="connsiteY22" fmla="*/ 409575 h 578167"/>
                <a:gd name="connsiteX23" fmla="*/ 320040 w 506729"/>
                <a:gd name="connsiteY23" fmla="*/ 449580 h 578167"/>
                <a:gd name="connsiteX24" fmla="*/ 262890 w 506729"/>
                <a:gd name="connsiteY24" fmla="*/ 466725 h 578167"/>
                <a:gd name="connsiteX25" fmla="*/ 186690 w 506729"/>
                <a:gd name="connsiteY25" fmla="*/ 432435 h 578167"/>
                <a:gd name="connsiteX26" fmla="*/ 164782 w 506729"/>
                <a:gd name="connsiteY26" fmla="*/ 371475 h 578167"/>
                <a:gd name="connsiteX27" fmla="*/ 0 w 506729"/>
                <a:gd name="connsiteY27" fmla="*/ 381953 h 578167"/>
                <a:gd name="connsiteX28" fmla="*/ 61913 w 506729"/>
                <a:gd name="connsiteY28" fmla="*/ 521970 h 578167"/>
                <a:gd name="connsiteX29" fmla="*/ 260032 w 506729"/>
                <a:gd name="connsiteY29" fmla="*/ 578167 h 57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6729" h="578167">
                  <a:moveTo>
                    <a:pt x="260032" y="578167"/>
                  </a:moveTo>
                  <a:cubicBezTo>
                    <a:pt x="314325" y="578167"/>
                    <a:pt x="359092" y="570547"/>
                    <a:pt x="394335" y="554355"/>
                  </a:cubicBezTo>
                  <a:cubicBezTo>
                    <a:pt x="429578" y="539115"/>
                    <a:pt x="457200" y="516255"/>
                    <a:pt x="477203" y="485775"/>
                  </a:cubicBezTo>
                  <a:cubicBezTo>
                    <a:pt x="497205" y="455295"/>
                    <a:pt x="506730" y="422910"/>
                    <a:pt x="506730" y="386715"/>
                  </a:cubicBezTo>
                  <a:cubicBezTo>
                    <a:pt x="506730" y="356235"/>
                    <a:pt x="499110" y="328613"/>
                    <a:pt x="484822" y="303847"/>
                  </a:cubicBezTo>
                  <a:cubicBezTo>
                    <a:pt x="469582" y="279082"/>
                    <a:pt x="445770" y="258127"/>
                    <a:pt x="413385" y="241935"/>
                  </a:cubicBezTo>
                  <a:cubicBezTo>
                    <a:pt x="381000" y="225742"/>
                    <a:pt x="326707" y="208597"/>
                    <a:pt x="251460" y="192405"/>
                  </a:cubicBezTo>
                  <a:cubicBezTo>
                    <a:pt x="220980" y="185738"/>
                    <a:pt x="201930" y="179070"/>
                    <a:pt x="193357" y="171450"/>
                  </a:cubicBezTo>
                  <a:cubicBezTo>
                    <a:pt x="184785" y="164782"/>
                    <a:pt x="180975" y="156210"/>
                    <a:pt x="180975" y="147638"/>
                  </a:cubicBezTo>
                  <a:cubicBezTo>
                    <a:pt x="180975" y="135255"/>
                    <a:pt x="185738" y="124777"/>
                    <a:pt x="196215" y="116205"/>
                  </a:cubicBezTo>
                  <a:cubicBezTo>
                    <a:pt x="206692" y="107632"/>
                    <a:pt x="221932" y="103822"/>
                    <a:pt x="241935" y="103822"/>
                  </a:cubicBezTo>
                  <a:cubicBezTo>
                    <a:pt x="266700" y="103822"/>
                    <a:pt x="285750" y="109538"/>
                    <a:pt x="299085" y="120967"/>
                  </a:cubicBezTo>
                  <a:cubicBezTo>
                    <a:pt x="313372" y="132397"/>
                    <a:pt x="321945" y="150495"/>
                    <a:pt x="326707" y="176213"/>
                  </a:cubicBezTo>
                  <a:lnTo>
                    <a:pt x="489585" y="166688"/>
                  </a:lnTo>
                  <a:cubicBezTo>
                    <a:pt x="482917" y="108585"/>
                    <a:pt x="460057" y="66675"/>
                    <a:pt x="422910" y="40005"/>
                  </a:cubicBezTo>
                  <a:cubicBezTo>
                    <a:pt x="385763" y="13335"/>
                    <a:pt x="330517" y="0"/>
                    <a:pt x="259080" y="0"/>
                  </a:cubicBezTo>
                  <a:cubicBezTo>
                    <a:pt x="200978" y="0"/>
                    <a:pt x="155257" y="7620"/>
                    <a:pt x="121920" y="21907"/>
                  </a:cubicBezTo>
                  <a:cubicBezTo>
                    <a:pt x="88582" y="36195"/>
                    <a:pt x="63817" y="56197"/>
                    <a:pt x="46672" y="81915"/>
                  </a:cubicBezTo>
                  <a:cubicBezTo>
                    <a:pt x="30480" y="107632"/>
                    <a:pt x="21907" y="134302"/>
                    <a:pt x="21907" y="162877"/>
                  </a:cubicBezTo>
                  <a:cubicBezTo>
                    <a:pt x="21907" y="206692"/>
                    <a:pt x="38100" y="242888"/>
                    <a:pt x="70485" y="270510"/>
                  </a:cubicBezTo>
                  <a:cubicBezTo>
                    <a:pt x="102870" y="299085"/>
                    <a:pt x="157163" y="320992"/>
                    <a:pt x="232410" y="338138"/>
                  </a:cubicBezTo>
                  <a:cubicBezTo>
                    <a:pt x="279082" y="348615"/>
                    <a:pt x="308610" y="359092"/>
                    <a:pt x="320992" y="370522"/>
                  </a:cubicBezTo>
                  <a:cubicBezTo>
                    <a:pt x="333375" y="381953"/>
                    <a:pt x="340042" y="395288"/>
                    <a:pt x="340042" y="409575"/>
                  </a:cubicBezTo>
                  <a:cubicBezTo>
                    <a:pt x="340042" y="424815"/>
                    <a:pt x="333375" y="438150"/>
                    <a:pt x="320040" y="449580"/>
                  </a:cubicBezTo>
                  <a:cubicBezTo>
                    <a:pt x="306705" y="461010"/>
                    <a:pt x="287655" y="466725"/>
                    <a:pt x="262890" y="466725"/>
                  </a:cubicBezTo>
                  <a:cubicBezTo>
                    <a:pt x="229553" y="466725"/>
                    <a:pt x="204788" y="455295"/>
                    <a:pt x="186690" y="432435"/>
                  </a:cubicBezTo>
                  <a:cubicBezTo>
                    <a:pt x="176213" y="418147"/>
                    <a:pt x="168592" y="398145"/>
                    <a:pt x="164782" y="371475"/>
                  </a:cubicBezTo>
                  <a:lnTo>
                    <a:pt x="0" y="381953"/>
                  </a:lnTo>
                  <a:cubicBezTo>
                    <a:pt x="4763" y="438150"/>
                    <a:pt x="25717" y="484822"/>
                    <a:pt x="61913" y="521970"/>
                  </a:cubicBezTo>
                  <a:cubicBezTo>
                    <a:pt x="99060" y="560070"/>
                    <a:pt x="164782" y="578167"/>
                    <a:pt x="260032" y="578167"/>
                  </a:cubicBezTo>
                  <a:close/>
                </a:path>
              </a:pathLst>
            </a:custGeom>
            <a:solidFill>
              <a:srgbClr val="FFFFFF"/>
            </a:solidFill>
            <a:ln w="9525" cap="flat">
              <a:noFill/>
              <a:prstDash val="solid"/>
              <a:miter/>
            </a:ln>
          </p:spPr>
          <p:txBody>
            <a:bodyPr rtlCol="0" anchor="ctr"/>
            <a:lstStyle/>
            <a:p>
              <a:endParaRPr lang="en-US"/>
            </a:p>
          </p:txBody>
        </p:sp>
        <p:sp>
          <p:nvSpPr>
            <p:cNvPr id="1308" name="Freeform 1307">
              <a:extLst>
                <a:ext uri="{FF2B5EF4-FFF2-40B4-BE49-F238E27FC236}">
                  <a16:creationId xmlns:a16="http://schemas.microsoft.com/office/drawing/2014/main" id="{3930AA24-6ABE-F438-ADC1-F090CA0244DE}"/>
                </a:ext>
              </a:extLst>
            </p:cNvPr>
            <p:cNvSpPr/>
            <p:nvPr/>
          </p:nvSpPr>
          <p:spPr>
            <a:xfrm>
              <a:off x="5030152" y="3197542"/>
              <a:ext cx="628650" cy="558164"/>
            </a:xfrm>
            <a:custGeom>
              <a:avLst/>
              <a:gdLst>
                <a:gd name="connsiteX0" fmla="*/ 628650 w 628650"/>
                <a:gd name="connsiteY0" fmla="*/ 0 h 558164"/>
                <a:gd name="connsiteX1" fmla="*/ 401955 w 628650"/>
                <a:gd name="connsiteY1" fmla="*/ 0 h 558164"/>
                <a:gd name="connsiteX2" fmla="*/ 314325 w 628650"/>
                <a:gd name="connsiteY2" fmla="*/ 340042 h 558164"/>
                <a:gd name="connsiteX3" fmla="*/ 226695 w 628650"/>
                <a:gd name="connsiteY3" fmla="*/ 0 h 558164"/>
                <a:gd name="connsiteX4" fmla="*/ 0 w 628650"/>
                <a:gd name="connsiteY4" fmla="*/ 0 h 558164"/>
                <a:gd name="connsiteX5" fmla="*/ 0 w 628650"/>
                <a:gd name="connsiteY5" fmla="*/ 558165 h 558164"/>
                <a:gd name="connsiteX6" fmla="*/ 140970 w 628650"/>
                <a:gd name="connsiteY6" fmla="*/ 558165 h 558164"/>
                <a:gd name="connsiteX7" fmla="*/ 140970 w 628650"/>
                <a:gd name="connsiteY7" fmla="*/ 132398 h 558164"/>
                <a:gd name="connsiteX8" fmla="*/ 250507 w 628650"/>
                <a:gd name="connsiteY8" fmla="*/ 558165 h 558164"/>
                <a:gd name="connsiteX9" fmla="*/ 378142 w 628650"/>
                <a:gd name="connsiteY9" fmla="*/ 558165 h 558164"/>
                <a:gd name="connsiteX10" fmla="*/ 487680 w 628650"/>
                <a:gd name="connsiteY10" fmla="*/ 132398 h 558164"/>
                <a:gd name="connsiteX11" fmla="*/ 487680 w 628650"/>
                <a:gd name="connsiteY11" fmla="*/ 558165 h 558164"/>
                <a:gd name="connsiteX12" fmla="*/ 628650 w 628650"/>
                <a:gd name="connsiteY12" fmla="*/ 558165 h 55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8650" h="558164">
                  <a:moveTo>
                    <a:pt x="628650" y="0"/>
                  </a:moveTo>
                  <a:lnTo>
                    <a:pt x="401955" y="0"/>
                  </a:lnTo>
                  <a:lnTo>
                    <a:pt x="314325" y="340042"/>
                  </a:lnTo>
                  <a:lnTo>
                    <a:pt x="226695" y="0"/>
                  </a:lnTo>
                  <a:lnTo>
                    <a:pt x="0" y="0"/>
                  </a:lnTo>
                  <a:lnTo>
                    <a:pt x="0" y="558165"/>
                  </a:lnTo>
                  <a:lnTo>
                    <a:pt x="140970" y="558165"/>
                  </a:lnTo>
                  <a:lnTo>
                    <a:pt x="140970" y="132398"/>
                  </a:lnTo>
                  <a:lnTo>
                    <a:pt x="250507" y="558165"/>
                  </a:lnTo>
                  <a:lnTo>
                    <a:pt x="378142" y="558165"/>
                  </a:lnTo>
                  <a:lnTo>
                    <a:pt x="487680" y="132398"/>
                  </a:lnTo>
                  <a:lnTo>
                    <a:pt x="487680" y="558165"/>
                  </a:lnTo>
                  <a:lnTo>
                    <a:pt x="628650" y="558165"/>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9947340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Light Blue Endcap - MESC 20">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5EFBD7C-F026-9B1B-7C9C-5C50416AA943}"/>
              </a:ext>
            </a:extLst>
          </p:cNvPr>
          <p:cNvSpPr/>
          <p:nvPr userDrawn="1"/>
        </p:nvSpPr>
        <p:spPr>
          <a:xfrm>
            <a:off x="-10719" y="-33673"/>
            <a:ext cx="12216166" cy="690512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14" name="Picture 13">
            <a:extLst>
              <a:ext uri="{FF2B5EF4-FFF2-40B4-BE49-F238E27FC236}">
                <a16:creationId xmlns:a16="http://schemas.microsoft.com/office/drawing/2014/main" id="{3333FBDD-47BE-2813-50C8-825012F5C6D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6700" y="5310616"/>
            <a:ext cx="4215694" cy="1204484"/>
          </a:xfrm>
          <a:prstGeom prst="rect">
            <a:avLst/>
          </a:prstGeom>
        </p:spPr>
      </p:pic>
      <p:sp>
        <p:nvSpPr>
          <p:cNvPr id="3" name="TextBox 2">
            <a:extLst>
              <a:ext uri="{FF2B5EF4-FFF2-40B4-BE49-F238E27FC236}">
                <a16:creationId xmlns:a16="http://schemas.microsoft.com/office/drawing/2014/main" id="{163B6F53-F53E-14AA-B619-71E5825203C3}"/>
              </a:ext>
            </a:extLst>
          </p:cNvPr>
          <p:cNvSpPr txBox="1"/>
          <p:nvPr userDrawn="1"/>
        </p:nvSpPr>
        <p:spPr>
          <a:xfrm>
            <a:off x="506448" y="4105989"/>
            <a:ext cx="5217365" cy="1015663"/>
          </a:xfrm>
          <a:prstGeom prst="rect">
            <a:avLst/>
          </a:prstGeom>
          <a:noFill/>
        </p:spPr>
        <p:txBody>
          <a:bodyPr wrap="square" rtlCol="0">
            <a:spAutoFit/>
          </a:bodyPr>
          <a:lstStyle/>
          <a:p>
            <a:r>
              <a:rPr lang="en-US" sz="6000" b="0" i="0">
                <a:solidFill>
                  <a:schemeClr val="bg1"/>
                </a:solidFill>
                <a:latin typeface="Avenir Medium" panose="02000503020000020003" pitchFamily="2" charset="0"/>
              </a:rPr>
              <a:t>Thank you!</a:t>
            </a:r>
          </a:p>
        </p:txBody>
      </p:sp>
      <p:sp>
        <p:nvSpPr>
          <p:cNvPr id="4" name="Text Placeholder 6">
            <a:extLst>
              <a:ext uri="{FF2B5EF4-FFF2-40B4-BE49-F238E27FC236}">
                <a16:creationId xmlns:a16="http://schemas.microsoft.com/office/drawing/2014/main" id="{84C1204F-9A71-E5C8-6218-92AA4D2FF406}"/>
              </a:ext>
            </a:extLst>
          </p:cNvPr>
          <p:cNvSpPr>
            <a:spLocks noGrp="1"/>
          </p:cNvSpPr>
          <p:nvPr>
            <p:ph type="body" sz="quarter" idx="10"/>
          </p:nvPr>
        </p:nvSpPr>
        <p:spPr>
          <a:xfrm>
            <a:off x="506448" y="2369212"/>
            <a:ext cx="4262437" cy="1547813"/>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object 899" descr="Energy storage, wind turbine and solar panels">
            <a:extLst>
              <a:ext uri="{FF2B5EF4-FFF2-40B4-BE49-F238E27FC236}">
                <a16:creationId xmlns:a16="http://schemas.microsoft.com/office/drawing/2014/main" id="{B0373374-0E26-AD43-D95D-126E7993000C}"/>
              </a:ext>
            </a:extLst>
          </p:cNvPr>
          <p:cNvPicPr/>
          <p:nvPr userDrawn="1"/>
        </p:nvPicPr>
        <p:blipFill rotWithShape="1">
          <a:blip r:embed="rId3" cstate="screen">
            <a:duotone>
              <a:schemeClr val="accent2">
                <a:shade val="45000"/>
                <a:satMod val="135000"/>
              </a:schemeClr>
              <a:prstClr val="white"/>
            </a:duotone>
            <a:alphaModFix amt="70000"/>
            <a:extLst>
              <a:ext uri="{28A0092B-C50C-407E-A947-70E740481C1C}">
                <a14:useLocalDpi xmlns:a14="http://schemas.microsoft.com/office/drawing/2010/main"/>
              </a:ext>
            </a:extLst>
          </a:blip>
          <a:srcRect/>
          <a:stretch/>
        </p:blipFill>
        <p:spPr>
          <a:xfrm>
            <a:off x="6622146" y="-33673"/>
            <a:ext cx="5569854" cy="6891673"/>
          </a:xfrm>
          <a:prstGeom prst="rect">
            <a:avLst/>
          </a:prstGeom>
        </p:spPr>
      </p:pic>
      <p:grpSp>
        <p:nvGrpSpPr>
          <p:cNvPr id="13" name="Group 12">
            <a:extLst>
              <a:ext uri="{FF2B5EF4-FFF2-40B4-BE49-F238E27FC236}">
                <a16:creationId xmlns:a16="http://schemas.microsoft.com/office/drawing/2014/main" id="{1F7C7428-4D50-BE11-D113-DB19F1F92E87}"/>
              </a:ext>
            </a:extLst>
          </p:cNvPr>
          <p:cNvGrpSpPr/>
          <p:nvPr userDrawn="1"/>
        </p:nvGrpSpPr>
        <p:grpSpPr>
          <a:xfrm>
            <a:off x="5281495" y="-46899"/>
            <a:ext cx="6934035" cy="6938729"/>
            <a:chOff x="5281495" y="-46899"/>
            <a:chExt cx="6934035" cy="6938729"/>
          </a:xfrm>
        </p:grpSpPr>
        <p:sp>
          <p:nvSpPr>
            <p:cNvPr id="6" name="Freeform 5">
              <a:extLst>
                <a:ext uri="{FF2B5EF4-FFF2-40B4-BE49-F238E27FC236}">
                  <a16:creationId xmlns:a16="http://schemas.microsoft.com/office/drawing/2014/main" id="{DB0F269F-7D5A-7506-DCE1-FCC30B00EE89}"/>
                </a:ext>
              </a:extLst>
            </p:cNvPr>
            <p:cNvSpPr/>
            <p:nvPr userDrawn="1"/>
          </p:nvSpPr>
          <p:spPr>
            <a:xfrm>
              <a:off x="6571346" y="-34109"/>
              <a:ext cx="2530106" cy="6904805"/>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rgbClr val="1CA6DF">
                <a:alpha val="50000"/>
              </a:srgbClr>
            </a:solidFill>
            <a:ln w="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FF00CF9-7E02-891D-0277-E0AEF5D0AEC4}"/>
                </a:ext>
              </a:extLst>
            </p:cNvPr>
            <p:cNvSpPr/>
            <p:nvPr userDrawn="1"/>
          </p:nvSpPr>
          <p:spPr>
            <a:xfrm>
              <a:off x="11016251" y="-46899"/>
              <a:ext cx="1199279" cy="6930369"/>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0D7605F-881E-9928-B8D1-F1939C4E69B6}"/>
                </a:ext>
              </a:extLst>
            </p:cNvPr>
            <p:cNvSpPr/>
            <p:nvPr userDrawn="1"/>
          </p:nvSpPr>
          <p:spPr>
            <a:xfrm>
              <a:off x="11505806" y="-33673"/>
              <a:ext cx="691892" cy="6900254"/>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A38A9D8C-37A5-B2A3-306F-5322CB525482}"/>
                </a:ext>
              </a:extLst>
            </p:cNvPr>
            <p:cNvSpPr/>
            <p:nvPr userDrawn="1"/>
          </p:nvSpPr>
          <p:spPr>
            <a:xfrm>
              <a:off x="5787317" y="-34283"/>
              <a:ext cx="2017295" cy="6904805"/>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tx2"/>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503D3AE3-9AFA-A5EA-4916-CCF38FEBEF00}"/>
                </a:ext>
              </a:extLst>
            </p:cNvPr>
            <p:cNvSpPr/>
            <p:nvPr userDrawn="1"/>
          </p:nvSpPr>
          <p:spPr>
            <a:xfrm>
              <a:off x="11397270" y="3321246"/>
              <a:ext cx="818260" cy="3570584"/>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97A9736-A546-5925-E7ED-0937C536CDB9}"/>
                </a:ext>
              </a:extLst>
            </p:cNvPr>
            <p:cNvSpPr/>
            <p:nvPr userDrawn="1"/>
          </p:nvSpPr>
          <p:spPr>
            <a:xfrm>
              <a:off x="6408203" y="-40335"/>
              <a:ext cx="1201322" cy="3019290"/>
            </a:xfrm>
            <a:custGeom>
              <a:avLst/>
              <a:gdLst>
                <a:gd name="connsiteX0" fmla="*/ 1159100 w 1159099"/>
                <a:gd name="connsiteY0" fmla="*/ 0 h 3000613"/>
                <a:gd name="connsiteX1" fmla="*/ 364368 w 1159099"/>
                <a:gd name="connsiteY1" fmla="*/ 0 h 3000613"/>
                <a:gd name="connsiteX2" fmla="*/ 0 w 1159099"/>
                <a:gd name="connsiteY2" fmla="*/ 3000614 h 3000613"/>
                <a:gd name="connsiteX3" fmla="*/ 1159100 w 1159099"/>
                <a:gd name="connsiteY3" fmla="*/ 0 h 3000613"/>
              </a:gdLst>
              <a:ahLst/>
              <a:cxnLst>
                <a:cxn ang="0">
                  <a:pos x="connsiteX0" y="connsiteY0"/>
                </a:cxn>
                <a:cxn ang="0">
                  <a:pos x="connsiteX1" y="connsiteY1"/>
                </a:cxn>
                <a:cxn ang="0">
                  <a:pos x="connsiteX2" y="connsiteY2"/>
                </a:cxn>
                <a:cxn ang="0">
                  <a:pos x="connsiteX3" y="connsiteY3"/>
                </a:cxn>
              </a:cxnLst>
              <a:rect l="l" t="t" r="r" b="b"/>
              <a:pathLst>
                <a:path w="1159099" h="3000613">
                  <a:moveTo>
                    <a:pt x="1159100" y="0"/>
                  </a:moveTo>
                  <a:lnTo>
                    <a:pt x="364368" y="0"/>
                  </a:lnTo>
                  <a:lnTo>
                    <a:pt x="0" y="3000614"/>
                  </a:lnTo>
                  <a:lnTo>
                    <a:pt x="1159100" y="0"/>
                  </a:lnTo>
                  <a:close/>
                </a:path>
              </a:pathLst>
            </a:custGeom>
            <a:solidFill>
              <a:schemeClr val="accent5"/>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D0C3974-6247-ED3E-D731-5D04BEC09DE8}"/>
                </a:ext>
              </a:extLst>
            </p:cNvPr>
            <p:cNvSpPr/>
            <p:nvPr userDrawn="1"/>
          </p:nvSpPr>
          <p:spPr>
            <a:xfrm>
              <a:off x="5281495" y="-46899"/>
              <a:ext cx="1524254" cy="6930369"/>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tx2">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2029855880"/>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ue Endcap MESC 30">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5EFBD7C-F026-9B1B-7C9C-5C50416AA943}"/>
              </a:ext>
            </a:extLst>
          </p:cNvPr>
          <p:cNvSpPr/>
          <p:nvPr userDrawn="1"/>
        </p:nvSpPr>
        <p:spPr>
          <a:xfrm>
            <a:off x="-10719" y="-47120"/>
            <a:ext cx="12216166" cy="692868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14" name="Picture 13">
            <a:extLst>
              <a:ext uri="{FF2B5EF4-FFF2-40B4-BE49-F238E27FC236}">
                <a16:creationId xmlns:a16="http://schemas.microsoft.com/office/drawing/2014/main" id="{3333FBDD-47BE-2813-50C8-825012F5C6D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6700" y="5310616"/>
            <a:ext cx="4215694" cy="1204484"/>
          </a:xfrm>
          <a:prstGeom prst="rect">
            <a:avLst/>
          </a:prstGeom>
        </p:spPr>
      </p:pic>
      <p:pic>
        <p:nvPicPr>
          <p:cNvPr id="6" name="object 897">
            <a:extLst>
              <a:ext uri="{FF2B5EF4-FFF2-40B4-BE49-F238E27FC236}">
                <a16:creationId xmlns:a16="http://schemas.microsoft.com/office/drawing/2014/main" id="{903DC269-05DC-C7CD-DF6B-13610EEE2421}"/>
              </a:ext>
            </a:extLst>
          </p:cNvPr>
          <p:cNvPicPr/>
          <p:nvPr userDrawn="1"/>
        </p:nvPicPr>
        <p:blipFill>
          <a:blip r:embed="rId3" cstate="screen">
            <a:duotone>
              <a:schemeClr val="accent1">
                <a:shade val="45000"/>
                <a:satMod val="135000"/>
              </a:schemeClr>
              <a:prstClr val="white"/>
            </a:duotone>
            <a:alphaModFix amt="50000"/>
            <a:extLst>
              <a:ext uri="{28A0092B-C50C-407E-A947-70E740481C1C}">
                <a14:useLocalDpi xmlns:a14="http://schemas.microsoft.com/office/drawing/2010/main"/>
              </a:ext>
            </a:extLst>
          </a:blip>
          <a:stretch>
            <a:fillRect/>
          </a:stretch>
        </p:blipFill>
        <p:spPr>
          <a:xfrm>
            <a:off x="5268642" y="-47120"/>
            <a:ext cx="7109729" cy="6930590"/>
          </a:xfrm>
          <a:prstGeom prst="rect">
            <a:avLst/>
          </a:prstGeom>
        </p:spPr>
      </p:pic>
      <p:sp>
        <p:nvSpPr>
          <p:cNvPr id="3" name="TextBox 2">
            <a:extLst>
              <a:ext uri="{FF2B5EF4-FFF2-40B4-BE49-F238E27FC236}">
                <a16:creationId xmlns:a16="http://schemas.microsoft.com/office/drawing/2014/main" id="{163B6F53-F53E-14AA-B619-71E5825203C3}"/>
              </a:ext>
            </a:extLst>
          </p:cNvPr>
          <p:cNvSpPr txBox="1"/>
          <p:nvPr userDrawn="1"/>
        </p:nvSpPr>
        <p:spPr>
          <a:xfrm>
            <a:off x="453860" y="4101491"/>
            <a:ext cx="5636871" cy="1015663"/>
          </a:xfrm>
          <a:prstGeom prst="rect">
            <a:avLst/>
          </a:prstGeom>
          <a:noFill/>
        </p:spPr>
        <p:txBody>
          <a:bodyPr wrap="square" rtlCol="0">
            <a:spAutoFit/>
          </a:bodyPr>
          <a:lstStyle/>
          <a:p>
            <a:r>
              <a:rPr lang="en-US" sz="6000" b="0" i="0">
                <a:solidFill>
                  <a:schemeClr val="bg1"/>
                </a:solidFill>
                <a:latin typeface="Avenir Medium" panose="02000503020000020003" pitchFamily="2" charset="0"/>
              </a:rPr>
              <a:t>Thank you!</a:t>
            </a:r>
          </a:p>
        </p:txBody>
      </p:sp>
      <p:grpSp>
        <p:nvGrpSpPr>
          <p:cNvPr id="12" name="Group 11">
            <a:extLst>
              <a:ext uri="{FF2B5EF4-FFF2-40B4-BE49-F238E27FC236}">
                <a16:creationId xmlns:a16="http://schemas.microsoft.com/office/drawing/2014/main" id="{2B35F619-6042-F14F-7FE8-31540B739345}"/>
              </a:ext>
            </a:extLst>
          </p:cNvPr>
          <p:cNvGrpSpPr/>
          <p:nvPr userDrawn="1"/>
        </p:nvGrpSpPr>
        <p:grpSpPr>
          <a:xfrm>
            <a:off x="5275851" y="-48125"/>
            <a:ext cx="6945323" cy="6931595"/>
            <a:chOff x="5275851" y="-48125"/>
            <a:chExt cx="6945323" cy="6931595"/>
          </a:xfrm>
        </p:grpSpPr>
        <p:sp>
          <p:nvSpPr>
            <p:cNvPr id="4" name="Freeform 3">
              <a:extLst>
                <a:ext uri="{FF2B5EF4-FFF2-40B4-BE49-F238E27FC236}">
                  <a16:creationId xmlns:a16="http://schemas.microsoft.com/office/drawing/2014/main" id="{7B44780E-7745-FCD3-E04B-EE002C68E17E}"/>
                </a:ext>
              </a:extLst>
            </p:cNvPr>
            <p:cNvSpPr/>
            <p:nvPr userDrawn="1"/>
          </p:nvSpPr>
          <p:spPr>
            <a:xfrm>
              <a:off x="6571346" y="-42576"/>
              <a:ext cx="2530106" cy="6926046"/>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rgbClr val="1CA6DF">
                <a:alpha val="50000"/>
              </a:srgbClr>
            </a:solidFill>
            <a:ln w="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F2621560-1E58-341D-A7F4-E738B9B2B1A2}"/>
                </a:ext>
              </a:extLst>
            </p:cNvPr>
            <p:cNvSpPr/>
            <p:nvPr userDrawn="1"/>
          </p:nvSpPr>
          <p:spPr>
            <a:xfrm>
              <a:off x="11016251" y="-46899"/>
              <a:ext cx="1189196" cy="6930369"/>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4EA68E6-D637-EC58-4092-B1C64CD0E1E7}"/>
                </a:ext>
              </a:extLst>
            </p:cNvPr>
            <p:cNvSpPr/>
            <p:nvPr userDrawn="1"/>
          </p:nvSpPr>
          <p:spPr>
            <a:xfrm>
              <a:off x="11511450" y="-37324"/>
              <a:ext cx="686194" cy="6900254"/>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0C8D5E0D-5113-761D-5058-9D77ADC4240C}"/>
                </a:ext>
              </a:extLst>
            </p:cNvPr>
            <p:cNvSpPr/>
            <p:nvPr userDrawn="1"/>
          </p:nvSpPr>
          <p:spPr>
            <a:xfrm>
              <a:off x="5787317" y="-42750"/>
              <a:ext cx="2017295" cy="692622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tx2"/>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5598FD45-C413-65A0-BA79-E9C4C302BCDE}"/>
                </a:ext>
              </a:extLst>
            </p:cNvPr>
            <p:cNvSpPr/>
            <p:nvPr userDrawn="1"/>
          </p:nvSpPr>
          <p:spPr>
            <a:xfrm>
              <a:off x="11397494" y="3326646"/>
              <a:ext cx="823680" cy="3555869"/>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3C2DBD1-3E82-0588-6AFC-072DA2AEBC26}"/>
                </a:ext>
              </a:extLst>
            </p:cNvPr>
            <p:cNvSpPr/>
            <p:nvPr userDrawn="1"/>
          </p:nvSpPr>
          <p:spPr>
            <a:xfrm>
              <a:off x="6417347" y="-48125"/>
              <a:ext cx="1201322" cy="3019290"/>
            </a:xfrm>
            <a:custGeom>
              <a:avLst/>
              <a:gdLst>
                <a:gd name="connsiteX0" fmla="*/ 1159100 w 1159099"/>
                <a:gd name="connsiteY0" fmla="*/ 0 h 3000613"/>
                <a:gd name="connsiteX1" fmla="*/ 364368 w 1159099"/>
                <a:gd name="connsiteY1" fmla="*/ 0 h 3000613"/>
                <a:gd name="connsiteX2" fmla="*/ 0 w 1159099"/>
                <a:gd name="connsiteY2" fmla="*/ 3000614 h 3000613"/>
                <a:gd name="connsiteX3" fmla="*/ 1159100 w 1159099"/>
                <a:gd name="connsiteY3" fmla="*/ 0 h 3000613"/>
              </a:gdLst>
              <a:ahLst/>
              <a:cxnLst>
                <a:cxn ang="0">
                  <a:pos x="connsiteX0" y="connsiteY0"/>
                </a:cxn>
                <a:cxn ang="0">
                  <a:pos x="connsiteX1" y="connsiteY1"/>
                </a:cxn>
                <a:cxn ang="0">
                  <a:pos x="connsiteX2" y="connsiteY2"/>
                </a:cxn>
                <a:cxn ang="0">
                  <a:pos x="connsiteX3" y="connsiteY3"/>
                </a:cxn>
              </a:cxnLst>
              <a:rect l="l" t="t" r="r" b="b"/>
              <a:pathLst>
                <a:path w="1159099" h="3000613">
                  <a:moveTo>
                    <a:pt x="1159100" y="0"/>
                  </a:moveTo>
                  <a:lnTo>
                    <a:pt x="364368" y="0"/>
                  </a:lnTo>
                  <a:lnTo>
                    <a:pt x="0" y="3000614"/>
                  </a:lnTo>
                  <a:lnTo>
                    <a:pt x="1159100" y="0"/>
                  </a:lnTo>
                  <a:close/>
                </a:path>
              </a:pathLst>
            </a:custGeom>
            <a:solidFill>
              <a:schemeClr val="accent5"/>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C9A34330-376A-FDB3-6DA8-A09AD69CEDEA}"/>
                </a:ext>
              </a:extLst>
            </p:cNvPr>
            <p:cNvSpPr/>
            <p:nvPr userDrawn="1"/>
          </p:nvSpPr>
          <p:spPr>
            <a:xfrm>
              <a:off x="5275851" y="-46899"/>
              <a:ext cx="1524254" cy="6930369"/>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rgbClr val="1CA6DF">
                <a:alpha val="50000"/>
              </a:srgbClr>
            </a:solidFill>
            <a:ln w="0" cap="flat">
              <a:noFill/>
              <a:prstDash val="solid"/>
              <a:miter/>
            </a:ln>
          </p:spPr>
          <p:txBody>
            <a:bodyPr rtlCol="0" anchor="ctr"/>
            <a:lstStyle/>
            <a:p>
              <a:endParaRPr lang="en-US"/>
            </a:p>
          </p:txBody>
        </p:sp>
      </p:grpSp>
      <p:sp>
        <p:nvSpPr>
          <p:cNvPr id="13" name="Text Placeholder 6">
            <a:extLst>
              <a:ext uri="{FF2B5EF4-FFF2-40B4-BE49-F238E27FC236}">
                <a16:creationId xmlns:a16="http://schemas.microsoft.com/office/drawing/2014/main" id="{C4730943-F6A8-8D0D-5744-AB72B8E03DE1}"/>
              </a:ext>
            </a:extLst>
          </p:cNvPr>
          <p:cNvSpPr>
            <a:spLocks noGrp="1"/>
          </p:cNvSpPr>
          <p:nvPr>
            <p:ph type="body" sz="quarter" idx="10"/>
          </p:nvPr>
        </p:nvSpPr>
        <p:spPr>
          <a:xfrm>
            <a:off x="506448" y="2369212"/>
            <a:ext cx="4262437" cy="15478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2378505"/>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Photo Endcap - MESC 10">
    <p:bg>
      <p:bgPr>
        <a:solidFill>
          <a:schemeClr val="bg1"/>
        </a:solidFill>
        <a:effectLst/>
      </p:bgPr>
    </p:bg>
    <p:spTree>
      <p:nvGrpSpPr>
        <p:cNvPr id="1" name=""/>
        <p:cNvGrpSpPr/>
        <p:nvPr/>
      </p:nvGrpSpPr>
      <p:grpSpPr>
        <a:xfrm>
          <a:off x="0" y="0"/>
          <a:ext cx="0" cy="0"/>
          <a:chOff x="0" y="0"/>
          <a:chExt cx="0" cy="0"/>
        </a:xfrm>
      </p:grpSpPr>
      <p:pic>
        <p:nvPicPr>
          <p:cNvPr id="14" name="Picture 13" descr="MESC Logotype: Office of Manufacturing and Energy Supply Chains">
            <a:extLst>
              <a:ext uri="{FF2B5EF4-FFF2-40B4-BE49-F238E27FC236}">
                <a16:creationId xmlns:a16="http://schemas.microsoft.com/office/drawing/2014/main" id="{3333FBDD-47BE-2813-50C8-825012F5C6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36644" y="5288439"/>
            <a:ext cx="4516816" cy="1204484"/>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a:blip r:embed="rId3" cstate="screen">
            <a:duotone>
              <a:schemeClr val="accent1">
                <a:shade val="45000"/>
                <a:satMod val="135000"/>
              </a:schemeClr>
              <a:prstClr val="white"/>
            </a:duotone>
            <a:alphaModFix amt="75000"/>
            <a:extLst>
              <a:ext uri="{28A0092B-C50C-407E-A947-70E740481C1C}">
                <a14:useLocalDpi xmlns:a14="http://schemas.microsoft.com/office/drawing/2010/main"/>
              </a:ext>
            </a:extLst>
          </a:blip>
          <a:srcRect/>
          <a:stretch/>
        </p:blipFill>
        <p:spPr>
          <a:xfrm>
            <a:off x="0" y="2274"/>
            <a:ext cx="12192000" cy="5065711"/>
          </a:xfrm>
          <a:prstGeom prst="rect">
            <a:avLst/>
          </a:prstGeom>
        </p:spPr>
      </p:pic>
      <p:grpSp>
        <p:nvGrpSpPr>
          <p:cNvPr id="3" name="Group 2">
            <a:extLst>
              <a:ext uri="{FF2B5EF4-FFF2-40B4-BE49-F238E27FC236}">
                <a16:creationId xmlns:a16="http://schemas.microsoft.com/office/drawing/2014/main" id="{6A02CD61-77D5-0704-8768-ECFDDB19623D}"/>
              </a:ext>
            </a:extLst>
          </p:cNvPr>
          <p:cNvGrpSpPr/>
          <p:nvPr userDrawn="1"/>
        </p:nvGrpSpPr>
        <p:grpSpPr>
          <a:xfrm>
            <a:off x="-7805" y="-3390"/>
            <a:ext cx="3426941" cy="5069101"/>
            <a:chOff x="-7805" y="-3390"/>
            <a:chExt cx="3426941" cy="5069101"/>
          </a:xfrm>
        </p:grpSpPr>
        <p:sp>
          <p:nvSpPr>
            <p:cNvPr id="5" name="Freeform 4">
              <a:extLst>
                <a:ext uri="{FF2B5EF4-FFF2-40B4-BE49-F238E27FC236}">
                  <a16:creationId xmlns:a16="http://schemas.microsoft.com/office/drawing/2014/main" id="{0CDA3003-4130-C03C-2E8E-A856AFF36635}"/>
                </a:ext>
              </a:extLst>
            </p:cNvPr>
            <p:cNvSpPr/>
            <p:nvPr userDrawn="1"/>
          </p:nvSpPr>
          <p:spPr>
            <a:xfrm>
              <a:off x="9301" y="0"/>
              <a:ext cx="3409835" cy="5065710"/>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1"/>
              <a:ext cx="1611262" cy="5065711"/>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6" y="1204"/>
              <a:ext cx="1453578" cy="5061440"/>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90"/>
              <a:ext cx="1691762" cy="506144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7805" y="2273"/>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0"/>
              <a:ext cx="831485" cy="5065711"/>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2505674062"/>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Photo Endcap - MESC 20">
    <p:bg>
      <p:bgPr>
        <a:solidFill>
          <a:schemeClr val="bg1"/>
        </a:solidFill>
        <a:effectLst/>
      </p:bgPr>
    </p:bg>
    <p:spTree>
      <p:nvGrpSpPr>
        <p:cNvPr id="1" name=""/>
        <p:cNvGrpSpPr/>
        <p:nvPr/>
      </p:nvGrpSpPr>
      <p:grpSpPr>
        <a:xfrm>
          <a:off x="0" y="0"/>
          <a:ext cx="0" cy="0"/>
          <a:chOff x="0" y="0"/>
          <a:chExt cx="0" cy="0"/>
        </a:xfrm>
      </p:grpSpPr>
      <p:pic>
        <p:nvPicPr>
          <p:cNvPr id="14" name="Picture 13" descr="MESC Logotype: Office of Manufacturing and Energy Supply Chains">
            <a:extLst>
              <a:ext uri="{FF2B5EF4-FFF2-40B4-BE49-F238E27FC236}">
                <a16:creationId xmlns:a16="http://schemas.microsoft.com/office/drawing/2014/main" id="{3333FBDD-47BE-2813-50C8-825012F5C6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36644" y="5288439"/>
            <a:ext cx="4516816" cy="1204484"/>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a:blip r:embed="rId3" cstate="screen">
            <a:duotone>
              <a:schemeClr val="accent5">
                <a:shade val="45000"/>
                <a:satMod val="135000"/>
              </a:schemeClr>
              <a:prstClr val="white"/>
            </a:duotone>
            <a:extLst>
              <a:ext uri="{28A0092B-C50C-407E-A947-70E740481C1C}">
                <a14:useLocalDpi xmlns:a14="http://schemas.microsoft.com/office/drawing/2010/main"/>
              </a:ext>
            </a:extLst>
          </a:blip>
          <a:srcRect/>
          <a:stretch/>
        </p:blipFill>
        <p:spPr>
          <a:xfrm>
            <a:off x="-15003" y="925"/>
            <a:ext cx="12192000" cy="5065711"/>
          </a:xfrm>
          <a:prstGeom prst="rect">
            <a:avLst/>
          </a:prstGeom>
        </p:spPr>
      </p:pic>
      <p:grpSp>
        <p:nvGrpSpPr>
          <p:cNvPr id="3" name="Group 2">
            <a:extLst>
              <a:ext uri="{FF2B5EF4-FFF2-40B4-BE49-F238E27FC236}">
                <a16:creationId xmlns:a16="http://schemas.microsoft.com/office/drawing/2014/main" id="{140BF7F5-F3B2-A2E7-4F44-B7179CC0EDE6}"/>
              </a:ext>
            </a:extLst>
          </p:cNvPr>
          <p:cNvGrpSpPr/>
          <p:nvPr userDrawn="1"/>
        </p:nvGrpSpPr>
        <p:grpSpPr>
          <a:xfrm>
            <a:off x="-23151" y="-33500"/>
            <a:ext cx="3479583" cy="5111900"/>
            <a:chOff x="-23151" y="-33500"/>
            <a:chExt cx="3479583" cy="5111900"/>
          </a:xfrm>
        </p:grpSpPr>
        <p:sp>
          <p:nvSpPr>
            <p:cNvPr id="5" name="Freeform 4">
              <a:extLst>
                <a:ext uri="{FF2B5EF4-FFF2-40B4-BE49-F238E27FC236}">
                  <a16:creationId xmlns:a16="http://schemas.microsoft.com/office/drawing/2014/main" id="{0CDA3003-4130-C03C-2E8E-A856AFF36635}"/>
                </a:ext>
              </a:extLst>
            </p:cNvPr>
            <p:cNvSpPr/>
            <p:nvPr userDrawn="1"/>
          </p:nvSpPr>
          <p:spPr>
            <a:xfrm>
              <a:off x="-23151" y="-16968"/>
              <a:ext cx="3479583" cy="5095368"/>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30139"/>
              <a:ext cx="1620848" cy="5095849"/>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5" y="-28905"/>
              <a:ext cx="1462225" cy="5091549"/>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500"/>
              <a:ext cx="1701826" cy="509155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23150" y="-12690"/>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30138"/>
              <a:ext cx="836432" cy="5095850"/>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2710608955"/>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Photo Endcap - MESC 30">
    <p:bg>
      <p:bgPr>
        <a:solidFill>
          <a:schemeClr val="bg1"/>
        </a:solidFill>
        <a:effectLst/>
      </p:bgPr>
    </p:bg>
    <p:spTree>
      <p:nvGrpSpPr>
        <p:cNvPr id="1" name=""/>
        <p:cNvGrpSpPr/>
        <p:nvPr/>
      </p:nvGrpSpPr>
      <p:grpSpPr>
        <a:xfrm>
          <a:off x="0" y="0"/>
          <a:ext cx="0" cy="0"/>
          <a:chOff x="0" y="0"/>
          <a:chExt cx="0" cy="0"/>
        </a:xfrm>
      </p:grpSpPr>
      <p:pic>
        <p:nvPicPr>
          <p:cNvPr id="14" name="Picture 13" descr="MESC Logotype: Office of Manufacturing and Energy Supply Chains">
            <a:extLst>
              <a:ext uri="{FF2B5EF4-FFF2-40B4-BE49-F238E27FC236}">
                <a16:creationId xmlns:a16="http://schemas.microsoft.com/office/drawing/2014/main" id="{3333FBDD-47BE-2813-50C8-825012F5C6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36644" y="5288439"/>
            <a:ext cx="4516816" cy="1204484"/>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rotWithShape="1">
          <a:blip r:embed="rId3" cstate="screen">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30005" y="0"/>
            <a:ext cx="12233495" cy="5062805"/>
          </a:xfrm>
          <a:prstGeom prst="rect">
            <a:avLst/>
          </a:prstGeom>
        </p:spPr>
      </p:pic>
      <p:grpSp>
        <p:nvGrpSpPr>
          <p:cNvPr id="11" name="Group 10">
            <a:extLst>
              <a:ext uri="{FF2B5EF4-FFF2-40B4-BE49-F238E27FC236}">
                <a16:creationId xmlns:a16="http://schemas.microsoft.com/office/drawing/2014/main" id="{D1AB40CB-AF3D-5DF5-773E-5FEFAA837214}"/>
              </a:ext>
            </a:extLst>
          </p:cNvPr>
          <p:cNvGrpSpPr/>
          <p:nvPr userDrawn="1"/>
        </p:nvGrpSpPr>
        <p:grpSpPr>
          <a:xfrm>
            <a:off x="-41495" y="-3390"/>
            <a:ext cx="3470495" cy="5069101"/>
            <a:chOff x="-41495" y="-3390"/>
            <a:chExt cx="3470495" cy="5069101"/>
          </a:xfrm>
        </p:grpSpPr>
        <p:sp>
          <p:nvSpPr>
            <p:cNvPr id="5" name="Freeform 4">
              <a:extLst>
                <a:ext uri="{FF2B5EF4-FFF2-40B4-BE49-F238E27FC236}">
                  <a16:creationId xmlns:a16="http://schemas.microsoft.com/office/drawing/2014/main" id="{0CDA3003-4130-C03C-2E8E-A856AFF36635}"/>
                </a:ext>
              </a:extLst>
            </p:cNvPr>
            <p:cNvSpPr/>
            <p:nvPr userDrawn="1"/>
          </p:nvSpPr>
          <p:spPr>
            <a:xfrm>
              <a:off x="-30005" y="1"/>
              <a:ext cx="3459005" cy="5065234"/>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1"/>
              <a:ext cx="1611262" cy="5065711"/>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6" y="1204"/>
              <a:ext cx="1453578" cy="5061440"/>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90"/>
              <a:ext cx="1691762" cy="506144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41495" y="0"/>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0"/>
              <a:ext cx="831485" cy="5065711"/>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1447194770"/>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_MESC 4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6300963" y="1690698"/>
            <a:ext cx="5134824"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a:t>
            </a:r>
            <a:br>
              <a:rPr lang="en-US"/>
            </a:br>
            <a:r>
              <a:rPr lang="en-US"/>
              <a:t>Master title style</a:t>
            </a:r>
          </a:p>
        </p:txBody>
      </p:sp>
      <p:sp>
        <p:nvSpPr>
          <p:cNvPr id="20" name="Text Placeholder 17"/>
          <p:cNvSpPr>
            <a:spLocks noGrp="1"/>
          </p:cNvSpPr>
          <p:nvPr>
            <p:ph type="body" sz="quarter" idx="10" hasCustomPrompt="1"/>
          </p:nvPr>
        </p:nvSpPr>
        <p:spPr>
          <a:xfrm>
            <a:off x="6300964" y="4996580"/>
            <a:ext cx="5134824"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6300963" y="5800923"/>
            <a:ext cx="5134824"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descr="MESC Logotype: Office of Manufacturing and Energy Supply Chains">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360944"/>
            <a:ext cx="4287614" cy="1143364"/>
          </a:xfrm>
          <a:prstGeom prst="rect">
            <a:avLst/>
          </a:prstGeom>
        </p:spPr>
      </p:pic>
      <p:pic>
        <p:nvPicPr>
          <p:cNvPr id="4" name="Picture 3">
            <a:extLst>
              <a:ext uri="{FF2B5EF4-FFF2-40B4-BE49-F238E27FC236}">
                <a16:creationId xmlns:a16="http://schemas.microsoft.com/office/drawing/2014/main" id="{85D9CC86-4E94-EBFE-494B-6B3AF302847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6361"/>
            <a:ext cx="5891037" cy="6864361"/>
          </a:xfrm>
          <a:prstGeom prst="rect">
            <a:avLst/>
          </a:prstGeom>
        </p:spPr>
      </p:pic>
      <p:sp>
        <p:nvSpPr>
          <p:cNvPr id="83" name="TextBox 82">
            <a:extLst>
              <a:ext uri="{FF2B5EF4-FFF2-40B4-BE49-F238E27FC236}">
                <a16:creationId xmlns:a16="http://schemas.microsoft.com/office/drawing/2014/main" id="{FB2A2F34-2261-7551-0886-078BA1B69785}"/>
              </a:ext>
            </a:extLst>
          </p:cNvPr>
          <p:cNvSpPr txBox="1"/>
          <p:nvPr userDrawn="1"/>
        </p:nvSpPr>
        <p:spPr>
          <a:xfrm>
            <a:off x="0" y="4411223"/>
            <a:ext cx="5891038" cy="307777"/>
          </a:xfrm>
          <a:prstGeom prst="rect">
            <a:avLst/>
          </a:prstGeom>
          <a:noFill/>
        </p:spPr>
        <p:txBody>
          <a:bodyPr wrap="square" rtlCol="0">
            <a:spAutoFit/>
          </a:bodyPr>
          <a:lstStyle/>
          <a:p>
            <a:pPr algn="ctr"/>
            <a:r>
              <a:rPr lang="en-US" sz="1400" i="0" spc="300">
                <a:solidFill>
                  <a:schemeClr val="bg1"/>
                </a:solidFill>
                <a:effectLst>
                  <a:outerShdw blurRad="50800" dist="38100" dir="2700000" algn="tl" rotWithShape="0">
                    <a:schemeClr val="accent5">
                      <a:alpha val="40000"/>
                    </a:schemeClr>
                  </a:outerShdw>
                </a:effectLst>
                <a:latin typeface="Avenir Book" panose="02000503020000020003" pitchFamily="2" charset="0"/>
              </a:rPr>
              <a:t>INVESTING IN AMERICA’S ENERGY FUTURE</a:t>
            </a:r>
          </a:p>
        </p:txBody>
      </p:sp>
    </p:spTree>
    <p:extLst>
      <p:ext uri="{BB962C8B-B14F-4D97-AF65-F5344CB8AC3E}">
        <p14:creationId xmlns:p14="http://schemas.microsoft.com/office/powerpoint/2010/main" val="39936601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_Photo Endcap - MESC 40">
    <p:bg>
      <p:bgPr>
        <a:solidFill>
          <a:schemeClr val="bg1"/>
        </a:solidFill>
        <a:effectLst/>
      </p:bgPr>
    </p:bg>
    <p:spTree>
      <p:nvGrpSpPr>
        <p:cNvPr id="1" name=""/>
        <p:cNvGrpSpPr/>
        <p:nvPr/>
      </p:nvGrpSpPr>
      <p:grpSpPr>
        <a:xfrm>
          <a:off x="0" y="0"/>
          <a:ext cx="0" cy="0"/>
          <a:chOff x="0" y="0"/>
          <a:chExt cx="0" cy="0"/>
        </a:xfrm>
      </p:grpSpPr>
      <p:pic>
        <p:nvPicPr>
          <p:cNvPr id="14" name="Picture 13" descr="MESC Logotype: Office of Manufacturing and Energy Supply Chains">
            <a:extLst>
              <a:ext uri="{FF2B5EF4-FFF2-40B4-BE49-F238E27FC236}">
                <a16:creationId xmlns:a16="http://schemas.microsoft.com/office/drawing/2014/main" id="{3333FBDD-47BE-2813-50C8-825012F5C6D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36644" y="5288439"/>
            <a:ext cx="4516816" cy="1204484"/>
          </a:xfrm>
          <a:prstGeom prst="rect">
            <a:avLst/>
          </a:prstGeom>
        </p:spPr>
      </p:pic>
      <p:sp>
        <p:nvSpPr>
          <p:cNvPr id="2" name="Rectangle 1">
            <a:extLst>
              <a:ext uri="{FF2B5EF4-FFF2-40B4-BE49-F238E27FC236}">
                <a16:creationId xmlns:a16="http://schemas.microsoft.com/office/drawing/2014/main" id="{C0931E98-39ED-9268-265A-78CDED51A6B5}"/>
              </a:ext>
            </a:extLst>
          </p:cNvPr>
          <p:cNvSpPr/>
          <p:nvPr userDrawn="1"/>
        </p:nvSpPr>
        <p:spPr>
          <a:xfrm>
            <a:off x="-1895" y="0"/>
            <a:ext cx="12193895" cy="506798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4" name="Picture 3">
            <a:extLst>
              <a:ext uri="{FF2B5EF4-FFF2-40B4-BE49-F238E27FC236}">
                <a16:creationId xmlns:a16="http://schemas.microsoft.com/office/drawing/2014/main" id="{21A86139-386A-DC91-53A7-381A0FB97720}"/>
              </a:ext>
            </a:extLst>
          </p:cNvPr>
          <p:cNvPicPr>
            <a:picLocks noChangeAspect="1"/>
          </p:cNvPicPr>
          <p:nvPr userDrawn="1"/>
        </p:nvPicPr>
        <p:blipFill>
          <a:blip r:embed="rId3" cstate="hqprint">
            <a:alphaModFix amt="60000"/>
            <a:extLst>
              <a:ext uri="{28A0092B-C50C-407E-A947-70E740481C1C}">
                <a14:useLocalDpi xmlns:a14="http://schemas.microsoft.com/office/drawing/2010/main"/>
              </a:ext>
            </a:extLst>
          </a:blip>
          <a:srcRect/>
          <a:stretch/>
        </p:blipFill>
        <p:spPr>
          <a:xfrm>
            <a:off x="-30005" y="2430"/>
            <a:ext cx="12233495" cy="5062805"/>
          </a:xfrm>
          <a:prstGeom prst="rect">
            <a:avLst/>
          </a:prstGeom>
        </p:spPr>
      </p:pic>
      <p:grpSp>
        <p:nvGrpSpPr>
          <p:cNvPr id="11" name="Group 10">
            <a:extLst>
              <a:ext uri="{FF2B5EF4-FFF2-40B4-BE49-F238E27FC236}">
                <a16:creationId xmlns:a16="http://schemas.microsoft.com/office/drawing/2014/main" id="{D1AB40CB-AF3D-5DF5-773E-5FEFAA837214}"/>
              </a:ext>
            </a:extLst>
          </p:cNvPr>
          <p:cNvGrpSpPr/>
          <p:nvPr userDrawn="1"/>
        </p:nvGrpSpPr>
        <p:grpSpPr>
          <a:xfrm>
            <a:off x="-41495" y="-3390"/>
            <a:ext cx="3470495" cy="5069101"/>
            <a:chOff x="-41495" y="-3390"/>
            <a:chExt cx="3470495" cy="5069101"/>
          </a:xfrm>
        </p:grpSpPr>
        <p:sp>
          <p:nvSpPr>
            <p:cNvPr id="5" name="Freeform 4">
              <a:extLst>
                <a:ext uri="{FF2B5EF4-FFF2-40B4-BE49-F238E27FC236}">
                  <a16:creationId xmlns:a16="http://schemas.microsoft.com/office/drawing/2014/main" id="{0CDA3003-4130-C03C-2E8E-A856AFF36635}"/>
                </a:ext>
              </a:extLst>
            </p:cNvPr>
            <p:cNvSpPr/>
            <p:nvPr userDrawn="1"/>
          </p:nvSpPr>
          <p:spPr>
            <a:xfrm>
              <a:off x="-30005" y="1"/>
              <a:ext cx="3459005" cy="5065234"/>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chemeClr val="tx2">
                <a:alpha val="50000"/>
              </a:scheme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D83143DC-08E6-BC40-F596-A31847DF7D60}"/>
                </a:ext>
              </a:extLst>
            </p:cNvPr>
            <p:cNvSpPr/>
            <p:nvPr userDrawn="1"/>
          </p:nvSpPr>
          <p:spPr>
            <a:xfrm>
              <a:off x="845880" y="-1"/>
              <a:ext cx="1611262" cy="5065711"/>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E323ABEF-0642-6F20-409E-5B5FB2DC37C7}"/>
                </a:ext>
              </a:extLst>
            </p:cNvPr>
            <p:cNvSpPr/>
            <p:nvPr userDrawn="1"/>
          </p:nvSpPr>
          <p:spPr>
            <a:xfrm>
              <a:off x="1408156" y="1204"/>
              <a:ext cx="1453578" cy="5061440"/>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01B96F67-FB6B-07DA-C6F8-12563A571E50}"/>
                </a:ext>
              </a:extLst>
            </p:cNvPr>
            <p:cNvSpPr/>
            <p:nvPr userDrawn="1"/>
          </p:nvSpPr>
          <p:spPr>
            <a:xfrm>
              <a:off x="7326" y="-3390"/>
              <a:ext cx="1691762" cy="506144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accent2">
                <a:alpha val="3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D2F0C26-3AC1-C198-17D9-CB504E570BE9}"/>
                </a:ext>
              </a:extLst>
            </p:cNvPr>
            <p:cNvSpPr/>
            <p:nvPr userDrawn="1"/>
          </p:nvSpPr>
          <p:spPr>
            <a:xfrm rot="10800000">
              <a:off x="-41495" y="0"/>
              <a:ext cx="823680" cy="2638606"/>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F6D7045B-16D3-3F4E-4C6B-1C4EDAEE9AD7}"/>
                </a:ext>
              </a:extLst>
            </p:cNvPr>
            <p:cNvSpPr/>
            <p:nvPr userDrawn="1"/>
          </p:nvSpPr>
          <p:spPr>
            <a:xfrm>
              <a:off x="-7805" y="0"/>
              <a:ext cx="831485" cy="5065711"/>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accent5">
                <a:alpha val="50000"/>
              </a:schemeClr>
            </a:solidFill>
            <a:ln w="0" cap="flat">
              <a:noFill/>
              <a:prstDash val="solid"/>
              <a:miter/>
            </a:ln>
          </p:spPr>
          <p:txBody>
            <a:bodyPr rtlCol="0" anchor="ctr"/>
            <a:lstStyle/>
            <a:p>
              <a:endParaRPr lang="en-US"/>
            </a:p>
          </p:txBody>
        </p:sp>
      </p:grpSp>
      <p:sp>
        <p:nvSpPr>
          <p:cNvPr id="3" name="TextBox 2">
            <a:extLst>
              <a:ext uri="{FF2B5EF4-FFF2-40B4-BE49-F238E27FC236}">
                <a16:creationId xmlns:a16="http://schemas.microsoft.com/office/drawing/2014/main" id="{4788A6C5-5603-5C66-BC83-97A05C2B0D91}"/>
              </a:ext>
            </a:extLst>
          </p:cNvPr>
          <p:cNvSpPr txBox="1"/>
          <p:nvPr userDrawn="1"/>
        </p:nvSpPr>
        <p:spPr>
          <a:xfrm>
            <a:off x="1106196" y="2630265"/>
            <a:ext cx="9977712" cy="477054"/>
          </a:xfrm>
          <a:prstGeom prst="rect">
            <a:avLst/>
          </a:prstGeom>
          <a:noFill/>
        </p:spPr>
        <p:txBody>
          <a:bodyPr wrap="square" rtlCol="0">
            <a:spAutoFit/>
          </a:bodyPr>
          <a:lstStyle/>
          <a:p>
            <a:pPr algn="ctr"/>
            <a:r>
              <a:rPr lang="en-US" sz="2500" i="0" spc="600">
                <a:solidFill>
                  <a:schemeClr val="bg1"/>
                </a:solidFill>
                <a:effectLst>
                  <a:outerShdw blurRad="50800" dist="38100" dir="2700000" algn="tl" rotWithShape="0">
                    <a:schemeClr val="accent5">
                      <a:alpha val="40000"/>
                    </a:schemeClr>
                  </a:outerShdw>
                </a:effectLst>
                <a:latin typeface="Avenir Book" panose="02000503020000020003" pitchFamily="2" charset="0"/>
              </a:rPr>
              <a:t>INVESTING IN AMERICA’S ENERGY FUTURE</a:t>
            </a:r>
          </a:p>
        </p:txBody>
      </p:sp>
    </p:spTree>
    <p:extLst>
      <p:ext uri="{BB962C8B-B14F-4D97-AF65-F5344CB8AC3E}">
        <p14:creationId xmlns:p14="http://schemas.microsoft.com/office/powerpoint/2010/main" val="199096909"/>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6FB22-0DB0-487A-9127-3979B139B1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C713BE4-5B3D-4BF7-9C41-C01C5804D202}"/>
              </a:ext>
            </a:extLst>
          </p:cNvPr>
          <p:cNvSpPr>
            <a:spLocks noGrp="1"/>
          </p:cNvSpPr>
          <p:nvPr>
            <p:ph type="dt" sz="half" idx="10"/>
          </p:nvPr>
        </p:nvSpPr>
        <p:spPr/>
        <p:txBody>
          <a:bodyPr/>
          <a:lstStyle/>
          <a:p>
            <a:fld id="{9017480A-12AF-4B33-ADE4-DC1D5664E7CF}" type="datetime1">
              <a:rPr lang="en-US" smtClean="0"/>
              <a:t>11/16/2023</a:t>
            </a:fld>
            <a:endParaRPr lang="en-US"/>
          </a:p>
        </p:txBody>
      </p:sp>
      <p:sp>
        <p:nvSpPr>
          <p:cNvPr id="4" name="Footer Placeholder 3">
            <a:extLst>
              <a:ext uri="{FF2B5EF4-FFF2-40B4-BE49-F238E27FC236}">
                <a16:creationId xmlns:a16="http://schemas.microsoft.com/office/drawing/2014/main" id="{C7783027-0A50-432B-96A8-D509DEEA72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F6521FC-0ECC-483E-94FA-C7A3954A9042}"/>
              </a:ext>
            </a:extLst>
          </p:cNvPr>
          <p:cNvSpPr>
            <a:spLocks noGrp="1"/>
          </p:cNvSpPr>
          <p:nvPr>
            <p:ph type="sldNum" sz="quarter" idx="12"/>
          </p:nvPr>
        </p:nvSpPr>
        <p:spPr/>
        <p:txBody>
          <a:bodyPr/>
          <a:lstStyle/>
          <a:p>
            <a:fld id="{C49FFCB8-B38E-4214-874B-E919E46EB600}" type="slidenum">
              <a:rPr lang="en-US" smtClean="0"/>
              <a:t>‹#›</a:t>
            </a:fld>
            <a:endParaRPr lang="en-US"/>
          </a:p>
        </p:txBody>
      </p:sp>
    </p:spTree>
    <p:extLst>
      <p:ext uri="{BB962C8B-B14F-4D97-AF65-F5344CB8AC3E}">
        <p14:creationId xmlns:p14="http://schemas.microsoft.com/office/powerpoint/2010/main" val="18927596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50B59F0-EC9B-4470-B58B-BE104BDCE12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F50B59F0-EC9B-4470-B58B-BE104BDCE1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29FBA23B-80BC-4879-B751-41C14B0CAF05}"/>
              </a:ext>
            </a:extLst>
          </p:cNvPr>
          <p:cNvGrpSpPr/>
          <p:nvPr userDrawn="1"/>
        </p:nvGrpSpPr>
        <p:grpSpPr>
          <a:xfrm>
            <a:off x="0" y="-8467"/>
            <a:ext cx="12192000" cy="6866467"/>
            <a:chOff x="0" y="-8467"/>
            <a:chExt cx="12192000" cy="6866467"/>
          </a:xfrm>
        </p:grpSpPr>
        <p:cxnSp>
          <p:nvCxnSpPr>
            <p:cNvPr id="11" name="Straight Connector 10">
              <a:extLst>
                <a:ext uri="{FF2B5EF4-FFF2-40B4-BE49-F238E27FC236}">
                  <a16:creationId xmlns:a16="http://schemas.microsoft.com/office/drawing/2014/main" id="{E57B5839-E093-4F9B-897E-45440EE41206}"/>
                </a:ext>
              </a:extLst>
            </p:cNvPr>
            <p:cNvCxnSpPr/>
            <p:nvPr/>
          </p:nvCxnSpPr>
          <p:spPr>
            <a:xfrm>
              <a:off x="9371012" y="0"/>
              <a:ext cx="1219200" cy="6858000"/>
            </a:xfrm>
            <a:prstGeom prst="line">
              <a:avLst/>
            </a:prstGeom>
            <a:noFill/>
            <a:ln w="9525" cap="rnd" cmpd="sng" algn="ctr">
              <a:solidFill>
                <a:srgbClr val="5FCBEF">
                  <a:alpha val="70000"/>
                </a:srgbClr>
              </a:solidFill>
              <a:prstDash val="solid"/>
            </a:ln>
            <a:effectLst/>
          </p:spPr>
        </p:cxnSp>
        <p:cxnSp>
          <p:nvCxnSpPr>
            <p:cNvPr id="12" name="Straight Connector 11">
              <a:extLst>
                <a:ext uri="{FF2B5EF4-FFF2-40B4-BE49-F238E27FC236}">
                  <a16:creationId xmlns:a16="http://schemas.microsoft.com/office/drawing/2014/main" id="{D97E5678-9DCC-4A24-AB56-D8C642617865}"/>
                </a:ext>
              </a:extLst>
            </p:cNvPr>
            <p:cNvCxnSpPr/>
            <p:nvPr/>
          </p:nvCxnSpPr>
          <p:spPr>
            <a:xfrm flipH="1">
              <a:off x="7425267" y="3681413"/>
              <a:ext cx="4763558" cy="3176587"/>
            </a:xfrm>
            <a:prstGeom prst="line">
              <a:avLst/>
            </a:prstGeom>
            <a:noFill/>
            <a:ln w="9525" cap="rnd" cmpd="sng" algn="ctr">
              <a:solidFill>
                <a:srgbClr val="5FCBEF">
                  <a:alpha val="70000"/>
                </a:srgbClr>
              </a:solidFill>
              <a:prstDash val="solid"/>
            </a:ln>
            <a:effectLst/>
          </p:spPr>
        </p:cxnSp>
        <p:sp>
          <p:nvSpPr>
            <p:cNvPr id="13" name="Rectangle 23">
              <a:extLst>
                <a:ext uri="{FF2B5EF4-FFF2-40B4-BE49-F238E27FC236}">
                  <a16:creationId xmlns:a16="http://schemas.microsoft.com/office/drawing/2014/main" id="{FEE37157-79BC-44F9-B985-7B71D81BCED2}"/>
                </a:ext>
              </a:extLst>
            </p:cNvPr>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rgbClr val="5FCBEF">
                <a:alpha val="36000"/>
              </a:srgbClr>
            </a:solidFill>
            <a:ln w="12700" cap="rnd" cmpd="sng" algn="ctr">
              <a:noFill/>
              <a:prstDash val="solid"/>
            </a:ln>
            <a:effectLst/>
          </p:spPr>
          <p:txBody>
            <a:bodyPr/>
            <a:lstStyle/>
            <a:p>
              <a:endParaRPr lang="en-US">
                <a:latin typeface="+mn-lt"/>
                <a:ea typeface="+mn-ea"/>
                <a:cs typeface="+mn-cs"/>
              </a:endParaRPr>
            </a:p>
          </p:txBody>
        </p:sp>
        <p:sp>
          <p:nvSpPr>
            <p:cNvPr id="14" name="Rectangle 25">
              <a:extLst>
                <a:ext uri="{FF2B5EF4-FFF2-40B4-BE49-F238E27FC236}">
                  <a16:creationId xmlns:a16="http://schemas.microsoft.com/office/drawing/2014/main" id="{9F0F5069-361F-42C0-98F3-4069E36D709D}"/>
                </a:ext>
              </a:extLst>
            </p:cNvPr>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rgbClr val="5FCBEF">
                <a:alpha val="20000"/>
              </a:srgbClr>
            </a:solidFill>
            <a:ln w="12700" cap="rnd" cmpd="sng" algn="ctr">
              <a:noFill/>
              <a:prstDash val="solid"/>
            </a:ln>
            <a:effectLst/>
          </p:spPr>
          <p:txBody>
            <a:bodyPr/>
            <a:lstStyle/>
            <a:p>
              <a:endParaRPr lang="en-US">
                <a:latin typeface="+mn-lt"/>
                <a:ea typeface="+mn-ea"/>
                <a:cs typeface="+mn-cs"/>
              </a:endParaRPr>
            </a:p>
          </p:txBody>
        </p:sp>
        <p:sp>
          <p:nvSpPr>
            <p:cNvPr id="15" name="Isosceles Triangle 14">
              <a:extLst>
                <a:ext uri="{FF2B5EF4-FFF2-40B4-BE49-F238E27FC236}">
                  <a16:creationId xmlns:a16="http://schemas.microsoft.com/office/drawing/2014/main" id="{3FC0D8DF-AE6C-40AF-8034-5A0791D8C988}"/>
                </a:ext>
              </a:extLst>
            </p:cNvPr>
            <p:cNvSpPr/>
            <p:nvPr/>
          </p:nvSpPr>
          <p:spPr>
            <a:xfrm>
              <a:off x="8932333" y="3048000"/>
              <a:ext cx="3259667" cy="3810000"/>
            </a:xfrm>
            <a:prstGeom prst="triangle">
              <a:avLst>
                <a:gd name="adj" fmla="val 100000"/>
              </a:avLst>
            </a:prstGeom>
            <a:solidFill>
              <a:srgbClr val="5FCBEF">
                <a:lumMod val="75000"/>
                <a:alpha val="66000"/>
              </a:srgbClr>
            </a:solidFill>
            <a:ln w="12700" cap="rnd" cmpd="sng" algn="ctr">
              <a:noFill/>
              <a:prstDash val="solid"/>
            </a:ln>
            <a:effectLst/>
          </p:spPr>
          <p:txBody>
            <a:bodyPr/>
            <a:lstStyle/>
            <a:p>
              <a:endParaRPr lang="en-US">
                <a:latin typeface="+mn-lt"/>
                <a:ea typeface="+mn-ea"/>
                <a:cs typeface="+mn-cs"/>
              </a:endParaRPr>
            </a:p>
          </p:txBody>
        </p:sp>
        <p:sp>
          <p:nvSpPr>
            <p:cNvPr id="16" name="Rectangle 27">
              <a:extLst>
                <a:ext uri="{FF2B5EF4-FFF2-40B4-BE49-F238E27FC236}">
                  <a16:creationId xmlns:a16="http://schemas.microsoft.com/office/drawing/2014/main" id="{20035A91-BF79-43E3-A763-CA282C20ABAD}"/>
                </a:ext>
              </a:extLst>
            </p:cNvPr>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rgbClr val="5FCBEF">
                <a:lumMod val="75000"/>
                <a:alpha val="50000"/>
              </a:srgbClr>
            </a:solidFill>
            <a:ln w="12700" cap="rnd" cmpd="sng" algn="ctr">
              <a:noFill/>
              <a:prstDash val="solid"/>
            </a:ln>
            <a:effectLst/>
          </p:spPr>
          <p:txBody>
            <a:bodyPr/>
            <a:lstStyle/>
            <a:p>
              <a:endParaRPr lang="en-US">
                <a:latin typeface="+mn-lt"/>
                <a:ea typeface="+mn-ea"/>
                <a:cs typeface="+mn-cs"/>
              </a:endParaRPr>
            </a:p>
          </p:txBody>
        </p:sp>
        <p:sp>
          <p:nvSpPr>
            <p:cNvPr id="17" name="Rectangle 28">
              <a:extLst>
                <a:ext uri="{FF2B5EF4-FFF2-40B4-BE49-F238E27FC236}">
                  <a16:creationId xmlns:a16="http://schemas.microsoft.com/office/drawing/2014/main" id="{4A4E6502-BD08-45D8-8892-439106A2B9D6}"/>
                </a:ext>
              </a:extLst>
            </p:cNvPr>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rgbClr val="2E83C3">
                <a:alpha val="70000"/>
              </a:srgbClr>
            </a:solidFill>
            <a:ln w="12700" cap="rnd" cmpd="sng" algn="ctr">
              <a:noFill/>
              <a:prstDash val="solid"/>
            </a:ln>
            <a:effectLst/>
          </p:spPr>
          <p:txBody>
            <a:bodyPr/>
            <a:lstStyle/>
            <a:p>
              <a:endParaRPr lang="en-US">
                <a:latin typeface="+mn-lt"/>
                <a:ea typeface="+mn-ea"/>
                <a:cs typeface="+mn-cs"/>
              </a:endParaRPr>
            </a:p>
          </p:txBody>
        </p:sp>
        <p:sp>
          <p:nvSpPr>
            <p:cNvPr id="18" name="Rectangle 29">
              <a:extLst>
                <a:ext uri="{FF2B5EF4-FFF2-40B4-BE49-F238E27FC236}">
                  <a16:creationId xmlns:a16="http://schemas.microsoft.com/office/drawing/2014/main" id="{CC65017E-5D1C-42C1-979B-22EF89B2325E}"/>
                </a:ext>
              </a:extLst>
            </p:cNvPr>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rgbClr val="2E83C3">
                <a:lumMod val="75000"/>
                <a:alpha val="80000"/>
              </a:srgbClr>
            </a:solidFill>
            <a:ln w="12700" cap="rnd" cmpd="sng" algn="ctr">
              <a:noFill/>
              <a:prstDash val="solid"/>
            </a:ln>
            <a:effectLst/>
          </p:spPr>
          <p:txBody>
            <a:bodyPr/>
            <a:lstStyle/>
            <a:p>
              <a:endParaRPr lang="en-US">
                <a:latin typeface="+mn-lt"/>
                <a:ea typeface="+mn-ea"/>
                <a:cs typeface="+mn-cs"/>
              </a:endParaRPr>
            </a:p>
          </p:txBody>
        </p:sp>
        <p:sp>
          <p:nvSpPr>
            <p:cNvPr id="19" name="Isosceles Triangle 18">
              <a:extLst>
                <a:ext uri="{FF2B5EF4-FFF2-40B4-BE49-F238E27FC236}">
                  <a16:creationId xmlns:a16="http://schemas.microsoft.com/office/drawing/2014/main" id="{1091F846-63FE-41DB-BD72-5820DF32CAFF}"/>
                </a:ext>
              </a:extLst>
            </p:cNvPr>
            <p:cNvSpPr/>
            <p:nvPr/>
          </p:nvSpPr>
          <p:spPr>
            <a:xfrm>
              <a:off x="10371666" y="3589867"/>
              <a:ext cx="1817159" cy="3268133"/>
            </a:xfrm>
            <a:prstGeom prst="triangle">
              <a:avLst>
                <a:gd name="adj" fmla="val 100000"/>
              </a:avLst>
            </a:prstGeom>
            <a:solidFill>
              <a:srgbClr val="5FCBEF">
                <a:lumMod val="75000"/>
                <a:alpha val="66000"/>
              </a:srgbClr>
            </a:solidFill>
            <a:ln w="12700" cap="rnd" cmpd="sng" algn="ctr">
              <a:noFill/>
              <a:prstDash val="solid"/>
            </a:ln>
            <a:effectLst/>
          </p:spPr>
          <p:txBody>
            <a:bodyPr/>
            <a:lstStyle/>
            <a:p>
              <a:endParaRPr lang="en-US">
                <a:latin typeface="+mn-lt"/>
                <a:ea typeface="+mn-ea"/>
                <a:cs typeface="+mn-cs"/>
              </a:endParaRPr>
            </a:p>
          </p:txBody>
        </p:sp>
        <p:sp>
          <p:nvSpPr>
            <p:cNvPr id="20" name="Isosceles Triangle 19">
              <a:extLst>
                <a:ext uri="{FF2B5EF4-FFF2-40B4-BE49-F238E27FC236}">
                  <a16:creationId xmlns:a16="http://schemas.microsoft.com/office/drawing/2014/main" id="{1FF0B6AC-52C2-45A2-9BB3-019E54A928BA}"/>
                </a:ext>
              </a:extLst>
            </p:cNvPr>
            <p:cNvSpPr/>
            <p:nvPr/>
          </p:nvSpPr>
          <p:spPr>
            <a:xfrm>
              <a:off x="0" y="4013200"/>
              <a:ext cx="448733" cy="2844800"/>
            </a:xfrm>
            <a:prstGeom prst="triangle">
              <a:avLst>
                <a:gd name="adj" fmla="val 0"/>
              </a:avLst>
            </a:prstGeom>
            <a:solidFill>
              <a:srgbClr val="5FCBEF">
                <a:alpha val="70000"/>
              </a:srgbClr>
            </a:solidFill>
            <a:ln w="12700" cap="rnd" cmpd="sng" algn="ctr">
              <a:noFill/>
              <a:prstDash val="solid"/>
            </a:ln>
            <a:effectLst/>
          </p:spPr>
          <p:txBody>
            <a:bodyPr/>
            <a:lstStyle/>
            <a:p>
              <a:endParaRPr lang="en-US">
                <a:latin typeface="+mn-lt"/>
                <a:ea typeface="+mn-ea"/>
                <a:cs typeface="+mn-cs"/>
              </a:endParaRPr>
            </a:p>
          </p:txBody>
        </p:sp>
      </p:gr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solidFill>
                <a:latin typeface="+mn-lt"/>
                <a:ea typeface="+mn-ea"/>
                <a:cs typeface="+mn-cs"/>
                <a:sym typeface="Trebuchet MS" panose="020B0603020202020204" pitchFamily="34" charset="0"/>
              </a:rPr>
              <a:t>Copyright © 2023 by Boston Consulting Group. All rights reserved.</a:t>
            </a:r>
          </a:p>
        </p:txBody>
      </p:sp>
      <p:sp>
        <p:nvSpPr>
          <p:cNvPr id="4" name="Title 3">
            <a:extLst>
              <a:ext uri="{FF2B5EF4-FFF2-40B4-BE49-F238E27FC236}">
                <a16:creationId xmlns:a16="http://schemas.microsoft.com/office/drawing/2014/main" id="{A086968D-E10C-436F-9DA1-0C7952E929E5}"/>
              </a:ext>
            </a:extLst>
          </p:cNvPr>
          <p:cNvSpPr>
            <a:spLocks noGrp="1"/>
          </p:cNvSpPr>
          <p:nvPr>
            <p:ph type="title" hasCustomPrompt="1"/>
          </p:nvPr>
        </p:nvSpPr>
        <p:spPr/>
        <p:txBody>
          <a:bodyPr vert="horz"/>
          <a:lstStyle>
            <a:lvl1pPr>
              <a:defRPr/>
            </a:lvl1pPr>
          </a:lstStyle>
          <a:p>
            <a:r>
              <a:rPr lang="en-US"/>
              <a:t>Click to add title</a:t>
            </a:r>
          </a:p>
        </p:txBody>
      </p:sp>
      <p:sp>
        <p:nvSpPr>
          <p:cNvPr id="21" name="Slide Number">
            <a:extLst>
              <a:ext uri="{FF2B5EF4-FFF2-40B4-BE49-F238E27FC236}">
                <a16:creationId xmlns:a16="http://schemas.microsoft.com/office/drawing/2014/main" id="{BE5502BD-C4E5-465E-A6C6-8EA43F3F2CE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952264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1592673-2B33-4658-AD7B-A9E996D884B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8" name="think-cell data - do not delete" hidden="1">
                        <a:extLst>
                          <a:ext uri="{FF2B5EF4-FFF2-40B4-BE49-F238E27FC236}">
                            <a16:creationId xmlns:a16="http://schemas.microsoft.com/office/drawing/2014/main" id="{61592673-2B33-4658-AD7B-A9E996D884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4CA5D993-581D-485E-B54B-B3B26088A546}"/>
              </a:ext>
            </a:extLst>
          </p:cNvPr>
          <p:cNvGrpSpPr/>
          <p:nvPr userDrawn="1"/>
        </p:nvGrpSpPr>
        <p:grpSpPr>
          <a:xfrm>
            <a:off x="0" y="-8467"/>
            <a:ext cx="12192000" cy="6866467"/>
            <a:chOff x="0" y="-8467"/>
            <a:chExt cx="12192000" cy="6866467"/>
          </a:xfrm>
        </p:grpSpPr>
        <p:cxnSp>
          <p:nvCxnSpPr>
            <p:cNvPr id="11" name="Straight Connector 10">
              <a:extLst>
                <a:ext uri="{FF2B5EF4-FFF2-40B4-BE49-F238E27FC236}">
                  <a16:creationId xmlns:a16="http://schemas.microsoft.com/office/drawing/2014/main" id="{856756B4-6443-4E8F-850B-97EE4264BBEB}"/>
                </a:ext>
              </a:extLst>
            </p:cNvPr>
            <p:cNvCxnSpPr/>
            <p:nvPr/>
          </p:nvCxnSpPr>
          <p:spPr>
            <a:xfrm flipH="1">
              <a:off x="7425267" y="3681413"/>
              <a:ext cx="4763558" cy="3176587"/>
            </a:xfrm>
            <a:prstGeom prst="line">
              <a:avLst/>
            </a:prstGeom>
            <a:noFill/>
            <a:ln w="9525" cap="rnd" cmpd="sng" algn="ctr">
              <a:solidFill>
                <a:srgbClr val="5FCBEF">
                  <a:alpha val="70000"/>
                </a:srgbClr>
              </a:solidFill>
              <a:prstDash val="solid"/>
            </a:ln>
            <a:effectLst/>
          </p:spPr>
        </p:cxnSp>
        <p:sp>
          <p:nvSpPr>
            <p:cNvPr id="14" name="Isosceles Triangle 13">
              <a:extLst>
                <a:ext uri="{FF2B5EF4-FFF2-40B4-BE49-F238E27FC236}">
                  <a16:creationId xmlns:a16="http://schemas.microsoft.com/office/drawing/2014/main" id="{C5054E71-BBF8-4D5E-9A4D-62A11B6FB6BD}"/>
                </a:ext>
              </a:extLst>
            </p:cNvPr>
            <p:cNvSpPr/>
            <p:nvPr/>
          </p:nvSpPr>
          <p:spPr>
            <a:xfrm>
              <a:off x="8932333" y="3048000"/>
              <a:ext cx="3259667" cy="3810000"/>
            </a:xfrm>
            <a:prstGeom prst="triangle">
              <a:avLst>
                <a:gd name="adj" fmla="val 100000"/>
              </a:avLst>
            </a:prstGeom>
            <a:solidFill>
              <a:srgbClr val="5FCBEF">
                <a:lumMod val="75000"/>
                <a:alpha val="66000"/>
              </a:srgbClr>
            </a:solidFill>
            <a:ln w="12700" cap="rnd" cmpd="sng" algn="ctr">
              <a:noFill/>
              <a:prstDash val="solid"/>
            </a:ln>
            <a:effectLst/>
          </p:spPr>
          <p:txBody>
            <a:bodyPr/>
            <a:lstStyle/>
            <a:p>
              <a:endParaRPr lang="en-US">
                <a:latin typeface="+mn-lt"/>
                <a:ea typeface="+mn-ea"/>
                <a:cs typeface="+mn-cs"/>
              </a:endParaRPr>
            </a:p>
          </p:txBody>
        </p:sp>
        <p:sp>
          <p:nvSpPr>
            <p:cNvPr id="16" name="Rectangle 28">
              <a:extLst>
                <a:ext uri="{FF2B5EF4-FFF2-40B4-BE49-F238E27FC236}">
                  <a16:creationId xmlns:a16="http://schemas.microsoft.com/office/drawing/2014/main" id="{2D1FCD25-4F69-45D2-97F5-8A56CA70D172}"/>
                </a:ext>
              </a:extLst>
            </p:cNvPr>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rgbClr val="2E83C3">
                <a:alpha val="70000"/>
              </a:srgbClr>
            </a:solidFill>
            <a:ln w="12700" cap="rnd" cmpd="sng" algn="ctr">
              <a:noFill/>
              <a:prstDash val="solid"/>
            </a:ln>
            <a:effectLst/>
          </p:spPr>
          <p:txBody>
            <a:bodyPr/>
            <a:lstStyle/>
            <a:p>
              <a:endParaRPr lang="en-US">
                <a:latin typeface="+mn-lt"/>
                <a:ea typeface="+mn-ea"/>
                <a:cs typeface="+mn-cs"/>
              </a:endParaRPr>
            </a:p>
          </p:txBody>
        </p:sp>
        <p:sp>
          <p:nvSpPr>
            <p:cNvPr id="17" name="Rectangle 29">
              <a:extLst>
                <a:ext uri="{FF2B5EF4-FFF2-40B4-BE49-F238E27FC236}">
                  <a16:creationId xmlns:a16="http://schemas.microsoft.com/office/drawing/2014/main" id="{29998925-0117-42C2-92F2-11EEF2CE7F24}"/>
                </a:ext>
              </a:extLst>
            </p:cNvPr>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rgbClr val="2E83C3">
                <a:lumMod val="75000"/>
                <a:alpha val="80000"/>
              </a:srgbClr>
            </a:solidFill>
            <a:ln w="12700" cap="rnd" cmpd="sng" algn="ctr">
              <a:noFill/>
              <a:prstDash val="solid"/>
            </a:ln>
            <a:effectLst/>
          </p:spPr>
          <p:txBody>
            <a:bodyPr/>
            <a:lstStyle/>
            <a:p>
              <a:endParaRPr lang="en-US">
                <a:latin typeface="+mn-lt"/>
                <a:ea typeface="+mn-ea"/>
                <a:cs typeface="+mn-cs"/>
              </a:endParaRPr>
            </a:p>
          </p:txBody>
        </p:sp>
        <p:sp>
          <p:nvSpPr>
            <p:cNvPr id="18" name="Isosceles Triangle 17">
              <a:extLst>
                <a:ext uri="{FF2B5EF4-FFF2-40B4-BE49-F238E27FC236}">
                  <a16:creationId xmlns:a16="http://schemas.microsoft.com/office/drawing/2014/main" id="{3246F38B-D976-446C-A7CB-33034A58F30A}"/>
                </a:ext>
              </a:extLst>
            </p:cNvPr>
            <p:cNvSpPr/>
            <p:nvPr/>
          </p:nvSpPr>
          <p:spPr>
            <a:xfrm>
              <a:off x="10371666" y="3589867"/>
              <a:ext cx="1817159" cy="3268133"/>
            </a:xfrm>
            <a:prstGeom prst="triangle">
              <a:avLst>
                <a:gd name="adj" fmla="val 100000"/>
              </a:avLst>
            </a:prstGeom>
            <a:solidFill>
              <a:srgbClr val="5FCBEF">
                <a:lumMod val="75000"/>
                <a:alpha val="66000"/>
              </a:srgbClr>
            </a:solidFill>
            <a:ln w="12700" cap="rnd" cmpd="sng" algn="ctr">
              <a:noFill/>
              <a:prstDash val="solid"/>
            </a:ln>
            <a:effectLst/>
          </p:spPr>
          <p:txBody>
            <a:bodyPr/>
            <a:lstStyle/>
            <a:p>
              <a:endParaRPr lang="en-US">
                <a:latin typeface="+mn-lt"/>
                <a:ea typeface="+mn-ea"/>
                <a:cs typeface="+mn-cs"/>
              </a:endParaRPr>
            </a:p>
          </p:txBody>
        </p:sp>
        <p:sp>
          <p:nvSpPr>
            <p:cNvPr id="19" name="Isosceles Triangle 18">
              <a:extLst>
                <a:ext uri="{FF2B5EF4-FFF2-40B4-BE49-F238E27FC236}">
                  <a16:creationId xmlns:a16="http://schemas.microsoft.com/office/drawing/2014/main" id="{C0B7689F-E306-4285-9FFB-3B5E9A01FAC3}"/>
                </a:ext>
              </a:extLst>
            </p:cNvPr>
            <p:cNvSpPr/>
            <p:nvPr/>
          </p:nvSpPr>
          <p:spPr>
            <a:xfrm>
              <a:off x="0" y="4013200"/>
              <a:ext cx="448733" cy="2844800"/>
            </a:xfrm>
            <a:prstGeom prst="triangle">
              <a:avLst>
                <a:gd name="adj" fmla="val 0"/>
              </a:avLst>
            </a:prstGeom>
            <a:solidFill>
              <a:srgbClr val="5FCBEF">
                <a:alpha val="70000"/>
              </a:srgbClr>
            </a:solidFill>
            <a:ln w="12700" cap="rnd" cmpd="sng" algn="ctr">
              <a:noFill/>
              <a:prstDash val="solid"/>
            </a:ln>
            <a:effectLst/>
          </p:spPr>
          <p:txBody>
            <a:bodyPr/>
            <a:lstStyle/>
            <a:p>
              <a:endParaRPr lang="en-US">
                <a:latin typeface="+mn-lt"/>
                <a:ea typeface="+mn-ea"/>
                <a:cs typeface="+mn-cs"/>
              </a:endParaRPr>
            </a:p>
          </p:txBody>
        </p:sp>
      </p:grpSp>
      <p:sp>
        <p:nvSpPr>
          <p:cNvPr id="2" name="Title 1"/>
          <p:cNvSpPr>
            <a:spLocks noGrp="1"/>
          </p:cNvSpPr>
          <p:nvPr>
            <p:ph type="title"/>
          </p:nvPr>
        </p:nvSpPr>
        <p:spPr>
          <a:xfrm>
            <a:off x="554736" y="487172"/>
            <a:ext cx="8675434" cy="731520"/>
          </a:xfrm>
        </p:spPr>
        <p:txBody>
          <a:bodyPr vert="horz"/>
          <a:lstStyle>
            <a:lvl1pPr>
              <a:defRPr sz="3600">
                <a:latin typeface="+mj-lt"/>
                <a:ea typeface="+mj-ea"/>
                <a:cs typeface="+mj-cs"/>
              </a:defRPr>
            </a:lvl1pPr>
          </a:lstStyle>
          <a:p>
            <a:r>
              <a:rPr lang="en-US"/>
              <a:t>Click to edit Master title style</a:t>
            </a:r>
          </a:p>
        </p:txBody>
      </p:sp>
      <p:sp>
        <p:nvSpPr>
          <p:cNvPr id="3" name="Content Placeholder 2"/>
          <p:cNvSpPr>
            <a:spLocks noGrp="1"/>
          </p:cNvSpPr>
          <p:nvPr>
            <p:ph idx="1" hasCustomPrompt="1"/>
          </p:nvPr>
        </p:nvSpPr>
        <p:spPr>
          <a:xfrm>
            <a:off x="554736" y="1825625"/>
            <a:ext cx="8670583" cy="4351338"/>
          </a:xfrm>
        </p:spPr>
        <p:txBody>
          <a:bodyPr lIns="91440" tIns="45720" rIns="91440" bIns="45720"/>
          <a:lstStyle>
            <a:lvl1pPr marL="347472" indent="-347472">
              <a:lnSpc>
                <a:spcPct val="100000"/>
              </a:lnSpc>
              <a:spcBef>
                <a:spcPts val="1000"/>
              </a:spcBef>
              <a:spcAft>
                <a:spcPts val="0"/>
              </a:spcAft>
              <a:buClr>
                <a:schemeClr val="tx2"/>
              </a:buClr>
              <a:buFont typeface="Wingdings 3" panose="05040102010807070707" pitchFamily="18" charset="2"/>
              <a:buChar char="u"/>
              <a:defRPr sz="1800">
                <a:latin typeface="+mn-lt"/>
                <a:ea typeface="+mn-ea"/>
                <a:cs typeface="+mn-cs"/>
              </a:defRPr>
            </a:lvl1pPr>
            <a:lvl2pPr marL="740664" indent="-347472">
              <a:lnSpc>
                <a:spcPct val="100000"/>
              </a:lnSpc>
              <a:spcBef>
                <a:spcPts val="1000"/>
              </a:spcBef>
              <a:spcAft>
                <a:spcPts val="0"/>
              </a:spcAft>
              <a:buClr>
                <a:schemeClr val="tx2"/>
              </a:buClr>
              <a:buFont typeface="Wingdings 3" panose="05040102010807070707" pitchFamily="18" charset="2"/>
              <a:buChar char="u"/>
              <a:defRPr sz="1600">
                <a:latin typeface="+mn-lt"/>
                <a:ea typeface="+mn-ea"/>
                <a:cs typeface="+mn-cs"/>
              </a:defRPr>
            </a:lvl2pPr>
            <a:lvl3pPr marL="1143000" indent="-228600">
              <a:lnSpc>
                <a:spcPct val="100000"/>
              </a:lnSpc>
              <a:spcBef>
                <a:spcPts val="1000"/>
              </a:spcBef>
              <a:spcAft>
                <a:spcPts val="0"/>
              </a:spcAft>
              <a:buClr>
                <a:schemeClr val="tx2"/>
              </a:buClr>
              <a:buFont typeface="Wingdings 3" panose="05040102010807070707" pitchFamily="18" charset="2"/>
              <a:buChar char="u"/>
              <a:defRPr sz="1400">
                <a:latin typeface="+mn-lt"/>
                <a:ea typeface="+mn-ea"/>
                <a:cs typeface="+mn-cs"/>
              </a:defRPr>
            </a:lvl3pPr>
            <a:lvl4pPr marL="1600200" indent="-228600">
              <a:lnSpc>
                <a:spcPct val="100000"/>
              </a:lnSpc>
              <a:spcBef>
                <a:spcPts val="1000"/>
              </a:spcBef>
              <a:spcAft>
                <a:spcPts val="0"/>
              </a:spcAft>
              <a:buClr>
                <a:schemeClr val="tx2"/>
              </a:buClr>
              <a:buFont typeface="Wingdings 3" panose="05040102010807070707" pitchFamily="18" charset="2"/>
              <a:buChar char="u"/>
              <a:defRPr sz="1200" b="0">
                <a:solidFill>
                  <a:schemeClr val="tx1"/>
                </a:solidFill>
                <a:latin typeface="+mn-lt"/>
                <a:ea typeface="+mn-ea"/>
                <a:cs typeface="+mn-cs"/>
              </a:defRPr>
            </a:lvl4pPr>
            <a:lvl5pPr marL="2057400" indent="-228600">
              <a:lnSpc>
                <a:spcPct val="100000"/>
              </a:lnSpc>
              <a:spcBef>
                <a:spcPts val="1000"/>
              </a:spcBef>
              <a:spcAft>
                <a:spcPts val="0"/>
              </a:spcAft>
              <a:buClr>
                <a:schemeClr val="tx2"/>
              </a:buClr>
              <a:buFont typeface="Wingdings 3" panose="05040102010807070707" pitchFamily="18" charset="2"/>
              <a:buChar char="u"/>
              <a:defRPr sz="1200" b="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lide Number">
            <a:extLst>
              <a:ext uri="{FF2B5EF4-FFF2-40B4-BE49-F238E27FC236}">
                <a16:creationId xmlns:a16="http://schemas.microsoft.com/office/drawing/2014/main" id="{E7FFCBC1-B7B1-419E-A1EE-A927A4460AA4}"/>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1843551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1_MESC 3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6300963" y="1690698"/>
            <a:ext cx="5134824"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a:t>
            </a:r>
            <a:br>
              <a:rPr lang="en-US"/>
            </a:br>
            <a:r>
              <a:rPr lang="en-US"/>
              <a:t>Master title style</a:t>
            </a:r>
          </a:p>
        </p:txBody>
      </p:sp>
      <p:sp>
        <p:nvSpPr>
          <p:cNvPr id="20" name="Text Placeholder 17"/>
          <p:cNvSpPr>
            <a:spLocks noGrp="1"/>
          </p:cNvSpPr>
          <p:nvPr>
            <p:ph type="body" sz="quarter" idx="10" hasCustomPrompt="1"/>
          </p:nvPr>
        </p:nvSpPr>
        <p:spPr>
          <a:xfrm>
            <a:off x="6300964" y="4996580"/>
            <a:ext cx="5134824"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6300963" y="5800923"/>
            <a:ext cx="5134824"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descr="MESC Logotype: Office of Manufacturing and Energy Supply Chains">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360944"/>
            <a:ext cx="4287614" cy="1143364"/>
          </a:xfrm>
          <a:prstGeom prst="rect">
            <a:avLst/>
          </a:prstGeom>
        </p:spPr>
      </p:pic>
      <p:pic>
        <p:nvPicPr>
          <p:cNvPr id="2" name="Picture 1" descr="Robotic arms on an assembly line">
            <a:extLst>
              <a:ext uri="{FF2B5EF4-FFF2-40B4-BE49-F238E27FC236}">
                <a16:creationId xmlns:a16="http://schemas.microsoft.com/office/drawing/2014/main" id="{6B7D44DA-53BE-9E8E-1FE6-461E56658DC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 y="0"/>
            <a:ext cx="5891037" cy="6858000"/>
          </a:xfrm>
          <a:prstGeom prst="rect">
            <a:avLst/>
          </a:prstGeom>
        </p:spPr>
      </p:pic>
    </p:spTree>
    <p:extLst>
      <p:ext uri="{BB962C8B-B14F-4D97-AF65-F5344CB8AC3E}">
        <p14:creationId xmlns:p14="http://schemas.microsoft.com/office/powerpoint/2010/main" val="26116718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2_MESC 1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739559" y="1690698"/>
            <a:ext cx="5356440"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a:t>
            </a:r>
            <a:br>
              <a:rPr lang="en-US"/>
            </a:br>
            <a:r>
              <a:rPr lang="en-US"/>
              <a:t>Master title style</a:t>
            </a:r>
          </a:p>
        </p:txBody>
      </p:sp>
      <p:sp>
        <p:nvSpPr>
          <p:cNvPr id="20" name="Text Placeholder 17"/>
          <p:cNvSpPr>
            <a:spLocks noGrp="1"/>
          </p:cNvSpPr>
          <p:nvPr>
            <p:ph type="body" sz="quarter" idx="10" hasCustomPrompt="1"/>
          </p:nvPr>
        </p:nvSpPr>
        <p:spPr>
          <a:xfrm>
            <a:off x="739560" y="4996580"/>
            <a:ext cx="5356440"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745474" y="5754624"/>
            <a:ext cx="3798903"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4596" y="360944"/>
            <a:ext cx="4287614" cy="1143364"/>
          </a:xfrm>
          <a:prstGeom prst="rect">
            <a:avLst/>
          </a:prstGeom>
        </p:spPr>
      </p:pic>
      <p:pic>
        <p:nvPicPr>
          <p:cNvPr id="4" name="Picture 3" descr="Worker with a tablet configuring robotics">
            <a:extLst>
              <a:ext uri="{FF2B5EF4-FFF2-40B4-BE49-F238E27FC236}">
                <a16:creationId xmlns:a16="http://schemas.microsoft.com/office/drawing/2014/main" id="{85D9CC86-4E94-EBFE-494B-6B3AF30284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70" b="-1560"/>
          <a:stretch/>
        </p:blipFill>
        <p:spPr>
          <a:xfrm>
            <a:off x="6285081" y="-29900"/>
            <a:ext cx="5955045" cy="7053671"/>
          </a:xfrm>
          <a:prstGeom prst="rect">
            <a:avLst/>
          </a:prstGeom>
          <a:ln>
            <a:noFill/>
          </a:ln>
        </p:spPr>
      </p:pic>
    </p:spTree>
    <p:extLst>
      <p:ext uri="{BB962C8B-B14F-4D97-AF65-F5344CB8AC3E}">
        <p14:creationId xmlns:p14="http://schemas.microsoft.com/office/powerpoint/2010/main" val="4986135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4_MESC 3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739560" y="1690698"/>
            <a:ext cx="5356440"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a:t>
            </a:r>
            <a:br>
              <a:rPr lang="en-US"/>
            </a:br>
            <a:r>
              <a:rPr lang="en-US"/>
              <a:t>Master title style</a:t>
            </a:r>
          </a:p>
        </p:txBody>
      </p:sp>
      <p:sp>
        <p:nvSpPr>
          <p:cNvPr id="20" name="Text Placeholder 17"/>
          <p:cNvSpPr>
            <a:spLocks noGrp="1"/>
          </p:cNvSpPr>
          <p:nvPr>
            <p:ph type="body" sz="quarter" idx="10" hasCustomPrompt="1"/>
          </p:nvPr>
        </p:nvSpPr>
        <p:spPr>
          <a:xfrm>
            <a:off x="739561" y="4996580"/>
            <a:ext cx="5356440"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745475" y="5754624"/>
            <a:ext cx="3798903"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descr="MESC Logotype: Office of Manufacturing and Energy Supply Chains">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34597" y="360944"/>
            <a:ext cx="4287614" cy="1143364"/>
          </a:xfrm>
          <a:prstGeom prst="rect">
            <a:avLst/>
          </a:prstGeom>
        </p:spPr>
      </p:pic>
      <p:pic>
        <p:nvPicPr>
          <p:cNvPr id="4" name="Picture 3" descr="Two workers wearing hard hats pointing at windmills">
            <a:extLst>
              <a:ext uri="{FF2B5EF4-FFF2-40B4-BE49-F238E27FC236}">
                <a16:creationId xmlns:a16="http://schemas.microsoft.com/office/drawing/2014/main" id="{85D9CC86-4E94-EBFE-494B-6B3AF30284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1159"/>
          <a:stretch/>
        </p:blipFill>
        <p:spPr>
          <a:xfrm>
            <a:off x="6300963" y="-16042"/>
            <a:ext cx="5939307" cy="6994358"/>
          </a:xfrm>
          <a:prstGeom prst="rect">
            <a:avLst/>
          </a:prstGeom>
        </p:spPr>
      </p:pic>
    </p:spTree>
    <p:extLst>
      <p:ext uri="{BB962C8B-B14F-4D97-AF65-F5344CB8AC3E}">
        <p14:creationId xmlns:p14="http://schemas.microsoft.com/office/powerpoint/2010/main" val="8141601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3_MESC 2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6300964" y="1690698"/>
            <a:ext cx="5151475"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title style</a:t>
            </a:r>
          </a:p>
        </p:txBody>
      </p:sp>
      <p:sp>
        <p:nvSpPr>
          <p:cNvPr id="20" name="Text Placeholder 17"/>
          <p:cNvSpPr>
            <a:spLocks noGrp="1"/>
          </p:cNvSpPr>
          <p:nvPr>
            <p:ph type="body" sz="quarter" idx="10" hasCustomPrompt="1"/>
          </p:nvPr>
        </p:nvSpPr>
        <p:spPr>
          <a:xfrm>
            <a:off x="6300964" y="4996580"/>
            <a:ext cx="5151476"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6300964" y="5798775"/>
            <a:ext cx="5151475"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descr="MESC Logotype: Office of Manufacturing and Energy Supply Chains">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360944"/>
            <a:ext cx="4287614" cy="1143364"/>
          </a:xfrm>
          <a:prstGeom prst="rect">
            <a:avLst/>
          </a:prstGeom>
        </p:spPr>
      </p:pic>
      <p:pic>
        <p:nvPicPr>
          <p:cNvPr id="4" name="Picture 3" descr="Solar panels, wind turbines and an energy storage building in front of a city">
            <a:extLst>
              <a:ext uri="{FF2B5EF4-FFF2-40B4-BE49-F238E27FC236}">
                <a16:creationId xmlns:a16="http://schemas.microsoft.com/office/drawing/2014/main" id="{85D9CC86-4E94-EBFE-494B-6B3AF302847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159"/>
          <a:stretch/>
        </p:blipFill>
        <p:spPr>
          <a:xfrm>
            <a:off x="0" y="-90293"/>
            <a:ext cx="5891037" cy="6937513"/>
          </a:xfrm>
          <a:prstGeom prst="rect">
            <a:avLst/>
          </a:prstGeom>
        </p:spPr>
      </p:pic>
    </p:spTree>
    <p:extLst>
      <p:ext uri="{BB962C8B-B14F-4D97-AF65-F5344CB8AC3E}">
        <p14:creationId xmlns:p14="http://schemas.microsoft.com/office/powerpoint/2010/main" val="36003200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5_MESC 40">
    <p:spTree>
      <p:nvGrpSpPr>
        <p:cNvPr id="1" name=""/>
        <p:cNvGrpSpPr/>
        <p:nvPr/>
      </p:nvGrpSpPr>
      <p:grpSpPr>
        <a:xfrm>
          <a:off x="0" y="0"/>
          <a:ext cx="0" cy="0"/>
          <a:chOff x="0" y="0"/>
          <a:chExt cx="0" cy="0"/>
        </a:xfrm>
      </p:grpSpPr>
      <p:sp>
        <p:nvSpPr>
          <p:cNvPr id="19" name="Subtitle 2"/>
          <p:cNvSpPr>
            <a:spLocks noGrp="1"/>
          </p:cNvSpPr>
          <p:nvPr>
            <p:ph type="subTitle" idx="1" hasCustomPrompt="1"/>
          </p:nvPr>
        </p:nvSpPr>
        <p:spPr>
          <a:xfrm>
            <a:off x="6300963" y="1690698"/>
            <a:ext cx="5134824" cy="3132477"/>
          </a:xfrm>
          <a:prstGeom prst="rect">
            <a:avLst/>
          </a:prstGeom>
        </p:spPr>
        <p:txBody>
          <a:bodyPr>
            <a:normAutofit/>
          </a:bodyPr>
          <a:lstStyle>
            <a:lvl1pPr marL="0" indent="0" algn="l">
              <a:buNone/>
              <a:defRPr sz="4400" b="1" i="0" baseline="0">
                <a:solidFill>
                  <a:schemeClr val="tx2"/>
                </a:solidFill>
                <a:latin typeface="Avenir Book" panose="02000503020000020003" pitchFamily="2" charset="0"/>
                <a:cs typeface="Aria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a:t>
            </a:r>
            <a:br>
              <a:rPr lang="en-US"/>
            </a:br>
            <a:r>
              <a:rPr lang="en-US"/>
              <a:t>Master title style</a:t>
            </a:r>
          </a:p>
        </p:txBody>
      </p:sp>
      <p:sp>
        <p:nvSpPr>
          <p:cNvPr id="20" name="Text Placeholder 17"/>
          <p:cNvSpPr>
            <a:spLocks noGrp="1"/>
          </p:cNvSpPr>
          <p:nvPr>
            <p:ph type="body" sz="quarter" idx="10" hasCustomPrompt="1"/>
          </p:nvPr>
        </p:nvSpPr>
        <p:spPr>
          <a:xfrm>
            <a:off x="6300964" y="4996580"/>
            <a:ext cx="5134824" cy="331125"/>
          </a:xfrm>
          <a:prstGeom prst="rect">
            <a:avLst/>
          </a:prstGeom>
        </p:spPr>
        <p:txBody>
          <a:bodyPr>
            <a:noAutofit/>
          </a:bodyPr>
          <a:lstStyle>
            <a:lvl1pPr marL="0" marR="0" indent="0" algn="l" defTabSz="342900" rtl="0" eaLnBrk="1" fontAlgn="auto" latinLnBrk="0" hangingPunct="1">
              <a:lnSpc>
                <a:spcPct val="100000"/>
              </a:lnSpc>
              <a:spcBef>
                <a:spcPct val="20000"/>
              </a:spcBef>
              <a:spcAft>
                <a:spcPts val="0"/>
              </a:spcAft>
              <a:buClrTx/>
              <a:buSzTx/>
              <a:buFontTx/>
              <a:buNone/>
              <a:tabLst/>
              <a:defRPr kumimoji="0" lang="en-US" sz="1600" b="1" i="0" u="none" strike="noStrike" kern="1200" cap="none" spc="0" normalizeH="0" baseline="0" noProof="0">
                <a:ln>
                  <a:noFill/>
                </a:ln>
                <a:solidFill>
                  <a:srgbClr val="282B2E"/>
                </a:solidFill>
                <a:effectLst/>
                <a:uLnTx/>
                <a:uFillTx/>
                <a:latin typeface="Avenir Black" panose="02000503020000020003" pitchFamily="2" charset="0"/>
                <a:cs typeface="Arial"/>
              </a:defRPr>
            </a:lvl1pPr>
          </a:lstStyle>
          <a:p>
            <a:pPr lvl="0"/>
            <a:r>
              <a:rPr lang="en-US" noProof="0"/>
              <a:t>CLICK TO EDIT MASTER TEXT STYLES</a:t>
            </a:r>
          </a:p>
        </p:txBody>
      </p:sp>
      <p:sp>
        <p:nvSpPr>
          <p:cNvPr id="22" name="Text Placeholder 18"/>
          <p:cNvSpPr>
            <a:spLocks noGrp="1"/>
          </p:cNvSpPr>
          <p:nvPr>
            <p:ph type="body" sz="quarter" idx="13" hasCustomPrompt="1"/>
          </p:nvPr>
        </p:nvSpPr>
        <p:spPr>
          <a:xfrm>
            <a:off x="6300963" y="5800923"/>
            <a:ext cx="5134824" cy="288687"/>
          </a:xfrm>
          <a:prstGeom prst="rect">
            <a:avLst/>
          </a:prstGeom>
        </p:spPr>
        <p:txBody>
          <a:bodyPr>
            <a:normAutofit/>
          </a:bodyPr>
          <a:lstStyle>
            <a:lvl1pPr>
              <a:buNone/>
              <a:defRPr sz="1200">
                <a:solidFill>
                  <a:schemeClr val="tx2"/>
                </a:solidFill>
                <a:latin typeface="Calibri" panose="020F0502020204030204" pitchFamily="34" charset="0"/>
                <a:cs typeface="Calibri" panose="020F0502020204030204" pitchFamily="34" charset="0"/>
              </a:defRPr>
            </a:lvl1pPr>
            <a:lvl5pPr>
              <a:defRPr/>
            </a:lvl5pPr>
          </a:lstStyle>
          <a:p>
            <a:pPr lvl="0"/>
            <a:r>
              <a:rPr lang="en-US"/>
              <a:t>CLICK TO EDIT MASTER TEXT STYLES</a:t>
            </a:r>
          </a:p>
        </p:txBody>
      </p:sp>
      <p:pic>
        <p:nvPicPr>
          <p:cNvPr id="18" name="Picture 17" descr="MESC Logotype: Office of Manufacturing and Energy Supply Chains">
            <a:extLst>
              <a:ext uri="{FF2B5EF4-FFF2-40B4-BE49-F238E27FC236}">
                <a16:creationId xmlns:a16="http://schemas.microsoft.com/office/drawing/2014/main" id="{D87B9FFA-F7F6-93D4-D770-B7F388E192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096000" y="360944"/>
            <a:ext cx="4287614" cy="1143364"/>
          </a:xfrm>
          <a:prstGeom prst="rect">
            <a:avLst/>
          </a:prstGeom>
        </p:spPr>
      </p:pic>
      <p:pic>
        <p:nvPicPr>
          <p:cNvPr id="4" name="Picture 3">
            <a:extLst>
              <a:ext uri="{FF2B5EF4-FFF2-40B4-BE49-F238E27FC236}">
                <a16:creationId xmlns:a16="http://schemas.microsoft.com/office/drawing/2014/main" id="{85D9CC86-4E94-EBFE-494B-6B3AF302847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6361"/>
            <a:ext cx="5891037" cy="6864361"/>
          </a:xfrm>
          <a:prstGeom prst="rect">
            <a:avLst/>
          </a:prstGeom>
        </p:spPr>
      </p:pic>
      <p:sp>
        <p:nvSpPr>
          <p:cNvPr id="83" name="TextBox 82">
            <a:extLst>
              <a:ext uri="{FF2B5EF4-FFF2-40B4-BE49-F238E27FC236}">
                <a16:creationId xmlns:a16="http://schemas.microsoft.com/office/drawing/2014/main" id="{FB2A2F34-2261-7551-0886-078BA1B69785}"/>
              </a:ext>
            </a:extLst>
          </p:cNvPr>
          <p:cNvSpPr txBox="1"/>
          <p:nvPr userDrawn="1"/>
        </p:nvSpPr>
        <p:spPr>
          <a:xfrm>
            <a:off x="0" y="4411223"/>
            <a:ext cx="5891038" cy="307777"/>
          </a:xfrm>
          <a:prstGeom prst="rect">
            <a:avLst/>
          </a:prstGeom>
          <a:noFill/>
        </p:spPr>
        <p:txBody>
          <a:bodyPr wrap="square" rtlCol="0">
            <a:spAutoFit/>
          </a:bodyPr>
          <a:lstStyle/>
          <a:p>
            <a:pPr algn="ctr"/>
            <a:r>
              <a:rPr lang="en-US" sz="1400" i="0" spc="300">
                <a:solidFill>
                  <a:schemeClr val="bg1"/>
                </a:solidFill>
                <a:effectLst>
                  <a:outerShdw blurRad="50800" dist="38100" dir="2700000" algn="tl" rotWithShape="0">
                    <a:schemeClr val="accent5">
                      <a:alpha val="40000"/>
                    </a:schemeClr>
                  </a:outerShdw>
                </a:effectLst>
                <a:latin typeface="Avenir Book" panose="02000503020000020003" pitchFamily="2" charset="0"/>
              </a:rPr>
              <a:t>INVESTING IN AMERICA’S ENERGY FUTURE</a:t>
            </a:r>
          </a:p>
        </p:txBody>
      </p:sp>
    </p:spTree>
    <p:extLst>
      <p:ext uri="{BB962C8B-B14F-4D97-AF65-F5344CB8AC3E}">
        <p14:creationId xmlns:p14="http://schemas.microsoft.com/office/powerpoint/2010/main" val="16370934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ide Content - Left Align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F6327-9A86-6E46-ADB5-C0D223C61BA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C4A48A7-09B5-083C-E7B6-68D29582C796}"/>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3DA7BA6-25BB-B2DE-EAF4-9BD4BBB7EF58}"/>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80AA9020-A3A0-3522-22FF-2F75FDA93714}"/>
              </a:ext>
            </a:extLst>
          </p:cNvPr>
          <p:cNvSpPr>
            <a:spLocks noGrp="1"/>
          </p:cNvSpPr>
          <p:nvPr>
            <p:ph type="dt" sz="half" idx="12"/>
          </p:nvPr>
        </p:nvSpPr>
        <p:spPr/>
        <p:txBody>
          <a:bodyPr/>
          <a:lstStyle/>
          <a:p>
            <a:endParaRPr lang="en-US"/>
          </a:p>
        </p:txBody>
      </p:sp>
      <p:sp>
        <p:nvSpPr>
          <p:cNvPr id="6" name="Text Placeholder 12">
            <a:extLst>
              <a:ext uri="{FF2B5EF4-FFF2-40B4-BE49-F238E27FC236}">
                <a16:creationId xmlns:a16="http://schemas.microsoft.com/office/drawing/2014/main" id="{B334BA7D-61E7-C044-ECE4-B4224A049919}"/>
              </a:ext>
            </a:extLst>
          </p:cNvPr>
          <p:cNvSpPr>
            <a:spLocks noGrp="1"/>
          </p:cNvSpPr>
          <p:nvPr>
            <p:ph idx="1"/>
          </p:nvPr>
        </p:nvSpPr>
        <p:spPr>
          <a:xfrm>
            <a:off x="838200" y="1492624"/>
            <a:ext cx="10515600" cy="4251800"/>
          </a:xfrm>
          <a:prstGeom prst="rect">
            <a:avLst/>
          </a:prstGeom>
        </p:spPr>
        <p:txBody>
          <a:bodyPr vert="horz" lIns="91440" tIns="45720" rIns="91440" bIns="45720" rtlCol="0">
            <a:norm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7961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ide Content - Left Align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F6327-9A86-6E46-ADB5-C0D223C61BAA}"/>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AC4A48A7-09B5-083C-E7B6-68D29582C796}"/>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53DA7BA6-25BB-B2DE-EAF4-9BD4BBB7EF58}"/>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80AA9020-A3A0-3522-22FF-2F75FDA93714}"/>
              </a:ext>
            </a:extLst>
          </p:cNvPr>
          <p:cNvSpPr>
            <a:spLocks noGrp="1"/>
          </p:cNvSpPr>
          <p:nvPr>
            <p:ph type="dt" sz="half" idx="12"/>
          </p:nvPr>
        </p:nvSpPr>
        <p:spPr/>
        <p:txBody>
          <a:bodyPr/>
          <a:lstStyle/>
          <a:p>
            <a:endParaRPr lang="en-US"/>
          </a:p>
        </p:txBody>
      </p:sp>
      <p:sp>
        <p:nvSpPr>
          <p:cNvPr id="6" name="Text Placeholder 12">
            <a:extLst>
              <a:ext uri="{FF2B5EF4-FFF2-40B4-BE49-F238E27FC236}">
                <a16:creationId xmlns:a16="http://schemas.microsoft.com/office/drawing/2014/main" id="{B334BA7D-61E7-C044-ECE4-B4224A049919}"/>
              </a:ext>
            </a:extLst>
          </p:cNvPr>
          <p:cNvSpPr>
            <a:spLocks noGrp="1"/>
          </p:cNvSpPr>
          <p:nvPr>
            <p:ph idx="1"/>
          </p:nvPr>
        </p:nvSpPr>
        <p:spPr>
          <a:xfrm>
            <a:off x="838200" y="1492624"/>
            <a:ext cx="10515600" cy="4251800"/>
          </a:xfrm>
          <a:prstGeom prst="rect">
            <a:avLst/>
          </a:prstGeom>
        </p:spPr>
        <p:txBody>
          <a:bodyPr vert="horz" lIns="91440" tIns="45720" rIns="91440" bIns="45720" rtlCol="0">
            <a:norm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56155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Quotation - Whit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1F1CF5B1-6547-B4FF-43F0-39EFDA9F497D}"/>
              </a:ext>
            </a:extLst>
          </p:cNvPr>
          <p:cNvSpPr/>
          <p:nvPr userDrawn="1"/>
        </p:nvSpPr>
        <p:spPr>
          <a:xfrm>
            <a:off x="796301" y="812628"/>
            <a:ext cx="10139922" cy="3243382"/>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descr="Open quotation mark with solid fill">
            <a:extLst>
              <a:ext uri="{FF2B5EF4-FFF2-40B4-BE49-F238E27FC236}">
                <a16:creationId xmlns:a16="http://schemas.microsoft.com/office/drawing/2014/main" id="{1F4869A7-1DC3-ECB5-9183-C80D76AB63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1452" y="515522"/>
            <a:ext cx="1745095" cy="1745095"/>
          </a:xfrm>
          <a:prstGeom prst="rect">
            <a:avLst/>
          </a:prstGeom>
        </p:spPr>
      </p:pic>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1432560" y="1388070"/>
            <a:ext cx="9235440" cy="2367234"/>
          </a:xfrm>
          <a:prstGeom prst="rect">
            <a:avLst/>
          </a:prstGeom>
        </p:spPr>
        <p:txBody>
          <a:bodyPr anchor="t">
            <a:normAutofit/>
          </a:bodyPr>
          <a:lstStyle>
            <a:lvl1pPr marL="9525" indent="0" algn="l">
              <a:tabLst/>
              <a:defRPr sz="3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1432560" y="4428892"/>
            <a:ext cx="9235440" cy="1290320"/>
          </a:xfrm>
          <a:prstGeom prst="rect">
            <a:avLst/>
          </a:prstGeom>
        </p:spPr>
        <p:txBody>
          <a:bodyPr>
            <a:normAutofit/>
          </a:bodyPr>
          <a:lstStyle>
            <a:lvl1pPr marL="0" indent="0" algn="r">
              <a:buNone/>
              <a:defRPr sz="2800">
                <a:solidFill>
                  <a:schemeClr val="accent5"/>
                </a:solidFill>
                <a:latin typeface="Avenir Book" panose="02000503020000020003"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Footer Placeholder 4">
            <a:extLst>
              <a:ext uri="{FF2B5EF4-FFF2-40B4-BE49-F238E27FC236}">
                <a16:creationId xmlns:a16="http://schemas.microsoft.com/office/drawing/2014/main" id="{6DF94216-5596-4A68-866A-C5A3E744171C}"/>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9DB8B79-1580-FFBE-E9B7-662C4A9596A8}"/>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48A4E40F-D76F-52C0-646F-72823D77014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cxnSp>
        <p:nvCxnSpPr>
          <p:cNvPr id="8" name="Straight Connector 7">
            <a:extLst>
              <a:ext uri="{FF2B5EF4-FFF2-40B4-BE49-F238E27FC236}">
                <a16:creationId xmlns:a16="http://schemas.microsoft.com/office/drawing/2014/main" id="{F26D61FB-DEE0-6B48-799D-F6E1E2C4E6A9}"/>
              </a:ext>
            </a:extLst>
          </p:cNvPr>
          <p:cNvCxnSpPr>
            <a:cxnSpLocks/>
          </p:cNvCxnSpPr>
          <p:nvPr userDrawn="1"/>
        </p:nvCxnSpPr>
        <p:spPr>
          <a:xfrm>
            <a:off x="2164976" y="1143001"/>
            <a:ext cx="8503024" cy="0"/>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7D3A85-E189-B11A-EFF3-E9561246978D}"/>
              </a:ext>
            </a:extLst>
          </p:cNvPr>
          <p:cNvCxnSpPr>
            <a:cxnSpLocks/>
          </p:cNvCxnSpPr>
          <p:nvPr userDrawn="1"/>
        </p:nvCxnSpPr>
        <p:spPr>
          <a:xfrm flipV="1">
            <a:off x="1432560" y="4210567"/>
            <a:ext cx="9700661" cy="21256"/>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A810EE6-7529-47EF-5418-C215069A5C43}"/>
              </a:ext>
            </a:extLst>
          </p:cNvPr>
          <p:cNvCxnSpPr>
            <a:cxnSpLocks/>
          </p:cNvCxnSpPr>
          <p:nvPr userDrawn="1"/>
        </p:nvCxnSpPr>
        <p:spPr>
          <a:xfrm>
            <a:off x="11133221" y="1388069"/>
            <a:ext cx="0" cy="2798919"/>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6A6DA79-51D7-0493-B8F8-D85A9FF769AE}"/>
              </a:ext>
            </a:extLst>
          </p:cNvPr>
          <p:cNvCxnSpPr>
            <a:cxnSpLocks/>
          </p:cNvCxnSpPr>
          <p:nvPr userDrawn="1"/>
        </p:nvCxnSpPr>
        <p:spPr>
          <a:xfrm flipH="1">
            <a:off x="1175263" y="1925869"/>
            <a:ext cx="17043" cy="1829435"/>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80129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Quotation - Bubble">
    <p:bg>
      <p:bgPr>
        <a:solidFill>
          <a:schemeClr val="accent2"/>
        </a:solidFill>
        <a:effectLst/>
      </p:bgPr>
    </p:bg>
    <p:spTree>
      <p:nvGrpSpPr>
        <p:cNvPr id="1" name=""/>
        <p:cNvGrpSpPr/>
        <p:nvPr/>
      </p:nvGrpSpPr>
      <p:grpSpPr>
        <a:xfrm>
          <a:off x="0" y="0"/>
          <a:ext cx="0" cy="0"/>
          <a:chOff x="0" y="0"/>
          <a:chExt cx="0" cy="0"/>
        </a:xfrm>
      </p:grpSpPr>
      <p:sp>
        <p:nvSpPr>
          <p:cNvPr id="6" name="Graphic 4">
            <a:extLst>
              <a:ext uri="{FF2B5EF4-FFF2-40B4-BE49-F238E27FC236}">
                <a16:creationId xmlns:a16="http://schemas.microsoft.com/office/drawing/2014/main" id="{FC702A23-6CBE-42B9-B55B-D6D729788188}"/>
              </a:ext>
            </a:extLst>
          </p:cNvPr>
          <p:cNvSpPr/>
          <p:nvPr/>
        </p:nvSpPr>
        <p:spPr>
          <a:xfrm>
            <a:off x="0" y="0"/>
            <a:ext cx="12206175" cy="5092264"/>
          </a:xfrm>
          <a:custGeom>
            <a:avLst/>
            <a:gdLst>
              <a:gd name="connsiteX0" fmla="*/ 0 w 7772399"/>
              <a:gd name="connsiteY0" fmla="*/ 0 h 3242548"/>
              <a:gd name="connsiteX1" fmla="*/ 7770376 w 7772399"/>
              <a:gd name="connsiteY1" fmla="*/ 0 h 3242548"/>
              <a:gd name="connsiteX2" fmla="*/ 7772400 w 7772399"/>
              <a:gd name="connsiteY2" fmla="*/ 2188012 h 3242548"/>
              <a:gd name="connsiteX3" fmla="*/ 2147530 w 7772399"/>
              <a:gd name="connsiteY3" fmla="*/ 2857976 h 3242548"/>
              <a:gd name="connsiteX4" fmla="*/ 2240637 w 7772399"/>
              <a:gd name="connsiteY4" fmla="*/ 3242548 h 3242548"/>
              <a:gd name="connsiteX5" fmla="*/ 1592937 w 7772399"/>
              <a:gd name="connsiteY5" fmla="*/ 2813447 h 3242548"/>
              <a:gd name="connsiteX6" fmla="*/ 0 w 7772399"/>
              <a:gd name="connsiteY6" fmla="*/ 1971842 h 3242548"/>
              <a:gd name="connsiteX7" fmla="*/ 0 w 7772399"/>
              <a:gd name="connsiteY7" fmla="*/ 0 h 324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2399" h="3242548">
                <a:moveTo>
                  <a:pt x="0" y="0"/>
                </a:moveTo>
                <a:lnTo>
                  <a:pt x="7770376" y="0"/>
                </a:lnTo>
                <a:lnTo>
                  <a:pt x="7772400" y="2188012"/>
                </a:lnTo>
                <a:cubicBezTo>
                  <a:pt x="7772400" y="2188012"/>
                  <a:pt x="5845493" y="3110984"/>
                  <a:pt x="2147530" y="2857976"/>
                </a:cubicBezTo>
                <a:cubicBezTo>
                  <a:pt x="2147530" y="2857976"/>
                  <a:pt x="2030135" y="3068479"/>
                  <a:pt x="2240637" y="3242548"/>
                </a:cubicBezTo>
                <a:cubicBezTo>
                  <a:pt x="2240637" y="3242548"/>
                  <a:pt x="1726525" y="3108960"/>
                  <a:pt x="1592937" y="2813447"/>
                </a:cubicBezTo>
                <a:cubicBezTo>
                  <a:pt x="1592937" y="2813447"/>
                  <a:pt x="293489" y="2554367"/>
                  <a:pt x="0" y="1971842"/>
                </a:cubicBezTo>
                <a:lnTo>
                  <a:pt x="0" y="0"/>
                </a:lnTo>
                <a:close/>
              </a:path>
            </a:pathLst>
          </a:custGeom>
          <a:solidFill>
            <a:srgbClr val="FFFFFF"/>
          </a:solidFill>
          <a:ln w="4048" cap="flat">
            <a:noFill/>
            <a:prstDash val="solid"/>
            <a:miter/>
          </a:ln>
        </p:spPr>
        <p:txBody>
          <a:bodyPr rtlCol="0" anchor="ctr"/>
          <a:lstStyle/>
          <a:p>
            <a:endParaRPr lang="en-US"/>
          </a:p>
        </p:txBody>
      </p:sp>
      <p:pic>
        <p:nvPicPr>
          <p:cNvPr id="7" name="Graphic 6" descr="Open quotation mark with solid fill">
            <a:extLst>
              <a:ext uri="{FF2B5EF4-FFF2-40B4-BE49-F238E27FC236}">
                <a16:creationId xmlns:a16="http://schemas.microsoft.com/office/drawing/2014/main" id="{287DF41A-5839-60AF-2CF6-139D0743640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1452" y="515522"/>
            <a:ext cx="1745095" cy="1745095"/>
          </a:xfrm>
          <a:prstGeom prst="rect">
            <a:avLst/>
          </a:prstGeom>
        </p:spPr>
      </p:pic>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1432560" y="1388070"/>
            <a:ext cx="9235440" cy="2367234"/>
          </a:xfrm>
          <a:prstGeom prst="rect">
            <a:avLst/>
          </a:prstGeom>
        </p:spPr>
        <p:txBody>
          <a:bodyPr anchor="t">
            <a:normAutofit/>
          </a:bodyPr>
          <a:lstStyle>
            <a:lvl1pPr marL="9525" indent="0" algn="l">
              <a:tabLst/>
              <a:defRPr sz="3800">
                <a:solidFill>
                  <a:schemeClr val="accent5"/>
                </a:solidFill>
              </a:defRPr>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3657600" y="4942298"/>
            <a:ext cx="7010400" cy="998514"/>
          </a:xfrm>
          <a:prstGeom prst="rect">
            <a:avLst/>
          </a:prstGeom>
        </p:spPr>
        <p:txBody>
          <a:bodyPr>
            <a:normAutofit/>
          </a:bodyPr>
          <a:lstStyle>
            <a:lvl1pPr marL="0" indent="0" algn="l">
              <a:buNone/>
              <a:defRPr sz="2800">
                <a:solidFill>
                  <a:schemeClr val="accent5"/>
                </a:solidFill>
                <a:latin typeface="Avenir Book" panose="02000503020000020003"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Footer Placeholder 4">
            <a:extLst>
              <a:ext uri="{FF2B5EF4-FFF2-40B4-BE49-F238E27FC236}">
                <a16:creationId xmlns:a16="http://schemas.microsoft.com/office/drawing/2014/main" id="{6DF94216-5596-4A68-866A-C5A3E744171C}"/>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5"/>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9DB8B79-1580-FFBE-E9B7-662C4A9596A8}"/>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5"/>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48A4E40F-D76F-52C0-646F-72823D77014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5"/>
                </a:solidFill>
                <a:latin typeface="Calibri" panose="020F0502020204030204" pitchFamily="34" charset="0"/>
                <a:cs typeface="Calibri" panose="020F0502020204030204" pitchFamily="34" charset="0"/>
              </a:defRPr>
            </a:lvl1pPr>
          </a:lstStyle>
          <a:p>
            <a:endParaRPr lang="en-US"/>
          </a:p>
        </p:txBody>
      </p:sp>
      <p:pic>
        <p:nvPicPr>
          <p:cNvPr id="12" name="Picture 11">
            <a:extLst>
              <a:ext uri="{FF2B5EF4-FFF2-40B4-BE49-F238E27FC236}">
                <a16:creationId xmlns:a16="http://schemas.microsoft.com/office/drawing/2014/main" id="{07DCA173-29B7-D1EF-9FC0-FA7CA7E3A79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38077254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secHead" preserve="1">
  <p:cSld name="Quotation - Blue">
    <p:bg>
      <p:bgPr>
        <a:solidFill>
          <a:schemeClr val="tx2"/>
        </a:solidFill>
        <a:effectLst/>
      </p:bgPr>
    </p:bg>
    <p:spTree>
      <p:nvGrpSpPr>
        <p:cNvPr id="1" name=""/>
        <p:cNvGrpSpPr/>
        <p:nvPr/>
      </p:nvGrpSpPr>
      <p:grpSpPr>
        <a:xfrm>
          <a:off x="0" y="0"/>
          <a:ext cx="0" cy="0"/>
          <a:chOff x="0" y="0"/>
          <a:chExt cx="0" cy="0"/>
        </a:xfrm>
      </p:grpSpPr>
      <p:pic>
        <p:nvPicPr>
          <p:cNvPr id="4" name="Graphic 3" descr="Open quotation mark with solid fill">
            <a:extLst>
              <a:ext uri="{FF2B5EF4-FFF2-40B4-BE49-F238E27FC236}">
                <a16:creationId xmlns:a16="http://schemas.microsoft.com/office/drawing/2014/main" id="{1F4869A7-1DC3-ECB5-9183-C80D76AB63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1452" y="811357"/>
            <a:ext cx="1745095" cy="1745095"/>
          </a:xfrm>
          <a:prstGeom prst="rect">
            <a:avLst/>
          </a:prstGeom>
        </p:spPr>
      </p:pic>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1432560" y="1683905"/>
            <a:ext cx="9235440" cy="2367234"/>
          </a:xfrm>
          <a:prstGeom prst="rect">
            <a:avLst/>
          </a:prstGeom>
        </p:spPr>
        <p:txBody>
          <a:bodyPr anchor="t">
            <a:normAutofit/>
          </a:bodyPr>
          <a:lstStyle>
            <a:lvl1pPr marL="9525" indent="0" algn="l">
              <a:tabLst/>
              <a:defRPr sz="3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1432560" y="4278527"/>
            <a:ext cx="9235440" cy="1290320"/>
          </a:xfrm>
          <a:prstGeom prst="rect">
            <a:avLst/>
          </a:prstGeom>
        </p:spPr>
        <p:txBody>
          <a:bodyPr>
            <a:normAutofit/>
          </a:bodyPr>
          <a:lstStyle>
            <a:lvl1pPr marL="0" indent="0" algn="r">
              <a:buNone/>
              <a:defRPr sz="2800">
                <a:solidFill>
                  <a:schemeClr val="bg1"/>
                </a:solidFill>
                <a:latin typeface="Avenir Book" panose="02000503020000020003"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Footer Placeholder 4">
            <a:extLst>
              <a:ext uri="{FF2B5EF4-FFF2-40B4-BE49-F238E27FC236}">
                <a16:creationId xmlns:a16="http://schemas.microsoft.com/office/drawing/2014/main" id="{6DF94216-5596-4A68-866A-C5A3E744171C}"/>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9DB8B79-1580-FFBE-E9B7-662C4A9596A8}"/>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48A4E40F-D76F-52C0-646F-72823D77014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6" name="Picture 5">
            <a:extLst>
              <a:ext uri="{FF2B5EF4-FFF2-40B4-BE49-F238E27FC236}">
                <a16:creationId xmlns:a16="http://schemas.microsoft.com/office/drawing/2014/main" id="{E4D07675-CCF6-8BF5-8CF7-1A492C9D711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27893341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Light Blue Transition Title">
    <p:bg>
      <p:bgPr>
        <a:solidFill>
          <a:schemeClr val="accent2"/>
        </a:solidFill>
        <a:effectLst/>
      </p:bgPr>
    </p:bg>
    <p:spTree>
      <p:nvGrpSpPr>
        <p:cNvPr id="1" name=""/>
        <p:cNvGrpSpPr/>
        <p:nvPr/>
      </p:nvGrpSpPr>
      <p:grpSpPr>
        <a:xfrm>
          <a:off x="0" y="0"/>
          <a:ext cx="0" cy="0"/>
          <a:chOff x="0" y="0"/>
          <a:chExt cx="0" cy="0"/>
        </a:xfrm>
      </p:grpSpPr>
      <p:pic>
        <p:nvPicPr>
          <p:cNvPr id="5" name="object 6" descr="Worker with a laptop and hard hat on top of a solar panel array">
            <a:extLst>
              <a:ext uri="{FF2B5EF4-FFF2-40B4-BE49-F238E27FC236}">
                <a16:creationId xmlns:a16="http://schemas.microsoft.com/office/drawing/2014/main" id="{1C7048B8-64AA-5AC0-B445-C4545F941D26}"/>
              </a:ext>
            </a:extLst>
          </p:cNvPr>
          <p:cNvPicPr/>
          <p:nvPr userDrawn="1"/>
        </p:nvPicPr>
        <p:blipFill rotWithShape="1">
          <a:blip r:embed="rId2" cstate="hqprint">
            <a:duotone>
              <a:schemeClr val="accent2">
                <a:shade val="45000"/>
                <a:satMod val="135000"/>
              </a:schemeClr>
              <a:prstClr val="white"/>
            </a:duotone>
            <a:alphaModFix amt="40000"/>
            <a:extLst>
              <a:ext uri="{28A0092B-C50C-407E-A947-70E740481C1C}">
                <a14:useLocalDpi xmlns:a14="http://schemas.microsoft.com/office/drawing/2010/main"/>
              </a:ext>
            </a:extLst>
          </a:blip>
          <a:srcRect/>
          <a:stretch/>
        </p:blipFill>
        <p:spPr>
          <a:xfrm>
            <a:off x="0" y="0"/>
            <a:ext cx="4331374" cy="6858000"/>
          </a:xfrm>
          <a:prstGeom prst="rect">
            <a:avLst/>
          </a:prstGeom>
        </p:spPr>
      </p:pic>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Holder 2">
            <a:extLst>
              <a:ext uri="{FF2B5EF4-FFF2-40B4-BE49-F238E27FC236}">
                <a16:creationId xmlns:a16="http://schemas.microsoft.com/office/drawing/2014/main" id="{BA47CFD6-9A37-5C22-1F60-6282A9C542EB}"/>
              </a:ext>
            </a:extLst>
          </p:cNvPr>
          <p:cNvSpPr>
            <a:spLocks noGrp="1"/>
          </p:cNvSpPr>
          <p:nvPr>
            <p:ph type="title"/>
          </p:nvPr>
        </p:nvSpPr>
        <p:spPr>
          <a:xfrm>
            <a:off x="4909432" y="1748117"/>
            <a:ext cx="6517341" cy="2420471"/>
          </a:xfrm>
        </p:spPr>
        <p:txBody>
          <a:bodyPr lIns="0" tIns="0" rIns="0" bIns="0">
            <a:noAutofit/>
          </a:bodyPr>
          <a:lstStyle>
            <a:lvl1pPr>
              <a:defRPr sz="5824" b="0" i="0">
                <a:solidFill>
                  <a:schemeClr val="bg2"/>
                </a:solidFill>
                <a:latin typeface="Avenir LT Std 65 Medium"/>
                <a:cs typeface="Avenir LT Std 65 Medium"/>
              </a:defRPr>
            </a:lvl1pPr>
          </a:lstStyle>
          <a:p>
            <a:r>
              <a:rPr lang="en-US"/>
              <a:t>Click to edit Master title style</a:t>
            </a:r>
            <a:endParaRPr/>
          </a:p>
        </p:txBody>
      </p:sp>
      <p:sp>
        <p:nvSpPr>
          <p:cNvPr id="7" name="Holder 3">
            <a:extLst>
              <a:ext uri="{FF2B5EF4-FFF2-40B4-BE49-F238E27FC236}">
                <a16:creationId xmlns:a16="http://schemas.microsoft.com/office/drawing/2014/main" id="{32FDF9F2-758B-0952-349C-FF8D724B19E0}"/>
              </a:ext>
            </a:extLst>
          </p:cNvPr>
          <p:cNvSpPr>
            <a:spLocks noGrp="1"/>
          </p:cNvSpPr>
          <p:nvPr>
            <p:ph type="body" idx="1"/>
          </p:nvPr>
        </p:nvSpPr>
        <p:spPr>
          <a:xfrm>
            <a:off x="4909432" y="4370294"/>
            <a:ext cx="6517341" cy="1011933"/>
          </a:xfrm>
        </p:spPr>
        <p:txBody>
          <a:bodyPr lIns="0" tIns="0" rIns="0" bIns="0">
            <a:noAutofit/>
          </a:bodyPr>
          <a:lstStyle>
            <a:lvl1pPr marL="0" indent="0">
              <a:buNone/>
              <a:defRPr sz="2400" b="0" i="0">
                <a:solidFill>
                  <a:schemeClr val="accent5"/>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3" name="Picture 2">
            <a:extLst>
              <a:ext uri="{FF2B5EF4-FFF2-40B4-BE49-F238E27FC236}">
                <a16:creationId xmlns:a16="http://schemas.microsoft.com/office/drawing/2014/main" id="{FADFE539-13E4-D005-28C9-8598FB2E894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grpSp>
        <p:nvGrpSpPr>
          <p:cNvPr id="13" name="Group 12">
            <a:extLst>
              <a:ext uri="{FF2B5EF4-FFF2-40B4-BE49-F238E27FC236}">
                <a16:creationId xmlns:a16="http://schemas.microsoft.com/office/drawing/2014/main" id="{587CC663-B084-C5A4-37D2-A71CCF4E26B3}"/>
              </a:ext>
            </a:extLst>
          </p:cNvPr>
          <p:cNvGrpSpPr/>
          <p:nvPr userDrawn="1"/>
        </p:nvGrpSpPr>
        <p:grpSpPr>
          <a:xfrm>
            <a:off x="-27147" y="-1143"/>
            <a:ext cx="5315494" cy="6865586"/>
            <a:chOff x="-27147" y="-1143"/>
            <a:chExt cx="5315494" cy="6865586"/>
          </a:xfrm>
        </p:grpSpPr>
        <p:sp>
          <p:nvSpPr>
            <p:cNvPr id="8" name="Freeform 7">
              <a:extLst>
                <a:ext uri="{FF2B5EF4-FFF2-40B4-BE49-F238E27FC236}">
                  <a16:creationId xmlns:a16="http://schemas.microsoft.com/office/drawing/2014/main" id="{7F5EF78F-4D80-1349-3FB1-85EF14BEAE06}"/>
                </a:ext>
              </a:extLst>
            </p:cNvPr>
            <p:cNvSpPr/>
            <p:nvPr/>
          </p:nvSpPr>
          <p:spPr>
            <a:xfrm>
              <a:off x="-1206" y="-92"/>
              <a:ext cx="1428645" cy="6852884"/>
            </a:xfrm>
            <a:custGeom>
              <a:avLst/>
              <a:gdLst>
                <a:gd name="connsiteX0" fmla="*/ 0 w 1428645"/>
                <a:gd name="connsiteY0" fmla="*/ 0 h 6852884"/>
                <a:gd name="connsiteX1" fmla="*/ 13778 w 1428645"/>
                <a:gd name="connsiteY1" fmla="*/ 6852885 h 6852884"/>
                <a:gd name="connsiteX2" fmla="*/ 45526 w 1428645"/>
                <a:gd name="connsiteY2" fmla="*/ 6852885 h 6852884"/>
                <a:gd name="connsiteX3" fmla="*/ 1428646 w 1428645"/>
                <a:gd name="connsiteY3" fmla="*/ 0 h 6852884"/>
                <a:gd name="connsiteX4" fmla="*/ 0 w 1428645"/>
                <a:gd name="connsiteY4" fmla="*/ 0 h 6852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645" h="6852884">
                  <a:moveTo>
                    <a:pt x="0" y="0"/>
                  </a:moveTo>
                  <a:lnTo>
                    <a:pt x="13778" y="6852885"/>
                  </a:lnTo>
                  <a:lnTo>
                    <a:pt x="45526" y="6852885"/>
                  </a:lnTo>
                  <a:lnTo>
                    <a:pt x="1428646" y="0"/>
                  </a:lnTo>
                  <a:lnTo>
                    <a:pt x="0" y="0"/>
                  </a:lnTo>
                  <a:close/>
                </a:path>
              </a:pathLst>
            </a:custGeom>
            <a:solidFill>
              <a:schemeClr val="tx2">
                <a:alpha val="50000"/>
              </a:scheme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D2DD4413-3262-7253-1695-FD7BCE794CC4}"/>
                </a:ext>
              </a:extLst>
            </p:cNvPr>
            <p:cNvSpPr/>
            <p:nvPr/>
          </p:nvSpPr>
          <p:spPr>
            <a:xfrm>
              <a:off x="-27147" y="0"/>
              <a:ext cx="948067" cy="6858092"/>
            </a:xfrm>
            <a:custGeom>
              <a:avLst/>
              <a:gdLst>
                <a:gd name="connsiteX0" fmla="*/ 0 w 876236"/>
                <a:gd name="connsiteY0" fmla="*/ 0 h 6859235"/>
                <a:gd name="connsiteX1" fmla="*/ 25398 w 876236"/>
                <a:gd name="connsiteY1" fmla="*/ 6859236 h 6859235"/>
                <a:gd name="connsiteX2" fmla="*/ 120641 w 876236"/>
                <a:gd name="connsiteY2" fmla="*/ 6859236 h 6859235"/>
                <a:gd name="connsiteX3" fmla="*/ 876236 w 876236"/>
                <a:gd name="connsiteY3" fmla="*/ 0 h 6859235"/>
                <a:gd name="connsiteX4" fmla="*/ 0 w 876236"/>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36" h="6859235">
                  <a:moveTo>
                    <a:pt x="0" y="0"/>
                  </a:moveTo>
                  <a:lnTo>
                    <a:pt x="25398" y="6859236"/>
                  </a:lnTo>
                  <a:lnTo>
                    <a:pt x="120641" y="6859236"/>
                  </a:lnTo>
                  <a:lnTo>
                    <a:pt x="876236" y="0"/>
                  </a:lnTo>
                  <a:lnTo>
                    <a:pt x="0" y="0"/>
                  </a:lnTo>
                  <a:close/>
                </a:path>
              </a:pathLst>
            </a:custGeom>
            <a:solidFill>
              <a:schemeClr val="accent2">
                <a:alpha val="70000"/>
              </a:schemeClr>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561B187C-AFF3-8F34-885E-0FF12D0B61B0}"/>
                </a:ext>
              </a:extLst>
            </p:cNvPr>
            <p:cNvSpPr/>
            <p:nvPr/>
          </p:nvSpPr>
          <p:spPr>
            <a:xfrm>
              <a:off x="2811638" y="3866703"/>
              <a:ext cx="793692" cy="2997739"/>
            </a:xfrm>
            <a:custGeom>
              <a:avLst/>
              <a:gdLst>
                <a:gd name="connsiteX0" fmla="*/ 0 w 793692"/>
                <a:gd name="connsiteY0" fmla="*/ 2997740 h 2997739"/>
                <a:gd name="connsiteX1" fmla="*/ 793692 w 793692"/>
                <a:gd name="connsiteY1" fmla="*/ 2997740 h 2997739"/>
                <a:gd name="connsiteX2" fmla="*/ 666701 w 793692"/>
                <a:gd name="connsiteY2" fmla="*/ 0 h 2997739"/>
                <a:gd name="connsiteX3" fmla="*/ 0 w 793692"/>
                <a:gd name="connsiteY3" fmla="*/ 2997740 h 2997739"/>
              </a:gdLst>
              <a:ahLst/>
              <a:cxnLst>
                <a:cxn ang="0">
                  <a:pos x="connsiteX0" y="connsiteY0"/>
                </a:cxn>
                <a:cxn ang="0">
                  <a:pos x="connsiteX1" y="connsiteY1"/>
                </a:cxn>
                <a:cxn ang="0">
                  <a:pos x="connsiteX2" y="connsiteY2"/>
                </a:cxn>
                <a:cxn ang="0">
                  <a:pos x="connsiteX3" y="connsiteY3"/>
                </a:cxn>
              </a:cxnLst>
              <a:rect l="l" t="t" r="r" b="b"/>
              <a:pathLst>
                <a:path w="793692" h="2997739">
                  <a:moveTo>
                    <a:pt x="0" y="2997740"/>
                  </a:moveTo>
                  <a:lnTo>
                    <a:pt x="793692" y="2997740"/>
                  </a:lnTo>
                  <a:lnTo>
                    <a:pt x="666701" y="0"/>
                  </a:lnTo>
                  <a:lnTo>
                    <a:pt x="0" y="2997740"/>
                  </a:lnTo>
                  <a:close/>
                </a:path>
              </a:pathLst>
            </a:custGeom>
            <a:solidFill>
              <a:schemeClr val="accent2"/>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0573C25-316B-19EA-A35F-5C5649CE9FB6}"/>
                </a:ext>
              </a:extLst>
            </p:cNvPr>
            <p:cNvSpPr/>
            <p:nvPr/>
          </p:nvSpPr>
          <p:spPr>
            <a:xfrm>
              <a:off x="2805678" y="-1143"/>
              <a:ext cx="2482669" cy="6859235"/>
            </a:xfrm>
            <a:custGeom>
              <a:avLst/>
              <a:gdLst>
                <a:gd name="connsiteX0" fmla="*/ 869887 w 2482669"/>
                <a:gd name="connsiteY0" fmla="*/ 0 h 6859235"/>
                <a:gd name="connsiteX1" fmla="*/ 0 w 2482669"/>
                <a:gd name="connsiteY1" fmla="*/ 6859236 h 6859235"/>
                <a:gd name="connsiteX2" fmla="*/ 0 w 2482669"/>
                <a:gd name="connsiteY2" fmla="*/ 6859236 h 6859235"/>
                <a:gd name="connsiteX3" fmla="*/ 2482669 w 2482669"/>
                <a:gd name="connsiteY3" fmla="*/ 0 h 6859235"/>
                <a:gd name="connsiteX4" fmla="*/ 869887 w 2482669"/>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2669" h="6859235">
                  <a:moveTo>
                    <a:pt x="869887" y="0"/>
                  </a:moveTo>
                  <a:lnTo>
                    <a:pt x="0" y="6859236"/>
                  </a:lnTo>
                  <a:lnTo>
                    <a:pt x="0" y="6859236"/>
                  </a:lnTo>
                  <a:lnTo>
                    <a:pt x="2482669" y="0"/>
                  </a:lnTo>
                  <a:lnTo>
                    <a:pt x="869887" y="0"/>
                  </a:lnTo>
                  <a:close/>
                </a:path>
              </a:pathLst>
            </a:custGeom>
            <a:solidFill>
              <a:schemeClr val="tx2">
                <a:alpha val="50000"/>
              </a:schemeClr>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8700C47-473B-B644-B3A6-2345B38FAE34}"/>
                </a:ext>
              </a:extLst>
            </p:cNvPr>
            <p:cNvSpPr/>
            <p:nvPr/>
          </p:nvSpPr>
          <p:spPr>
            <a:xfrm>
              <a:off x="3195882" y="-1143"/>
              <a:ext cx="666701" cy="6865586"/>
            </a:xfrm>
            <a:custGeom>
              <a:avLst/>
              <a:gdLst>
                <a:gd name="connsiteX0" fmla="*/ 634954 w 666701"/>
                <a:gd name="connsiteY0" fmla="*/ 0 h 6865586"/>
                <a:gd name="connsiteX1" fmla="*/ 0 w 666701"/>
                <a:gd name="connsiteY1" fmla="*/ 6859236 h 6865586"/>
                <a:gd name="connsiteX2" fmla="*/ 666701 w 666701"/>
                <a:gd name="connsiteY2" fmla="*/ 6865587 h 6865586"/>
                <a:gd name="connsiteX3" fmla="*/ 666701 w 666701"/>
                <a:gd name="connsiteY3" fmla="*/ 0 h 6865586"/>
                <a:gd name="connsiteX4" fmla="*/ 634954 w 666701"/>
                <a:gd name="connsiteY4" fmla="*/ 0 h 686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01" h="6865586">
                  <a:moveTo>
                    <a:pt x="634954" y="0"/>
                  </a:moveTo>
                  <a:lnTo>
                    <a:pt x="0" y="6859236"/>
                  </a:lnTo>
                  <a:lnTo>
                    <a:pt x="666701" y="6865587"/>
                  </a:lnTo>
                  <a:lnTo>
                    <a:pt x="666701" y="0"/>
                  </a:lnTo>
                  <a:lnTo>
                    <a:pt x="634954" y="0"/>
                  </a:lnTo>
                  <a:close/>
                </a:path>
              </a:pathLst>
            </a:custGeom>
            <a:solidFill>
              <a:srgbClr val="1A325D">
                <a:alpha val="50000"/>
              </a:srgb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34826252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Blue Transition Title">
    <p:bg>
      <p:bgPr>
        <a:solidFill>
          <a:schemeClr val="tx2"/>
        </a:solidFill>
        <a:effectLst/>
      </p:bgPr>
    </p:bg>
    <p:spTree>
      <p:nvGrpSpPr>
        <p:cNvPr id="1" name=""/>
        <p:cNvGrpSpPr/>
        <p:nvPr/>
      </p:nvGrpSpPr>
      <p:grpSpPr>
        <a:xfrm>
          <a:off x="0" y="0"/>
          <a:ext cx="0" cy="0"/>
          <a:chOff x="0" y="0"/>
          <a:chExt cx="0" cy="0"/>
        </a:xfrm>
      </p:grpSpPr>
      <p:pic>
        <p:nvPicPr>
          <p:cNvPr id="13" name="object 6">
            <a:extLst>
              <a:ext uri="{FF2B5EF4-FFF2-40B4-BE49-F238E27FC236}">
                <a16:creationId xmlns:a16="http://schemas.microsoft.com/office/drawing/2014/main" id="{0D874A40-24C6-290C-82C7-2282B302CCC8}"/>
              </a:ext>
            </a:extLst>
          </p:cNvPr>
          <p:cNvPicPr/>
          <p:nvPr userDrawn="1"/>
        </p:nvPicPr>
        <p:blipFill rotWithShape="1">
          <a:blip r:embed="rId2" cstate="screen">
            <a:duotone>
              <a:schemeClr val="accent1">
                <a:shade val="45000"/>
                <a:satMod val="135000"/>
              </a:schemeClr>
              <a:prstClr val="white"/>
            </a:duotone>
            <a:alphaModFix amt="50000"/>
            <a:extLst>
              <a:ext uri="{28A0092B-C50C-407E-A947-70E740481C1C}">
                <a14:useLocalDpi xmlns:a14="http://schemas.microsoft.com/office/drawing/2010/main"/>
              </a:ext>
            </a:extLst>
          </a:blip>
          <a:srcRect/>
          <a:stretch/>
        </p:blipFill>
        <p:spPr>
          <a:xfrm>
            <a:off x="-18586" y="-11119"/>
            <a:ext cx="3484162" cy="6860768"/>
          </a:xfrm>
          <a:prstGeom prst="rect">
            <a:avLst/>
          </a:prstGeom>
        </p:spPr>
      </p:pic>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4946008" y="1748117"/>
            <a:ext cx="6530788" cy="2420471"/>
          </a:xfrm>
        </p:spPr>
        <p:txBody>
          <a:bodyPr lIns="0" tIns="0" rIns="0" bIns="0">
            <a:noAutofit/>
          </a:bodyPr>
          <a:lstStyle>
            <a:lvl1pPr>
              <a:defRPr sz="5824" b="0" i="0">
                <a:solidFill>
                  <a:schemeClr val="bg2"/>
                </a:solidFill>
                <a:latin typeface="Avenir LT Std 65 Medium"/>
                <a:cs typeface="Avenir LT Std 65 Medium"/>
              </a:defRPr>
            </a:lvl1pPr>
          </a:lstStyle>
          <a:p>
            <a:r>
              <a:rPr lang="en-US"/>
              <a:t>Click to edit Master title style</a:t>
            </a:r>
            <a:endParaRPr/>
          </a:p>
        </p:txBody>
      </p:sp>
      <p:sp>
        <p:nvSpPr>
          <p:cNvPr id="10" name="Holder 3">
            <a:extLst>
              <a:ext uri="{FF2B5EF4-FFF2-40B4-BE49-F238E27FC236}">
                <a16:creationId xmlns:a16="http://schemas.microsoft.com/office/drawing/2014/main" id="{3E6289C2-E677-5144-9ECA-42D077D6C5DA}"/>
              </a:ext>
            </a:extLst>
          </p:cNvPr>
          <p:cNvSpPr>
            <a:spLocks noGrp="1"/>
          </p:cNvSpPr>
          <p:nvPr>
            <p:ph type="body" idx="1"/>
          </p:nvPr>
        </p:nvSpPr>
        <p:spPr>
          <a:xfrm>
            <a:off x="4946008" y="4370294"/>
            <a:ext cx="6530788" cy="1011933"/>
          </a:xfrm>
        </p:spPr>
        <p:txBody>
          <a:bodyPr lIns="0" tIns="0" rIns="0" bIns="0">
            <a:noAutofit/>
          </a:bodyPr>
          <a:lstStyle>
            <a:lvl1pPr marL="0" indent="0">
              <a:buNone/>
              <a:defRPr sz="2400" b="0" i="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3" name="Picture 2">
            <a:extLst>
              <a:ext uri="{FF2B5EF4-FFF2-40B4-BE49-F238E27FC236}">
                <a16:creationId xmlns:a16="http://schemas.microsoft.com/office/drawing/2014/main" id="{A5D17ECB-5AE6-B554-6835-6302745786E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grpSp>
        <p:nvGrpSpPr>
          <p:cNvPr id="12" name="Group 11">
            <a:extLst>
              <a:ext uri="{FF2B5EF4-FFF2-40B4-BE49-F238E27FC236}">
                <a16:creationId xmlns:a16="http://schemas.microsoft.com/office/drawing/2014/main" id="{9F55642F-109E-2CBA-5EE2-10599D153DB1}"/>
              </a:ext>
            </a:extLst>
          </p:cNvPr>
          <p:cNvGrpSpPr/>
          <p:nvPr userDrawn="1"/>
        </p:nvGrpSpPr>
        <p:grpSpPr>
          <a:xfrm>
            <a:off x="-18586" y="-4768"/>
            <a:ext cx="5315494" cy="6873870"/>
            <a:chOff x="-27147" y="-9427"/>
            <a:chExt cx="5315494" cy="6873870"/>
          </a:xfrm>
        </p:grpSpPr>
        <p:sp>
          <p:nvSpPr>
            <p:cNvPr id="2" name="Freeform 1">
              <a:extLst>
                <a:ext uri="{FF2B5EF4-FFF2-40B4-BE49-F238E27FC236}">
                  <a16:creationId xmlns:a16="http://schemas.microsoft.com/office/drawing/2014/main" id="{66192D26-603C-C231-26B0-E23FE4D180DF}"/>
                </a:ext>
              </a:extLst>
            </p:cNvPr>
            <p:cNvSpPr/>
            <p:nvPr userDrawn="1"/>
          </p:nvSpPr>
          <p:spPr>
            <a:xfrm>
              <a:off x="-27146" y="-92"/>
              <a:ext cx="1492294" cy="6852884"/>
            </a:xfrm>
            <a:custGeom>
              <a:avLst/>
              <a:gdLst>
                <a:gd name="connsiteX0" fmla="*/ 0 w 1428645"/>
                <a:gd name="connsiteY0" fmla="*/ 0 h 6852884"/>
                <a:gd name="connsiteX1" fmla="*/ 13778 w 1428645"/>
                <a:gd name="connsiteY1" fmla="*/ 6852885 h 6852884"/>
                <a:gd name="connsiteX2" fmla="*/ 45526 w 1428645"/>
                <a:gd name="connsiteY2" fmla="*/ 6852885 h 6852884"/>
                <a:gd name="connsiteX3" fmla="*/ 1428646 w 1428645"/>
                <a:gd name="connsiteY3" fmla="*/ 0 h 6852884"/>
                <a:gd name="connsiteX4" fmla="*/ 0 w 1428645"/>
                <a:gd name="connsiteY4" fmla="*/ 0 h 6852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645" h="6852884">
                  <a:moveTo>
                    <a:pt x="0" y="0"/>
                  </a:moveTo>
                  <a:lnTo>
                    <a:pt x="13778" y="6852885"/>
                  </a:lnTo>
                  <a:lnTo>
                    <a:pt x="45526" y="6852885"/>
                  </a:lnTo>
                  <a:lnTo>
                    <a:pt x="1428646" y="0"/>
                  </a:lnTo>
                  <a:lnTo>
                    <a:pt x="0" y="0"/>
                  </a:lnTo>
                  <a:close/>
                </a:path>
              </a:pathLst>
            </a:custGeom>
            <a:solidFill>
              <a:schemeClr val="accent2">
                <a:alpha val="50000"/>
              </a:schemeClr>
            </a:solidFill>
            <a:ln w="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3881C514-88DB-8614-F29D-6AE27F65E4A2}"/>
                </a:ext>
              </a:extLst>
            </p:cNvPr>
            <p:cNvSpPr/>
            <p:nvPr userDrawn="1"/>
          </p:nvSpPr>
          <p:spPr>
            <a:xfrm>
              <a:off x="-27147" y="-9427"/>
              <a:ext cx="948057" cy="6858092"/>
            </a:xfrm>
            <a:custGeom>
              <a:avLst/>
              <a:gdLst>
                <a:gd name="connsiteX0" fmla="*/ 0 w 876236"/>
                <a:gd name="connsiteY0" fmla="*/ 0 h 6859235"/>
                <a:gd name="connsiteX1" fmla="*/ 25398 w 876236"/>
                <a:gd name="connsiteY1" fmla="*/ 6859236 h 6859235"/>
                <a:gd name="connsiteX2" fmla="*/ 120641 w 876236"/>
                <a:gd name="connsiteY2" fmla="*/ 6859236 h 6859235"/>
                <a:gd name="connsiteX3" fmla="*/ 876236 w 876236"/>
                <a:gd name="connsiteY3" fmla="*/ 0 h 6859235"/>
                <a:gd name="connsiteX4" fmla="*/ 0 w 876236"/>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36" h="6859235">
                  <a:moveTo>
                    <a:pt x="0" y="0"/>
                  </a:moveTo>
                  <a:lnTo>
                    <a:pt x="25398" y="6859236"/>
                  </a:lnTo>
                  <a:lnTo>
                    <a:pt x="120641" y="6859236"/>
                  </a:lnTo>
                  <a:lnTo>
                    <a:pt x="876236" y="0"/>
                  </a:lnTo>
                  <a:lnTo>
                    <a:pt x="0" y="0"/>
                  </a:lnTo>
                  <a:close/>
                </a:path>
              </a:pathLst>
            </a:custGeom>
            <a:solidFill>
              <a:schemeClr val="tx2">
                <a:alpha val="70000"/>
              </a:scheme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24CF829-BFA0-8F05-CF3A-2A187E6E8F7A}"/>
                </a:ext>
              </a:extLst>
            </p:cNvPr>
            <p:cNvSpPr/>
            <p:nvPr userDrawn="1"/>
          </p:nvSpPr>
          <p:spPr>
            <a:xfrm>
              <a:off x="2811638" y="3866703"/>
              <a:ext cx="793692" cy="2997739"/>
            </a:xfrm>
            <a:custGeom>
              <a:avLst/>
              <a:gdLst>
                <a:gd name="connsiteX0" fmla="*/ 0 w 793692"/>
                <a:gd name="connsiteY0" fmla="*/ 2997740 h 2997739"/>
                <a:gd name="connsiteX1" fmla="*/ 793692 w 793692"/>
                <a:gd name="connsiteY1" fmla="*/ 2997740 h 2997739"/>
                <a:gd name="connsiteX2" fmla="*/ 666701 w 793692"/>
                <a:gd name="connsiteY2" fmla="*/ 0 h 2997739"/>
                <a:gd name="connsiteX3" fmla="*/ 0 w 793692"/>
                <a:gd name="connsiteY3" fmla="*/ 2997740 h 2997739"/>
              </a:gdLst>
              <a:ahLst/>
              <a:cxnLst>
                <a:cxn ang="0">
                  <a:pos x="connsiteX0" y="connsiteY0"/>
                </a:cxn>
                <a:cxn ang="0">
                  <a:pos x="connsiteX1" y="connsiteY1"/>
                </a:cxn>
                <a:cxn ang="0">
                  <a:pos x="connsiteX2" y="connsiteY2"/>
                </a:cxn>
                <a:cxn ang="0">
                  <a:pos x="connsiteX3" y="connsiteY3"/>
                </a:cxn>
              </a:cxnLst>
              <a:rect l="l" t="t" r="r" b="b"/>
              <a:pathLst>
                <a:path w="793692" h="2997739">
                  <a:moveTo>
                    <a:pt x="0" y="2997740"/>
                  </a:moveTo>
                  <a:lnTo>
                    <a:pt x="793692" y="2997740"/>
                  </a:lnTo>
                  <a:lnTo>
                    <a:pt x="666701" y="0"/>
                  </a:lnTo>
                  <a:lnTo>
                    <a:pt x="0" y="2997740"/>
                  </a:lnTo>
                  <a:close/>
                </a:path>
              </a:pathLst>
            </a:custGeom>
            <a:solidFill>
              <a:schemeClr val="accent5"/>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1483D69-3EC1-8E4C-BC12-3EF5450F649A}"/>
                </a:ext>
              </a:extLst>
            </p:cNvPr>
            <p:cNvSpPr/>
            <p:nvPr userDrawn="1"/>
          </p:nvSpPr>
          <p:spPr>
            <a:xfrm>
              <a:off x="2805678" y="-1143"/>
              <a:ext cx="2482669" cy="6859235"/>
            </a:xfrm>
            <a:custGeom>
              <a:avLst/>
              <a:gdLst>
                <a:gd name="connsiteX0" fmla="*/ 869887 w 2482669"/>
                <a:gd name="connsiteY0" fmla="*/ 0 h 6859235"/>
                <a:gd name="connsiteX1" fmla="*/ 0 w 2482669"/>
                <a:gd name="connsiteY1" fmla="*/ 6859236 h 6859235"/>
                <a:gd name="connsiteX2" fmla="*/ 0 w 2482669"/>
                <a:gd name="connsiteY2" fmla="*/ 6859236 h 6859235"/>
                <a:gd name="connsiteX3" fmla="*/ 2482669 w 2482669"/>
                <a:gd name="connsiteY3" fmla="*/ 0 h 6859235"/>
                <a:gd name="connsiteX4" fmla="*/ 869887 w 2482669"/>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2669" h="6859235">
                  <a:moveTo>
                    <a:pt x="869887" y="0"/>
                  </a:moveTo>
                  <a:lnTo>
                    <a:pt x="0" y="6859236"/>
                  </a:lnTo>
                  <a:lnTo>
                    <a:pt x="0" y="6859236"/>
                  </a:lnTo>
                  <a:lnTo>
                    <a:pt x="2482669" y="0"/>
                  </a:lnTo>
                  <a:lnTo>
                    <a:pt x="869887" y="0"/>
                  </a:lnTo>
                  <a:close/>
                </a:path>
              </a:pathLst>
            </a:custGeom>
            <a:solidFill>
              <a:schemeClr val="accent2">
                <a:alpha val="50000"/>
              </a:schemeClr>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293022D-9045-4CD8-D2AC-2CC9CB117B73}"/>
                </a:ext>
              </a:extLst>
            </p:cNvPr>
            <p:cNvSpPr/>
            <p:nvPr userDrawn="1"/>
          </p:nvSpPr>
          <p:spPr>
            <a:xfrm>
              <a:off x="3186455" y="-1143"/>
              <a:ext cx="666701" cy="6865586"/>
            </a:xfrm>
            <a:custGeom>
              <a:avLst/>
              <a:gdLst>
                <a:gd name="connsiteX0" fmla="*/ 634954 w 666701"/>
                <a:gd name="connsiteY0" fmla="*/ 0 h 6865586"/>
                <a:gd name="connsiteX1" fmla="*/ 0 w 666701"/>
                <a:gd name="connsiteY1" fmla="*/ 6859236 h 6865586"/>
                <a:gd name="connsiteX2" fmla="*/ 666701 w 666701"/>
                <a:gd name="connsiteY2" fmla="*/ 6865587 h 6865586"/>
                <a:gd name="connsiteX3" fmla="*/ 666701 w 666701"/>
                <a:gd name="connsiteY3" fmla="*/ 0 h 6865586"/>
                <a:gd name="connsiteX4" fmla="*/ 634954 w 666701"/>
                <a:gd name="connsiteY4" fmla="*/ 0 h 686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01" h="6865586">
                  <a:moveTo>
                    <a:pt x="634954" y="0"/>
                  </a:moveTo>
                  <a:lnTo>
                    <a:pt x="0" y="6859236"/>
                  </a:lnTo>
                  <a:lnTo>
                    <a:pt x="666701" y="6865587"/>
                  </a:lnTo>
                  <a:lnTo>
                    <a:pt x="666701" y="0"/>
                  </a:lnTo>
                  <a:lnTo>
                    <a:pt x="634954" y="0"/>
                  </a:lnTo>
                  <a:close/>
                </a:path>
              </a:pathLst>
            </a:custGeom>
            <a:solidFill>
              <a:schemeClr val="tx2">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19096351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Blue Transition Title">
    <p:bg>
      <p:bgPr>
        <a:solidFill>
          <a:schemeClr val="accent5"/>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4946008" y="1748117"/>
            <a:ext cx="6530788" cy="2420471"/>
          </a:xfrm>
        </p:spPr>
        <p:txBody>
          <a:bodyPr lIns="0" tIns="0" rIns="0" bIns="0">
            <a:noAutofit/>
          </a:bodyPr>
          <a:lstStyle>
            <a:lvl1pPr>
              <a:defRPr sz="5824" b="0" i="0">
                <a:solidFill>
                  <a:schemeClr val="accent3"/>
                </a:solidFill>
                <a:latin typeface="Avenir LT Std 65 Medium"/>
                <a:cs typeface="Avenir LT Std 65 Medium"/>
              </a:defRPr>
            </a:lvl1pPr>
          </a:lstStyle>
          <a:p>
            <a:r>
              <a:rPr lang="en-US"/>
              <a:t>Click to edit Master title style</a:t>
            </a:r>
            <a:endParaRPr/>
          </a:p>
        </p:txBody>
      </p:sp>
      <p:sp>
        <p:nvSpPr>
          <p:cNvPr id="10" name="Holder 3">
            <a:extLst>
              <a:ext uri="{FF2B5EF4-FFF2-40B4-BE49-F238E27FC236}">
                <a16:creationId xmlns:a16="http://schemas.microsoft.com/office/drawing/2014/main" id="{3E6289C2-E677-5144-9ECA-42D077D6C5DA}"/>
              </a:ext>
            </a:extLst>
          </p:cNvPr>
          <p:cNvSpPr>
            <a:spLocks noGrp="1"/>
          </p:cNvSpPr>
          <p:nvPr>
            <p:ph type="body" idx="1"/>
          </p:nvPr>
        </p:nvSpPr>
        <p:spPr>
          <a:xfrm>
            <a:off x="4946008" y="4370294"/>
            <a:ext cx="6530788" cy="1011933"/>
          </a:xfrm>
        </p:spPr>
        <p:txBody>
          <a:bodyPr lIns="0" tIns="0" rIns="0" bIns="0">
            <a:noAutofit/>
          </a:bodyPr>
          <a:lstStyle>
            <a:lvl1pPr marL="0" indent="0">
              <a:buNone/>
              <a:defRPr sz="2400" b="0" i="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pic>
        <p:nvPicPr>
          <p:cNvPr id="3" name="Picture 2">
            <a:extLst>
              <a:ext uri="{FF2B5EF4-FFF2-40B4-BE49-F238E27FC236}">
                <a16:creationId xmlns:a16="http://schemas.microsoft.com/office/drawing/2014/main" id="{A5D17ECB-5AE6-B554-6835-6302745786E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pic>
        <p:nvPicPr>
          <p:cNvPr id="4" name="object 6">
            <a:extLst>
              <a:ext uri="{FF2B5EF4-FFF2-40B4-BE49-F238E27FC236}">
                <a16:creationId xmlns:a16="http://schemas.microsoft.com/office/drawing/2014/main" id="{DF08B347-8400-5559-573D-2EC8097C7016}"/>
              </a:ext>
            </a:extLst>
          </p:cNvPr>
          <p:cNvPicPr/>
          <p:nvPr userDrawn="1"/>
        </p:nvPicPr>
        <p:blipFill rotWithShape="1">
          <a:blip r:embed="rId3" cstate="screen">
            <a:duotone>
              <a:schemeClr val="accent5">
                <a:shade val="45000"/>
                <a:satMod val="135000"/>
              </a:schemeClr>
              <a:prstClr val="white"/>
            </a:duotone>
            <a:alphaModFix amt="40000"/>
            <a:extLst>
              <a:ext uri="{28A0092B-C50C-407E-A947-70E740481C1C}">
                <a14:useLocalDpi xmlns:a14="http://schemas.microsoft.com/office/drawing/2010/main"/>
              </a:ext>
            </a:extLst>
          </a:blip>
          <a:srcRect t="-231"/>
          <a:stretch/>
        </p:blipFill>
        <p:spPr>
          <a:xfrm>
            <a:off x="0" y="0"/>
            <a:ext cx="4331374" cy="6858000"/>
          </a:xfrm>
          <a:prstGeom prst="rect">
            <a:avLst/>
          </a:prstGeom>
        </p:spPr>
      </p:pic>
      <p:sp>
        <p:nvSpPr>
          <p:cNvPr id="2" name="Freeform 1">
            <a:extLst>
              <a:ext uri="{FF2B5EF4-FFF2-40B4-BE49-F238E27FC236}">
                <a16:creationId xmlns:a16="http://schemas.microsoft.com/office/drawing/2014/main" id="{66192D26-603C-C231-26B0-E23FE4D180DF}"/>
              </a:ext>
            </a:extLst>
          </p:cNvPr>
          <p:cNvSpPr/>
          <p:nvPr userDrawn="1"/>
        </p:nvSpPr>
        <p:spPr>
          <a:xfrm>
            <a:off x="-27146" y="-92"/>
            <a:ext cx="1492294" cy="6852884"/>
          </a:xfrm>
          <a:custGeom>
            <a:avLst/>
            <a:gdLst>
              <a:gd name="connsiteX0" fmla="*/ 0 w 1428645"/>
              <a:gd name="connsiteY0" fmla="*/ 0 h 6852884"/>
              <a:gd name="connsiteX1" fmla="*/ 13778 w 1428645"/>
              <a:gd name="connsiteY1" fmla="*/ 6852885 h 6852884"/>
              <a:gd name="connsiteX2" fmla="*/ 45526 w 1428645"/>
              <a:gd name="connsiteY2" fmla="*/ 6852885 h 6852884"/>
              <a:gd name="connsiteX3" fmla="*/ 1428646 w 1428645"/>
              <a:gd name="connsiteY3" fmla="*/ 0 h 6852884"/>
              <a:gd name="connsiteX4" fmla="*/ 0 w 1428645"/>
              <a:gd name="connsiteY4" fmla="*/ 0 h 6852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8645" h="6852884">
                <a:moveTo>
                  <a:pt x="0" y="0"/>
                </a:moveTo>
                <a:lnTo>
                  <a:pt x="13778" y="6852885"/>
                </a:lnTo>
                <a:lnTo>
                  <a:pt x="45526" y="6852885"/>
                </a:lnTo>
                <a:lnTo>
                  <a:pt x="1428646" y="0"/>
                </a:lnTo>
                <a:lnTo>
                  <a:pt x="0" y="0"/>
                </a:lnTo>
                <a:close/>
              </a:path>
            </a:pathLst>
          </a:custGeom>
          <a:solidFill>
            <a:schemeClr val="accent2">
              <a:alpha val="50000"/>
            </a:schemeClr>
          </a:solidFill>
          <a:ln w="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3881C514-88DB-8614-F29D-6AE27F65E4A2}"/>
              </a:ext>
            </a:extLst>
          </p:cNvPr>
          <p:cNvSpPr/>
          <p:nvPr userDrawn="1"/>
        </p:nvSpPr>
        <p:spPr>
          <a:xfrm>
            <a:off x="-27147" y="-9427"/>
            <a:ext cx="948057" cy="6858092"/>
          </a:xfrm>
          <a:custGeom>
            <a:avLst/>
            <a:gdLst>
              <a:gd name="connsiteX0" fmla="*/ 0 w 876236"/>
              <a:gd name="connsiteY0" fmla="*/ 0 h 6859235"/>
              <a:gd name="connsiteX1" fmla="*/ 25398 w 876236"/>
              <a:gd name="connsiteY1" fmla="*/ 6859236 h 6859235"/>
              <a:gd name="connsiteX2" fmla="*/ 120641 w 876236"/>
              <a:gd name="connsiteY2" fmla="*/ 6859236 h 6859235"/>
              <a:gd name="connsiteX3" fmla="*/ 876236 w 876236"/>
              <a:gd name="connsiteY3" fmla="*/ 0 h 6859235"/>
              <a:gd name="connsiteX4" fmla="*/ 0 w 876236"/>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36" h="6859235">
                <a:moveTo>
                  <a:pt x="0" y="0"/>
                </a:moveTo>
                <a:lnTo>
                  <a:pt x="25398" y="6859236"/>
                </a:lnTo>
                <a:lnTo>
                  <a:pt x="120641" y="6859236"/>
                </a:lnTo>
                <a:lnTo>
                  <a:pt x="876236" y="0"/>
                </a:lnTo>
                <a:lnTo>
                  <a:pt x="0" y="0"/>
                </a:lnTo>
                <a:close/>
              </a:path>
            </a:pathLst>
          </a:custGeom>
          <a:solidFill>
            <a:schemeClr val="accent5">
              <a:alpha val="70000"/>
            </a:schemeClr>
          </a:solidFill>
          <a:ln w="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224CF829-BFA0-8F05-CF3A-2A187E6E8F7A}"/>
              </a:ext>
            </a:extLst>
          </p:cNvPr>
          <p:cNvSpPr/>
          <p:nvPr userDrawn="1"/>
        </p:nvSpPr>
        <p:spPr>
          <a:xfrm>
            <a:off x="3286130" y="3850926"/>
            <a:ext cx="793692" cy="2997739"/>
          </a:xfrm>
          <a:custGeom>
            <a:avLst/>
            <a:gdLst>
              <a:gd name="connsiteX0" fmla="*/ 0 w 793692"/>
              <a:gd name="connsiteY0" fmla="*/ 2997740 h 2997739"/>
              <a:gd name="connsiteX1" fmla="*/ 793692 w 793692"/>
              <a:gd name="connsiteY1" fmla="*/ 2997740 h 2997739"/>
              <a:gd name="connsiteX2" fmla="*/ 666701 w 793692"/>
              <a:gd name="connsiteY2" fmla="*/ 0 h 2997739"/>
              <a:gd name="connsiteX3" fmla="*/ 0 w 793692"/>
              <a:gd name="connsiteY3" fmla="*/ 2997740 h 2997739"/>
            </a:gdLst>
            <a:ahLst/>
            <a:cxnLst>
              <a:cxn ang="0">
                <a:pos x="connsiteX0" y="connsiteY0"/>
              </a:cxn>
              <a:cxn ang="0">
                <a:pos x="connsiteX1" y="connsiteY1"/>
              </a:cxn>
              <a:cxn ang="0">
                <a:pos x="connsiteX2" y="connsiteY2"/>
              </a:cxn>
              <a:cxn ang="0">
                <a:pos x="connsiteX3" y="connsiteY3"/>
              </a:cxn>
            </a:cxnLst>
            <a:rect l="l" t="t" r="r" b="b"/>
            <a:pathLst>
              <a:path w="793692" h="2997739">
                <a:moveTo>
                  <a:pt x="0" y="2997740"/>
                </a:moveTo>
                <a:lnTo>
                  <a:pt x="793692" y="2997740"/>
                </a:lnTo>
                <a:lnTo>
                  <a:pt x="666701" y="0"/>
                </a:lnTo>
                <a:lnTo>
                  <a:pt x="0" y="2997740"/>
                </a:lnTo>
                <a:close/>
              </a:path>
            </a:pathLst>
          </a:custGeom>
          <a:solidFill>
            <a:schemeClr val="accent5"/>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B1483D69-3EC1-8E4C-BC12-3EF5450F649A}"/>
              </a:ext>
            </a:extLst>
          </p:cNvPr>
          <p:cNvSpPr/>
          <p:nvPr userDrawn="1"/>
        </p:nvSpPr>
        <p:spPr>
          <a:xfrm>
            <a:off x="3283974" y="-9427"/>
            <a:ext cx="2000060" cy="6890523"/>
          </a:xfrm>
          <a:custGeom>
            <a:avLst/>
            <a:gdLst>
              <a:gd name="connsiteX0" fmla="*/ 869887 w 2482669"/>
              <a:gd name="connsiteY0" fmla="*/ 0 h 6859235"/>
              <a:gd name="connsiteX1" fmla="*/ 0 w 2482669"/>
              <a:gd name="connsiteY1" fmla="*/ 6859236 h 6859235"/>
              <a:gd name="connsiteX2" fmla="*/ 0 w 2482669"/>
              <a:gd name="connsiteY2" fmla="*/ 6859236 h 6859235"/>
              <a:gd name="connsiteX3" fmla="*/ 2482669 w 2482669"/>
              <a:gd name="connsiteY3" fmla="*/ 0 h 6859235"/>
              <a:gd name="connsiteX4" fmla="*/ 869887 w 2482669"/>
              <a:gd name="connsiteY4" fmla="*/ 0 h 68592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2669" h="6859235">
                <a:moveTo>
                  <a:pt x="869887" y="0"/>
                </a:moveTo>
                <a:lnTo>
                  <a:pt x="0" y="6859236"/>
                </a:lnTo>
                <a:lnTo>
                  <a:pt x="0" y="6859236"/>
                </a:lnTo>
                <a:lnTo>
                  <a:pt x="2482669" y="0"/>
                </a:lnTo>
                <a:lnTo>
                  <a:pt x="869887" y="0"/>
                </a:lnTo>
                <a:close/>
              </a:path>
            </a:pathLst>
          </a:custGeom>
          <a:solidFill>
            <a:schemeClr val="tx2">
              <a:alpha val="50000"/>
            </a:schemeClr>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6293022D-9045-4CD8-D2AC-2CC9CB117B73}"/>
              </a:ext>
            </a:extLst>
          </p:cNvPr>
          <p:cNvSpPr/>
          <p:nvPr userDrawn="1"/>
        </p:nvSpPr>
        <p:spPr>
          <a:xfrm>
            <a:off x="3664673" y="-1143"/>
            <a:ext cx="666701" cy="6865586"/>
          </a:xfrm>
          <a:custGeom>
            <a:avLst/>
            <a:gdLst>
              <a:gd name="connsiteX0" fmla="*/ 634954 w 666701"/>
              <a:gd name="connsiteY0" fmla="*/ 0 h 6865586"/>
              <a:gd name="connsiteX1" fmla="*/ 0 w 666701"/>
              <a:gd name="connsiteY1" fmla="*/ 6859236 h 6865586"/>
              <a:gd name="connsiteX2" fmla="*/ 666701 w 666701"/>
              <a:gd name="connsiteY2" fmla="*/ 6865587 h 6865586"/>
              <a:gd name="connsiteX3" fmla="*/ 666701 w 666701"/>
              <a:gd name="connsiteY3" fmla="*/ 0 h 6865586"/>
              <a:gd name="connsiteX4" fmla="*/ 634954 w 666701"/>
              <a:gd name="connsiteY4" fmla="*/ 0 h 6865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01" h="6865586">
                <a:moveTo>
                  <a:pt x="634954" y="0"/>
                </a:moveTo>
                <a:lnTo>
                  <a:pt x="0" y="6859236"/>
                </a:lnTo>
                <a:lnTo>
                  <a:pt x="666701" y="6865587"/>
                </a:lnTo>
                <a:lnTo>
                  <a:pt x="666701" y="0"/>
                </a:lnTo>
                <a:lnTo>
                  <a:pt x="634954" y="0"/>
                </a:lnTo>
                <a:close/>
              </a:path>
            </a:pathLst>
          </a:custGeom>
          <a:solidFill>
            <a:schemeClr val="accent2">
              <a:alpha val="50000"/>
            </a:schemeClr>
          </a:solidFill>
          <a:ln w="0" cap="flat">
            <a:noFill/>
            <a:prstDash val="solid"/>
            <a:miter/>
          </a:ln>
        </p:spPr>
        <p:txBody>
          <a:bodyPr rtlCol="0" anchor="ctr"/>
          <a:lstStyle/>
          <a:p>
            <a:endParaRPr lang="en-US"/>
          </a:p>
        </p:txBody>
      </p:sp>
    </p:spTree>
    <p:extLst>
      <p:ext uri="{BB962C8B-B14F-4D97-AF65-F5344CB8AC3E}">
        <p14:creationId xmlns:p14="http://schemas.microsoft.com/office/powerpoint/2010/main" val="15380746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Title White - Light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831850" y="702571"/>
            <a:ext cx="10515600" cy="2726429"/>
          </a:xfrm>
          <a:prstGeom prst="rect">
            <a:avLst/>
          </a:prstGeom>
        </p:spPr>
        <p:txBody>
          <a:bodyPr anchor="b">
            <a:normAutofit/>
          </a:bodyPr>
          <a:lstStyle>
            <a:lvl1pPr algn="ctr">
              <a:defRPr sz="5500">
                <a:solidFill>
                  <a:schemeClr val="accent2"/>
                </a:solidFill>
              </a:defRPr>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831850" y="3582296"/>
            <a:ext cx="10515600" cy="1500187"/>
          </a:xfrm>
          <a:prstGeom prst="rect">
            <a:avLst/>
          </a:prstGeom>
        </p:spPr>
        <p:txBody>
          <a:bodyPr/>
          <a:lstStyle>
            <a:lvl1pPr marL="0" indent="0" algn="ctr">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Footer Placeholder 4">
            <a:extLst>
              <a:ext uri="{FF2B5EF4-FFF2-40B4-BE49-F238E27FC236}">
                <a16:creationId xmlns:a16="http://schemas.microsoft.com/office/drawing/2014/main" id="{6DF94216-5596-4A68-866A-C5A3E744171C}"/>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9DB8B79-1580-FFBE-E9B7-662C4A9596A8}"/>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48A4E40F-D76F-52C0-646F-72823D77014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14913818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Section Title Whit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230B5-A936-ABB3-0919-4AC28AAE7B7B}"/>
              </a:ext>
            </a:extLst>
          </p:cNvPr>
          <p:cNvSpPr>
            <a:spLocks noGrp="1"/>
          </p:cNvSpPr>
          <p:nvPr>
            <p:ph type="ctrTitle"/>
          </p:nvPr>
        </p:nvSpPr>
        <p:spPr>
          <a:xfrm>
            <a:off x="1035424" y="685800"/>
            <a:ext cx="10340788" cy="2084575"/>
          </a:xfrm>
          <a:prstGeom prst="rect">
            <a:avLst/>
          </a:prstGeom>
        </p:spPr>
        <p:txBody>
          <a:bodyPr anchor="b"/>
          <a:lstStyle>
            <a:lvl1pPr algn="ctr">
              <a:defRPr sz="4500" b="0">
                <a:solidFill>
                  <a:schemeClr val="tx2"/>
                </a:solidFill>
              </a:defRPr>
            </a:lvl1pPr>
          </a:lstStyle>
          <a:p>
            <a:r>
              <a:rPr lang="en-US"/>
              <a:t>Click to edit Master title style</a:t>
            </a:r>
          </a:p>
        </p:txBody>
      </p:sp>
      <p:sp>
        <p:nvSpPr>
          <p:cNvPr id="3" name="Subtitle 2">
            <a:extLst>
              <a:ext uri="{FF2B5EF4-FFF2-40B4-BE49-F238E27FC236}">
                <a16:creationId xmlns:a16="http://schemas.microsoft.com/office/drawing/2014/main" id="{EAD2BDD5-303B-F09D-4E2F-1814EDCBEC28}"/>
              </a:ext>
            </a:extLst>
          </p:cNvPr>
          <p:cNvSpPr>
            <a:spLocks noGrp="1"/>
          </p:cNvSpPr>
          <p:nvPr>
            <p:ph type="subTitle" idx="1"/>
          </p:nvPr>
        </p:nvSpPr>
        <p:spPr>
          <a:xfrm>
            <a:off x="1035424" y="2943132"/>
            <a:ext cx="10340788"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Footer Placeholder 4">
            <a:extLst>
              <a:ext uri="{FF2B5EF4-FFF2-40B4-BE49-F238E27FC236}">
                <a16:creationId xmlns:a16="http://schemas.microsoft.com/office/drawing/2014/main" id="{D6CF46EB-4CE6-3348-1A9B-AA6A6EF60800}"/>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9" name="Slide Number Placeholder 5">
            <a:extLst>
              <a:ext uri="{FF2B5EF4-FFF2-40B4-BE49-F238E27FC236}">
                <a16:creationId xmlns:a16="http://schemas.microsoft.com/office/drawing/2014/main" id="{7F09A90A-C4BE-FFE6-C03A-90E489E3FB1E}"/>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20" name="Holder 5">
            <a:extLst>
              <a:ext uri="{FF2B5EF4-FFF2-40B4-BE49-F238E27FC236}">
                <a16:creationId xmlns:a16="http://schemas.microsoft.com/office/drawing/2014/main" id="{186919C5-B833-DB51-E249-8A088306FA8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17866860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entered Title with Wide Conten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36677857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ue Title with Wid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40055872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Quotation - White">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1F1CF5B1-6547-B4FF-43F0-39EFDA9F497D}"/>
              </a:ext>
            </a:extLst>
          </p:cNvPr>
          <p:cNvSpPr/>
          <p:nvPr userDrawn="1"/>
        </p:nvSpPr>
        <p:spPr>
          <a:xfrm>
            <a:off x="796301" y="812628"/>
            <a:ext cx="10139922" cy="3243382"/>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descr="Open quotation mark with solid fill">
            <a:extLst>
              <a:ext uri="{FF2B5EF4-FFF2-40B4-BE49-F238E27FC236}">
                <a16:creationId xmlns:a16="http://schemas.microsoft.com/office/drawing/2014/main" id="{1F4869A7-1DC3-ECB5-9183-C80D76AB63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1452" y="515522"/>
            <a:ext cx="1745095" cy="1745095"/>
          </a:xfrm>
          <a:prstGeom prst="rect">
            <a:avLst/>
          </a:prstGeom>
        </p:spPr>
      </p:pic>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1432560" y="1388070"/>
            <a:ext cx="9235440" cy="2367234"/>
          </a:xfrm>
          <a:prstGeom prst="rect">
            <a:avLst/>
          </a:prstGeom>
        </p:spPr>
        <p:txBody>
          <a:bodyPr anchor="t">
            <a:normAutofit/>
          </a:bodyPr>
          <a:lstStyle>
            <a:lvl1pPr marL="9525" indent="0" algn="l">
              <a:tabLst/>
              <a:defRPr sz="3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1432560" y="4428892"/>
            <a:ext cx="9235440" cy="1290320"/>
          </a:xfrm>
          <a:prstGeom prst="rect">
            <a:avLst/>
          </a:prstGeom>
        </p:spPr>
        <p:txBody>
          <a:bodyPr>
            <a:normAutofit/>
          </a:bodyPr>
          <a:lstStyle>
            <a:lvl1pPr marL="0" indent="0" algn="r">
              <a:buNone/>
              <a:defRPr sz="2800">
                <a:solidFill>
                  <a:schemeClr val="accent5"/>
                </a:solidFill>
                <a:latin typeface="Avenir Book" panose="02000503020000020003"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Footer Placeholder 4">
            <a:extLst>
              <a:ext uri="{FF2B5EF4-FFF2-40B4-BE49-F238E27FC236}">
                <a16:creationId xmlns:a16="http://schemas.microsoft.com/office/drawing/2014/main" id="{6DF94216-5596-4A68-866A-C5A3E744171C}"/>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9DB8B79-1580-FFBE-E9B7-662C4A9596A8}"/>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48A4E40F-D76F-52C0-646F-72823D77014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cxnSp>
        <p:nvCxnSpPr>
          <p:cNvPr id="8" name="Straight Connector 7">
            <a:extLst>
              <a:ext uri="{FF2B5EF4-FFF2-40B4-BE49-F238E27FC236}">
                <a16:creationId xmlns:a16="http://schemas.microsoft.com/office/drawing/2014/main" id="{F26D61FB-DEE0-6B48-799D-F6E1E2C4E6A9}"/>
              </a:ext>
            </a:extLst>
          </p:cNvPr>
          <p:cNvCxnSpPr>
            <a:cxnSpLocks/>
          </p:cNvCxnSpPr>
          <p:nvPr userDrawn="1"/>
        </p:nvCxnSpPr>
        <p:spPr>
          <a:xfrm>
            <a:off x="2164976" y="1143001"/>
            <a:ext cx="8503024" cy="0"/>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27D3A85-E189-B11A-EFF3-E9561246978D}"/>
              </a:ext>
            </a:extLst>
          </p:cNvPr>
          <p:cNvCxnSpPr>
            <a:cxnSpLocks/>
          </p:cNvCxnSpPr>
          <p:nvPr userDrawn="1"/>
        </p:nvCxnSpPr>
        <p:spPr>
          <a:xfrm flipV="1">
            <a:off x="1432560" y="4210567"/>
            <a:ext cx="9700661" cy="21256"/>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A810EE6-7529-47EF-5418-C215069A5C43}"/>
              </a:ext>
            </a:extLst>
          </p:cNvPr>
          <p:cNvCxnSpPr>
            <a:cxnSpLocks/>
          </p:cNvCxnSpPr>
          <p:nvPr userDrawn="1"/>
        </p:nvCxnSpPr>
        <p:spPr>
          <a:xfrm>
            <a:off x="11133221" y="1388069"/>
            <a:ext cx="0" cy="2798919"/>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6A6DA79-51D7-0493-B8F8-D85A9FF769AE}"/>
              </a:ext>
            </a:extLst>
          </p:cNvPr>
          <p:cNvCxnSpPr>
            <a:cxnSpLocks/>
          </p:cNvCxnSpPr>
          <p:nvPr userDrawn="1"/>
        </p:nvCxnSpPr>
        <p:spPr>
          <a:xfrm flipH="1">
            <a:off x="1175263" y="1925869"/>
            <a:ext cx="17043" cy="1829435"/>
          </a:xfrm>
          <a:prstGeom prst="line">
            <a:avLst/>
          </a:prstGeom>
          <a:ln w="25400">
            <a:solidFill>
              <a:schemeClr val="accent3"/>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23007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Navy Title with Wid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7111334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ide Blue Title_Hidden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4913329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Wide Navy Title_Hidden 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957C033-65E1-301F-A6C5-638026B37F25}"/>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22960" y="1359907"/>
            <a:ext cx="10515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42909482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 Centered Title with Wide Content">
    <p:bg>
      <p:bgPr>
        <a:solidFill>
          <a:schemeClr val="accent5"/>
        </a:solid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2" name="Picture 1">
            <a:extLst>
              <a:ext uri="{FF2B5EF4-FFF2-40B4-BE49-F238E27FC236}">
                <a16:creationId xmlns:a16="http://schemas.microsoft.com/office/drawing/2014/main" id="{2BCE8BD3-72E1-041A-86ED-0249B7A6F40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
        <p:nvSpPr>
          <p:cNvPr id="3" name="Holder 2">
            <a:extLst>
              <a:ext uri="{FF2B5EF4-FFF2-40B4-BE49-F238E27FC236}">
                <a16:creationId xmlns:a16="http://schemas.microsoft.com/office/drawing/2014/main" id="{10B758DD-4EA5-8EE5-70C5-FDB12445DEF8}"/>
              </a:ext>
            </a:extLst>
          </p:cNvPr>
          <p:cNvSpPr>
            <a:spLocks noGrp="1"/>
          </p:cNvSpPr>
          <p:nvPr>
            <p:ph type="title"/>
          </p:nvPr>
        </p:nvSpPr>
        <p:spPr>
          <a:xfrm>
            <a:off x="822960" y="398578"/>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13635498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_Wide Content Navy Grid Texture">
    <p:bg>
      <p:bgPr>
        <a:solidFill>
          <a:schemeClr val="accent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hqprint">
            <a:alphaModFix amt="30000"/>
            <a:extLst>
              <a:ext uri="{28A0092B-C50C-407E-A947-70E740481C1C}">
                <a14:useLocalDpi xmlns:a14="http://schemas.microsoft.com/office/drawing/2010/main"/>
              </a:ext>
            </a:extLst>
          </a:blip>
          <a:srcRect/>
          <a:stretch/>
        </p:blipFill>
        <p:spPr>
          <a:xfrm>
            <a:off x="7430" y="-14625"/>
            <a:ext cx="12192000"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24784115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4_Wide Content Blue Grid Texture">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hqprint">
            <a:alphaModFix amt="2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39846632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Wide Content Navy Blue Network Texture">
    <p:bg>
      <p:bgPr>
        <a:solidFill>
          <a:schemeClr val="accent5"/>
        </a:solidFill>
        <a:effectLst/>
      </p:bgPr>
    </p:bg>
    <p:spTree>
      <p:nvGrpSpPr>
        <p:cNvPr id="1" name=""/>
        <p:cNvGrpSpPr/>
        <p:nvPr/>
      </p:nvGrpSpPr>
      <p:grpSpPr>
        <a:xfrm>
          <a:off x="0" y="0"/>
          <a:ext cx="0" cy="0"/>
          <a:chOff x="0" y="0"/>
          <a:chExt cx="0" cy="0"/>
        </a:xfrm>
      </p:grpSpPr>
      <p:pic>
        <p:nvPicPr>
          <p:cNvPr id="3" name="Picture 2" descr="A close up of a network&#10;&#10;Description automatically generated">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124049285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5_Wide Content Blue Network Texture">
    <p:bg>
      <p:bgPr>
        <a:solidFill>
          <a:schemeClr val="tx2"/>
        </a:solidFill>
        <a:effectLst/>
      </p:bgPr>
    </p:bg>
    <p:spTree>
      <p:nvGrpSpPr>
        <p:cNvPr id="1" name=""/>
        <p:cNvGrpSpPr/>
        <p:nvPr/>
      </p:nvGrpSpPr>
      <p:grpSpPr>
        <a:xfrm>
          <a:off x="0" y="0"/>
          <a:ext cx="0" cy="0"/>
          <a:chOff x="0" y="0"/>
          <a:chExt cx="0" cy="0"/>
        </a:xfrm>
      </p:grpSpPr>
      <p:pic>
        <p:nvPicPr>
          <p:cNvPr id="3" name="Picture 2" descr="A close up of a network&#10;&#10;Description automatically generated">
            <a:extLst>
              <a:ext uri="{FF2B5EF4-FFF2-40B4-BE49-F238E27FC236}">
                <a16:creationId xmlns:a16="http://schemas.microsoft.com/office/drawing/2014/main" id="{3ABC51EF-8D92-FD99-2240-4277D50C59CF}"/>
              </a:ext>
            </a:extLst>
          </p:cNvPr>
          <p:cNvPicPr>
            <a:picLocks noChangeAspect="1"/>
          </p:cNvPicPr>
          <p:nvPr userDrawn="1"/>
        </p:nvPicPr>
        <p:blipFill rotWithShape="1">
          <a:blip r:embed="rId2" cstate="screen">
            <a:alphaModFix amt="20000"/>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1" name="Content Placeholder 2">
            <a:extLst>
              <a:ext uri="{FF2B5EF4-FFF2-40B4-BE49-F238E27FC236}">
                <a16:creationId xmlns:a16="http://schemas.microsoft.com/office/drawing/2014/main" id="{B8872D0F-370C-DE50-995E-73EEE0C1AB47}"/>
              </a:ext>
            </a:extLst>
          </p:cNvPr>
          <p:cNvSpPr>
            <a:spLocks noGrp="1"/>
          </p:cNvSpPr>
          <p:nvPr>
            <p:ph idx="1"/>
          </p:nvPr>
        </p:nvSpPr>
        <p:spPr>
          <a:xfrm>
            <a:off x="838200" y="1346655"/>
            <a:ext cx="10515600" cy="4351338"/>
          </a:xfrm>
          <a:prstGeom prst="rect">
            <a:avLst/>
          </a:prstGeom>
        </p:spPr>
        <p:txBody>
          <a:bodyPr/>
          <a:lstStyle>
            <a:lvl1pPr>
              <a:buClr>
                <a:schemeClr val="accent3"/>
              </a:buClr>
              <a:defRPr>
                <a:solidFill>
                  <a:schemeClr val="bg1"/>
                </a:solidFill>
              </a:defRPr>
            </a:lvl1pPr>
            <a:lvl2pPr>
              <a:buClr>
                <a:schemeClr val="accent3"/>
              </a:buClr>
              <a:defRPr>
                <a:solidFill>
                  <a:schemeClr val="bg1"/>
                </a:solidFill>
              </a:defRPr>
            </a:lvl2pPr>
            <a:lvl3pPr>
              <a:buClr>
                <a:schemeClr val="accent3"/>
              </a:buClr>
              <a:defRPr>
                <a:solidFill>
                  <a:schemeClr val="bg1"/>
                </a:solidFill>
              </a:defRPr>
            </a:lvl3pPr>
            <a:lvl4pPr>
              <a:buClr>
                <a:schemeClr val="accent3"/>
              </a:buClr>
              <a:defRPr>
                <a:solidFill>
                  <a:schemeClr val="bg1"/>
                </a:solidFill>
              </a:defRPr>
            </a:lvl4pPr>
            <a:lvl5pPr>
              <a:buClr>
                <a:schemeClr val="accent3"/>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Holder 2">
            <a:extLst>
              <a:ext uri="{FF2B5EF4-FFF2-40B4-BE49-F238E27FC236}">
                <a16:creationId xmlns:a16="http://schemas.microsoft.com/office/drawing/2014/main" id="{2DFDFA16-0AF7-197D-5FD6-E6C27577C4E8}"/>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4" name="Footer Placeholder 4">
            <a:extLst>
              <a:ext uri="{FF2B5EF4-FFF2-40B4-BE49-F238E27FC236}">
                <a16:creationId xmlns:a16="http://schemas.microsoft.com/office/drawing/2014/main" id="{DD3CFD9D-3C46-05E0-2160-E99B580765EA}"/>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2126F45-EBF6-B321-8CD1-E7FA1FD8357C}"/>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CF082D8C-F9DE-8898-3EAD-F31ECAEE1D1F}"/>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13817910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 Left with Bulleted List - MESC 10">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Rectangle 3">
            <a:extLst>
              <a:ext uri="{FF2B5EF4-FFF2-40B4-BE49-F238E27FC236}">
                <a16:creationId xmlns:a16="http://schemas.microsoft.com/office/drawing/2014/main" id="{280BED45-B0A8-6B8C-2E94-DC417DC64E31}"/>
              </a:ext>
            </a:extLst>
          </p:cNvPr>
          <p:cNvSpPr/>
          <p:nvPr userDrawn="1"/>
        </p:nvSpPr>
        <p:spPr>
          <a:xfrm>
            <a:off x="0" y="0"/>
            <a:ext cx="6105927"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3E1A5F9-C969-5058-0580-4EEB2009F315}"/>
              </a:ext>
            </a:extLst>
          </p:cNvPr>
          <p:cNvPicPr>
            <a:picLocks noChangeAspect="1"/>
          </p:cNvPicPr>
          <p:nvPr userDrawn="1"/>
        </p:nvPicPr>
        <p:blipFill rotWithShape="1">
          <a:blip r:embed="rId2" cstate="screen">
            <a:duotone>
              <a:schemeClr val="accent1">
                <a:shade val="45000"/>
                <a:satMod val="135000"/>
              </a:schemeClr>
              <a:prstClr val="white"/>
            </a:duotone>
            <a:alphaModFix amt="45000"/>
            <a:extLst>
              <a:ext uri="{28A0092B-C50C-407E-A947-70E740481C1C}">
                <a14:useLocalDpi xmlns:a14="http://schemas.microsoft.com/office/drawing/2010/main"/>
              </a:ext>
            </a:extLst>
          </a:blip>
          <a:srcRect/>
          <a:stretch/>
        </p:blipFill>
        <p:spPr>
          <a:xfrm>
            <a:off x="0" y="0"/>
            <a:ext cx="6110991" cy="6858000"/>
          </a:xfrm>
          <a:prstGeom prst="rect">
            <a:avLst/>
          </a:prstGeom>
        </p:spPr>
      </p:pic>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597219" y="850392"/>
            <a:ext cx="4911487" cy="2772727"/>
          </a:xfrm>
        </p:spPr>
        <p:txBody>
          <a:bodyPr lIns="0" tIns="0" rIns="0" bIns="0" anchor="t">
            <a:noAutofit/>
          </a:bodyPr>
          <a:lstStyle>
            <a:lvl1pPr>
              <a:defRPr sz="4800" b="0" i="0">
                <a:solidFill>
                  <a:schemeClr val="bg1"/>
                </a:solidFill>
                <a:latin typeface="Avenir LT Std 65 Medium"/>
                <a:cs typeface="Avenir LT Std 65 Medium"/>
              </a:defRPr>
            </a:lvl1pPr>
          </a:lstStyle>
          <a:p>
            <a:r>
              <a:rPr lang="en-US"/>
              <a:t>Click to edit Master title style</a:t>
            </a:r>
            <a:endParaRPr/>
          </a:p>
        </p:txBody>
      </p:sp>
      <p:sp>
        <p:nvSpPr>
          <p:cNvPr id="6" name="Content Placeholder 2">
            <a:extLst>
              <a:ext uri="{FF2B5EF4-FFF2-40B4-BE49-F238E27FC236}">
                <a16:creationId xmlns:a16="http://schemas.microsoft.com/office/drawing/2014/main" id="{32EBC87D-FA8F-CCE8-F32B-338A4D6AE9C4}"/>
              </a:ext>
            </a:extLst>
          </p:cNvPr>
          <p:cNvSpPr>
            <a:spLocks noGrp="1"/>
          </p:cNvSpPr>
          <p:nvPr>
            <p:ph idx="1"/>
          </p:nvPr>
        </p:nvSpPr>
        <p:spPr>
          <a:xfrm>
            <a:off x="6281532" y="850392"/>
            <a:ext cx="5072267" cy="484760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5">
            <a:extLst>
              <a:ext uri="{FF2B5EF4-FFF2-40B4-BE49-F238E27FC236}">
                <a16:creationId xmlns:a16="http://schemas.microsoft.com/office/drawing/2014/main" id="{0CA04354-EFC7-DDFF-1B9F-733F1568351B}"/>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7" name="Holder 5">
            <a:extLst>
              <a:ext uri="{FF2B5EF4-FFF2-40B4-BE49-F238E27FC236}">
                <a16:creationId xmlns:a16="http://schemas.microsoft.com/office/drawing/2014/main" id="{41A9BA2A-40BC-2E3D-472C-DD3C1C175DE0}"/>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6287698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 Left with Bulleted List - MESC 30">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Rectangle 3">
            <a:extLst>
              <a:ext uri="{FF2B5EF4-FFF2-40B4-BE49-F238E27FC236}">
                <a16:creationId xmlns:a16="http://schemas.microsoft.com/office/drawing/2014/main" id="{280BED45-B0A8-6B8C-2E94-DC417DC64E31}"/>
              </a:ext>
            </a:extLst>
          </p:cNvPr>
          <p:cNvSpPr/>
          <p:nvPr userDrawn="1"/>
        </p:nvSpPr>
        <p:spPr>
          <a:xfrm>
            <a:off x="0" y="0"/>
            <a:ext cx="6105927"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3E1A5F9-C969-5058-0580-4EEB2009F315}"/>
              </a:ext>
            </a:extLst>
          </p:cNvPr>
          <p:cNvPicPr>
            <a:picLocks noChangeAspect="1"/>
          </p:cNvPicPr>
          <p:nvPr userDrawn="1"/>
        </p:nvPicPr>
        <p:blipFill>
          <a:blip r:embed="rId2" cstate="screen">
            <a:duotone>
              <a:schemeClr val="accent5">
                <a:shade val="45000"/>
                <a:satMod val="135000"/>
              </a:schemeClr>
              <a:prstClr val="white"/>
            </a:duotone>
            <a:alphaModFix amt="30000"/>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597219" y="838030"/>
            <a:ext cx="4911487" cy="2722469"/>
          </a:xfrm>
        </p:spPr>
        <p:txBody>
          <a:bodyPr lIns="0" tIns="0" rIns="0" bIns="0" anchor="t">
            <a:noAutofit/>
          </a:bodyPr>
          <a:lstStyle>
            <a:lvl1pPr>
              <a:defRPr sz="4800" b="0" i="0">
                <a:solidFill>
                  <a:schemeClr val="bg1"/>
                </a:solidFill>
                <a:latin typeface="Avenir LT Std 65 Medium"/>
                <a:cs typeface="Avenir LT Std 65 Medium"/>
              </a:defRPr>
            </a:lvl1pPr>
          </a:lstStyle>
          <a:p>
            <a:r>
              <a:rPr lang="en-US"/>
              <a:t>Click to edit Master title style</a:t>
            </a:r>
            <a:endParaRPr/>
          </a:p>
        </p:txBody>
      </p:sp>
      <p:sp>
        <p:nvSpPr>
          <p:cNvPr id="2" name="Slide Number Placeholder 5">
            <a:extLst>
              <a:ext uri="{FF2B5EF4-FFF2-40B4-BE49-F238E27FC236}">
                <a16:creationId xmlns:a16="http://schemas.microsoft.com/office/drawing/2014/main" id="{2CD0CAD9-B3E4-D5D2-C4A0-4220466091CB}"/>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7" name="Holder 5">
            <a:extLst>
              <a:ext uri="{FF2B5EF4-FFF2-40B4-BE49-F238E27FC236}">
                <a16:creationId xmlns:a16="http://schemas.microsoft.com/office/drawing/2014/main" id="{D667040C-CC82-967D-B9FC-50B3335D9C41}"/>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8" name="Content Placeholder 2">
            <a:extLst>
              <a:ext uri="{FF2B5EF4-FFF2-40B4-BE49-F238E27FC236}">
                <a16:creationId xmlns:a16="http://schemas.microsoft.com/office/drawing/2014/main" id="{3A19628A-FAA7-4F4B-1974-65E9C9B3F9E0}"/>
              </a:ext>
            </a:extLst>
          </p:cNvPr>
          <p:cNvSpPr>
            <a:spLocks noGrp="1"/>
          </p:cNvSpPr>
          <p:nvPr>
            <p:ph idx="1"/>
          </p:nvPr>
        </p:nvSpPr>
        <p:spPr>
          <a:xfrm>
            <a:off x="6281532" y="850392"/>
            <a:ext cx="5072267" cy="484760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81516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Quotation - Bubble">
    <p:bg>
      <p:bgPr>
        <a:solidFill>
          <a:schemeClr val="accent2"/>
        </a:solidFill>
        <a:effectLst/>
      </p:bgPr>
    </p:bg>
    <p:spTree>
      <p:nvGrpSpPr>
        <p:cNvPr id="1" name=""/>
        <p:cNvGrpSpPr/>
        <p:nvPr/>
      </p:nvGrpSpPr>
      <p:grpSpPr>
        <a:xfrm>
          <a:off x="0" y="0"/>
          <a:ext cx="0" cy="0"/>
          <a:chOff x="0" y="0"/>
          <a:chExt cx="0" cy="0"/>
        </a:xfrm>
      </p:grpSpPr>
      <p:sp>
        <p:nvSpPr>
          <p:cNvPr id="6" name="Graphic 4">
            <a:extLst>
              <a:ext uri="{FF2B5EF4-FFF2-40B4-BE49-F238E27FC236}">
                <a16:creationId xmlns:a16="http://schemas.microsoft.com/office/drawing/2014/main" id="{FC702A23-6CBE-42B9-B55B-D6D729788188}"/>
              </a:ext>
            </a:extLst>
          </p:cNvPr>
          <p:cNvSpPr/>
          <p:nvPr/>
        </p:nvSpPr>
        <p:spPr>
          <a:xfrm>
            <a:off x="0" y="0"/>
            <a:ext cx="12206175" cy="5092264"/>
          </a:xfrm>
          <a:custGeom>
            <a:avLst/>
            <a:gdLst>
              <a:gd name="connsiteX0" fmla="*/ 0 w 7772399"/>
              <a:gd name="connsiteY0" fmla="*/ 0 h 3242548"/>
              <a:gd name="connsiteX1" fmla="*/ 7770376 w 7772399"/>
              <a:gd name="connsiteY1" fmla="*/ 0 h 3242548"/>
              <a:gd name="connsiteX2" fmla="*/ 7772400 w 7772399"/>
              <a:gd name="connsiteY2" fmla="*/ 2188012 h 3242548"/>
              <a:gd name="connsiteX3" fmla="*/ 2147530 w 7772399"/>
              <a:gd name="connsiteY3" fmla="*/ 2857976 h 3242548"/>
              <a:gd name="connsiteX4" fmla="*/ 2240637 w 7772399"/>
              <a:gd name="connsiteY4" fmla="*/ 3242548 h 3242548"/>
              <a:gd name="connsiteX5" fmla="*/ 1592937 w 7772399"/>
              <a:gd name="connsiteY5" fmla="*/ 2813447 h 3242548"/>
              <a:gd name="connsiteX6" fmla="*/ 0 w 7772399"/>
              <a:gd name="connsiteY6" fmla="*/ 1971842 h 3242548"/>
              <a:gd name="connsiteX7" fmla="*/ 0 w 7772399"/>
              <a:gd name="connsiteY7" fmla="*/ 0 h 324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2399" h="3242548">
                <a:moveTo>
                  <a:pt x="0" y="0"/>
                </a:moveTo>
                <a:lnTo>
                  <a:pt x="7770376" y="0"/>
                </a:lnTo>
                <a:lnTo>
                  <a:pt x="7772400" y="2188012"/>
                </a:lnTo>
                <a:cubicBezTo>
                  <a:pt x="7772400" y="2188012"/>
                  <a:pt x="5845493" y="3110984"/>
                  <a:pt x="2147530" y="2857976"/>
                </a:cubicBezTo>
                <a:cubicBezTo>
                  <a:pt x="2147530" y="2857976"/>
                  <a:pt x="2030135" y="3068479"/>
                  <a:pt x="2240637" y="3242548"/>
                </a:cubicBezTo>
                <a:cubicBezTo>
                  <a:pt x="2240637" y="3242548"/>
                  <a:pt x="1726525" y="3108960"/>
                  <a:pt x="1592937" y="2813447"/>
                </a:cubicBezTo>
                <a:cubicBezTo>
                  <a:pt x="1592937" y="2813447"/>
                  <a:pt x="293489" y="2554367"/>
                  <a:pt x="0" y="1971842"/>
                </a:cubicBezTo>
                <a:lnTo>
                  <a:pt x="0" y="0"/>
                </a:lnTo>
                <a:close/>
              </a:path>
            </a:pathLst>
          </a:custGeom>
          <a:solidFill>
            <a:srgbClr val="FFFFFF"/>
          </a:solidFill>
          <a:ln w="4048" cap="flat">
            <a:noFill/>
            <a:prstDash val="solid"/>
            <a:miter/>
          </a:ln>
        </p:spPr>
        <p:txBody>
          <a:bodyPr rtlCol="0" anchor="ctr"/>
          <a:lstStyle/>
          <a:p>
            <a:endParaRPr lang="en-US"/>
          </a:p>
        </p:txBody>
      </p:sp>
      <p:pic>
        <p:nvPicPr>
          <p:cNvPr id="7" name="Graphic 6" descr="Open quotation mark with solid fill">
            <a:extLst>
              <a:ext uri="{FF2B5EF4-FFF2-40B4-BE49-F238E27FC236}">
                <a16:creationId xmlns:a16="http://schemas.microsoft.com/office/drawing/2014/main" id="{287DF41A-5839-60AF-2CF6-139D0743640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1452" y="515522"/>
            <a:ext cx="1745095" cy="1745095"/>
          </a:xfrm>
          <a:prstGeom prst="rect">
            <a:avLst/>
          </a:prstGeom>
        </p:spPr>
      </p:pic>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1432560" y="1388070"/>
            <a:ext cx="9235440" cy="2367234"/>
          </a:xfrm>
          <a:prstGeom prst="rect">
            <a:avLst/>
          </a:prstGeom>
        </p:spPr>
        <p:txBody>
          <a:bodyPr anchor="t">
            <a:normAutofit/>
          </a:bodyPr>
          <a:lstStyle>
            <a:lvl1pPr marL="9525" indent="0" algn="l">
              <a:tabLst/>
              <a:defRPr sz="3800">
                <a:solidFill>
                  <a:schemeClr val="accent5"/>
                </a:solidFill>
              </a:defRPr>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3657600" y="4942298"/>
            <a:ext cx="7010400" cy="998514"/>
          </a:xfrm>
          <a:prstGeom prst="rect">
            <a:avLst/>
          </a:prstGeom>
        </p:spPr>
        <p:txBody>
          <a:bodyPr>
            <a:normAutofit/>
          </a:bodyPr>
          <a:lstStyle>
            <a:lvl1pPr marL="0" indent="0" algn="l">
              <a:buNone/>
              <a:defRPr sz="2800">
                <a:solidFill>
                  <a:schemeClr val="accent5"/>
                </a:solidFill>
                <a:latin typeface="Avenir Book" panose="02000503020000020003"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Footer Placeholder 4">
            <a:extLst>
              <a:ext uri="{FF2B5EF4-FFF2-40B4-BE49-F238E27FC236}">
                <a16:creationId xmlns:a16="http://schemas.microsoft.com/office/drawing/2014/main" id="{6DF94216-5596-4A68-866A-C5A3E744171C}"/>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5"/>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9DB8B79-1580-FFBE-E9B7-662C4A9596A8}"/>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5"/>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48A4E40F-D76F-52C0-646F-72823D77014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5"/>
                </a:solidFill>
                <a:latin typeface="Calibri" panose="020F0502020204030204" pitchFamily="34" charset="0"/>
                <a:cs typeface="Calibri" panose="020F0502020204030204" pitchFamily="34" charset="0"/>
              </a:defRPr>
            </a:lvl1pPr>
          </a:lstStyle>
          <a:p>
            <a:endParaRPr lang="en-US"/>
          </a:p>
        </p:txBody>
      </p:sp>
      <p:pic>
        <p:nvPicPr>
          <p:cNvPr id="12" name="Picture 11">
            <a:extLst>
              <a:ext uri="{FF2B5EF4-FFF2-40B4-BE49-F238E27FC236}">
                <a16:creationId xmlns:a16="http://schemas.microsoft.com/office/drawing/2014/main" id="{07DCA173-29B7-D1EF-9FC0-FA7CA7E3A79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15986935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 Left with Bulleted List - MESC 20">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Rectangle 3">
            <a:extLst>
              <a:ext uri="{FF2B5EF4-FFF2-40B4-BE49-F238E27FC236}">
                <a16:creationId xmlns:a16="http://schemas.microsoft.com/office/drawing/2014/main" id="{280BED45-B0A8-6B8C-2E94-DC417DC64E31}"/>
              </a:ext>
            </a:extLst>
          </p:cNvPr>
          <p:cNvSpPr/>
          <p:nvPr userDrawn="1"/>
        </p:nvSpPr>
        <p:spPr>
          <a:xfrm>
            <a:off x="0" y="0"/>
            <a:ext cx="6105927"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Solar panel array and wind turbines in a foggy field">
            <a:extLst>
              <a:ext uri="{FF2B5EF4-FFF2-40B4-BE49-F238E27FC236}">
                <a16:creationId xmlns:a16="http://schemas.microsoft.com/office/drawing/2014/main" id="{63E1A5F9-C969-5058-0580-4EEB2009F315}"/>
              </a:ext>
            </a:extLst>
          </p:cNvPr>
          <p:cNvPicPr>
            <a:picLocks noChangeAspect="1"/>
          </p:cNvPicPr>
          <p:nvPr userDrawn="1"/>
        </p:nvPicPr>
        <p:blipFill rotWithShape="1">
          <a:blip r:embed="rId2" cstate="screen">
            <a:alphaModFix amt="53000"/>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597219" y="850392"/>
            <a:ext cx="4911487" cy="2772727"/>
          </a:xfrm>
        </p:spPr>
        <p:txBody>
          <a:bodyPr lIns="0" tIns="0" rIns="0" bIns="0" anchor="t">
            <a:noAutofit/>
          </a:bodyPr>
          <a:lstStyle>
            <a:lvl1pPr>
              <a:defRPr sz="4800" b="0" i="0">
                <a:solidFill>
                  <a:schemeClr val="bg1"/>
                </a:solidFill>
                <a:latin typeface="Avenir LT Std 65 Medium"/>
                <a:cs typeface="Avenir LT Std 65 Medium"/>
              </a:defRPr>
            </a:lvl1pPr>
          </a:lstStyle>
          <a:p>
            <a:r>
              <a:rPr lang="en-US"/>
              <a:t>Click to edit Master title style</a:t>
            </a:r>
            <a:endParaRPr/>
          </a:p>
        </p:txBody>
      </p:sp>
      <p:sp>
        <p:nvSpPr>
          <p:cNvPr id="6" name="Content Placeholder 2">
            <a:extLst>
              <a:ext uri="{FF2B5EF4-FFF2-40B4-BE49-F238E27FC236}">
                <a16:creationId xmlns:a16="http://schemas.microsoft.com/office/drawing/2014/main" id="{32EBC87D-FA8F-CCE8-F32B-338A4D6AE9C4}"/>
              </a:ext>
            </a:extLst>
          </p:cNvPr>
          <p:cNvSpPr>
            <a:spLocks noGrp="1"/>
          </p:cNvSpPr>
          <p:nvPr>
            <p:ph idx="1"/>
          </p:nvPr>
        </p:nvSpPr>
        <p:spPr>
          <a:xfrm>
            <a:off x="6281532" y="850392"/>
            <a:ext cx="5072267" cy="484760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5">
            <a:extLst>
              <a:ext uri="{FF2B5EF4-FFF2-40B4-BE49-F238E27FC236}">
                <a16:creationId xmlns:a16="http://schemas.microsoft.com/office/drawing/2014/main" id="{0CA04354-EFC7-DDFF-1B9F-733F1568351B}"/>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7" name="Holder 5">
            <a:extLst>
              <a:ext uri="{FF2B5EF4-FFF2-40B4-BE49-F238E27FC236}">
                <a16:creationId xmlns:a16="http://schemas.microsoft.com/office/drawing/2014/main" id="{41A9BA2A-40BC-2E3D-472C-DD3C1C175DE0}"/>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30163386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on Left with Bulleted List - MESC 40">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79862"/>
            <a:ext cx="3079" cy="0"/>
          </a:xfrm>
          <a:custGeom>
            <a:avLst/>
            <a:gdLst/>
            <a:ahLst/>
            <a:cxnLst/>
            <a:rect l="l" t="t" r="r" b="b"/>
            <a:pathLst>
              <a:path w="2540">
                <a:moveTo>
                  <a:pt x="0" y="0"/>
                </a:moveTo>
                <a:lnTo>
                  <a:pt x="2095" y="0"/>
                </a:lnTo>
              </a:path>
            </a:pathLst>
          </a:custGeom>
          <a:ln w="12700">
            <a:solidFill>
              <a:srgbClr val="2460AD"/>
            </a:solidFill>
          </a:ln>
        </p:spPr>
        <p:txBody>
          <a:bodyPr wrap="square" lIns="0" tIns="0" rIns="0" bIns="0" rtlCol="0"/>
          <a:lstStyle/>
          <a:p>
            <a:endParaRPr sz="1588"/>
          </a:p>
        </p:txBody>
      </p:sp>
      <p:sp>
        <p:nvSpPr>
          <p:cNvPr id="18" name="bg object 18"/>
          <p:cNvSpPr/>
          <p:nvPr/>
        </p:nvSpPr>
        <p:spPr>
          <a:xfrm>
            <a:off x="1380286" y="6202251"/>
            <a:ext cx="0" cy="347382"/>
          </a:xfrm>
          <a:custGeom>
            <a:avLst/>
            <a:gdLst/>
            <a:ahLst/>
            <a:cxnLst/>
            <a:rect l="l" t="t" r="r" b="b"/>
            <a:pathLst>
              <a:path h="393700">
                <a:moveTo>
                  <a:pt x="0" y="0"/>
                </a:moveTo>
                <a:lnTo>
                  <a:pt x="0" y="393103"/>
                </a:lnTo>
              </a:path>
            </a:pathLst>
          </a:custGeom>
          <a:solidFill>
            <a:srgbClr val="FEA300"/>
          </a:solidFill>
        </p:spPr>
        <p:txBody>
          <a:bodyPr wrap="square" lIns="0" tIns="0" rIns="0" bIns="0" rtlCol="0"/>
          <a:lstStyle/>
          <a:p>
            <a:endParaRPr sz="1588"/>
          </a:p>
        </p:txBody>
      </p:sp>
      <p:sp>
        <p:nvSpPr>
          <p:cNvPr id="4" name="Rectangle 3">
            <a:extLst>
              <a:ext uri="{FF2B5EF4-FFF2-40B4-BE49-F238E27FC236}">
                <a16:creationId xmlns:a16="http://schemas.microsoft.com/office/drawing/2014/main" id="{280BED45-B0A8-6B8C-2E94-DC417DC64E31}"/>
              </a:ext>
            </a:extLst>
          </p:cNvPr>
          <p:cNvSpPr/>
          <p:nvPr userDrawn="1"/>
        </p:nvSpPr>
        <p:spPr>
          <a:xfrm>
            <a:off x="0" y="0"/>
            <a:ext cx="6105927" cy="685800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3E1A5F9-C969-5058-0580-4EEB2009F315}"/>
              </a:ext>
            </a:extLst>
          </p:cNvPr>
          <p:cNvPicPr>
            <a:picLocks noChangeAspect="1"/>
          </p:cNvPicPr>
          <p:nvPr userDrawn="1"/>
        </p:nvPicPr>
        <p:blipFill>
          <a:blip r:embed="rId2" cstate="screen">
            <a:duotone>
              <a:schemeClr val="accent2">
                <a:shade val="45000"/>
                <a:satMod val="135000"/>
              </a:schemeClr>
              <a:prstClr val="white"/>
            </a:duotone>
            <a:alphaModFix amt="50000"/>
            <a:extLst>
              <a:ext uri="{28A0092B-C50C-407E-A947-70E740481C1C}">
                <a14:useLocalDpi xmlns:a14="http://schemas.microsoft.com/office/drawing/2010/main"/>
              </a:ext>
            </a:extLst>
          </a:blip>
          <a:srcRect/>
          <a:stretch/>
        </p:blipFill>
        <p:spPr>
          <a:xfrm>
            <a:off x="9927" y="0"/>
            <a:ext cx="6096000" cy="6858000"/>
          </a:xfrm>
          <a:prstGeom prst="rect">
            <a:avLst/>
          </a:prstGeom>
        </p:spPr>
      </p:pic>
      <p:sp>
        <p:nvSpPr>
          <p:cNvPr id="9" name="Holder 2">
            <a:extLst>
              <a:ext uri="{FF2B5EF4-FFF2-40B4-BE49-F238E27FC236}">
                <a16:creationId xmlns:a16="http://schemas.microsoft.com/office/drawing/2014/main" id="{1B5F2A70-85C9-ADB3-A1FC-797DDF9915D3}"/>
              </a:ext>
            </a:extLst>
          </p:cNvPr>
          <p:cNvSpPr>
            <a:spLocks noGrp="1"/>
          </p:cNvSpPr>
          <p:nvPr>
            <p:ph type="title"/>
          </p:nvPr>
        </p:nvSpPr>
        <p:spPr>
          <a:xfrm>
            <a:off x="597219" y="832105"/>
            <a:ext cx="4911487" cy="2728394"/>
          </a:xfrm>
        </p:spPr>
        <p:txBody>
          <a:bodyPr lIns="0" tIns="0" rIns="0" bIns="0" anchor="t">
            <a:noAutofit/>
          </a:bodyPr>
          <a:lstStyle>
            <a:lvl1pPr>
              <a:defRPr sz="4800" b="0" i="0">
                <a:solidFill>
                  <a:schemeClr val="accent5"/>
                </a:solidFill>
                <a:latin typeface="Avenir LT Std 65 Medium"/>
                <a:cs typeface="Avenir LT Std 65 Medium"/>
              </a:defRPr>
            </a:lvl1pPr>
          </a:lstStyle>
          <a:p>
            <a:r>
              <a:rPr lang="en-US"/>
              <a:t>Click to edit Master title style</a:t>
            </a:r>
            <a:endParaRPr/>
          </a:p>
        </p:txBody>
      </p:sp>
      <p:sp>
        <p:nvSpPr>
          <p:cNvPr id="2" name="Slide Number Placeholder 5">
            <a:extLst>
              <a:ext uri="{FF2B5EF4-FFF2-40B4-BE49-F238E27FC236}">
                <a16:creationId xmlns:a16="http://schemas.microsoft.com/office/drawing/2014/main" id="{214E0667-83D7-9E28-5302-29FD37CD27F7}"/>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5"/>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7" name="Holder 5">
            <a:extLst>
              <a:ext uri="{FF2B5EF4-FFF2-40B4-BE49-F238E27FC236}">
                <a16:creationId xmlns:a16="http://schemas.microsoft.com/office/drawing/2014/main" id="{6A92A7FB-B557-F85B-28F3-38EE6C3EA1FB}"/>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8" name="Content Placeholder 2">
            <a:extLst>
              <a:ext uri="{FF2B5EF4-FFF2-40B4-BE49-F238E27FC236}">
                <a16:creationId xmlns:a16="http://schemas.microsoft.com/office/drawing/2014/main" id="{77CC683C-DB08-27C9-636F-18EA46034DDF}"/>
              </a:ext>
            </a:extLst>
          </p:cNvPr>
          <p:cNvSpPr>
            <a:spLocks noGrp="1"/>
          </p:cNvSpPr>
          <p:nvPr>
            <p:ph idx="1"/>
          </p:nvPr>
        </p:nvSpPr>
        <p:spPr>
          <a:xfrm>
            <a:off x="6281532" y="850392"/>
            <a:ext cx="5072267" cy="484760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70637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s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D6F8E53-8BE7-1921-B5FC-737D45F3676A}"/>
              </a:ext>
            </a:extLst>
          </p:cNvPr>
          <p:cNvSpPr/>
          <p:nvPr userDrawn="1"/>
        </p:nvSpPr>
        <p:spPr>
          <a:xfrm>
            <a:off x="-13252" y="0"/>
            <a:ext cx="6109252"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6281532"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3" name="Slide Number Placeholder 5">
            <a:extLst>
              <a:ext uri="{FF2B5EF4-FFF2-40B4-BE49-F238E27FC236}">
                <a16:creationId xmlns:a16="http://schemas.microsoft.com/office/drawing/2014/main" id="{B93F0864-C2D7-A095-C456-D1D53449B040}"/>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5" name="Content Placeholder 2">
            <a:extLst>
              <a:ext uri="{FF2B5EF4-FFF2-40B4-BE49-F238E27FC236}">
                <a16:creationId xmlns:a16="http://schemas.microsoft.com/office/drawing/2014/main" id="{8EA9CE33-CBF2-1764-3551-C56CD9ACC469}"/>
              </a:ext>
            </a:extLst>
          </p:cNvPr>
          <p:cNvSpPr>
            <a:spLocks noGrp="1"/>
          </p:cNvSpPr>
          <p:nvPr>
            <p:ph idx="1"/>
          </p:nvPr>
        </p:nvSpPr>
        <p:spPr>
          <a:xfrm>
            <a:off x="6281532" y="984982"/>
            <a:ext cx="5072267" cy="4713011"/>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EBB033EF-BCD1-56A7-1B02-CD27D9D27A67}"/>
              </a:ext>
            </a:extLst>
          </p:cNvPr>
          <p:cNvSpPr>
            <a:spLocks noGrp="1"/>
          </p:cNvSpPr>
          <p:nvPr>
            <p:ph sz="half" idx="11"/>
          </p:nvPr>
        </p:nvSpPr>
        <p:spPr>
          <a:xfrm>
            <a:off x="838200" y="2186609"/>
            <a:ext cx="4790661" cy="349686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2">
            <a:extLst>
              <a:ext uri="{FF2B5EF4-FFF2-40B4-BE49-F238E27FC236}">
                <a16:creationId xmlns:a16="http://schemas.microsoft.com/office/drawing/2014/main" id="{A91E2A52-A9FF-FC1B-585F-E276101C0C3F}"/>
              </a:ext>
            </a:extLst>
          </p:cNvPr>
          <p:cNvSpPr>
            <a:spLocks noGrp="1"/>
          </p:cNvSpPr>
          <p:nvPr>
            <p:ph type="title"/>
          </p:nvPr>
        </p:nvSpPr>
        <p:spPr>
          <a:xfrm>
            <a:off x="822960" y="984982"/>
            <a:ext cx="4729701" cy="923330"/>
          </a:xfrm>
          <a:prstGeom prst="rect">
            <a:avLst/>
          </a:prstGeom>
        </p:spPr>
        <p:txBody>
          <a:bodyPr wrap="square" lIns="91440" tIns="0" rIns="91440" bIns="0" anchor="b" anchorCtr="0">
            <a:spAutoFit/>
          </a:bodyPr>
          <a:lstStyle>
            <a:lvl1pPr algn="l">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Tree>
    <p:extLst>
      <p:ext uri="{BB962C8B-B14F-4D97-AF65-F5344CB8AC3E}">
        <p14:creationId xmlns:p14="http://schemas.microsoft.com/office/powerpoint/2010/main" val="26289482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s Nav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23BA9B-C71A-101D-7314-15CCC468BC76}"/>
              </a:ext>
            </a:extLst>
          </p:cNvPr>
          <p:cNvSpPr/>
          <p:nvPr userDrawn="1"/>
        </p:nvSpPr>
        <p:spPr>
          <a:xfrm>
            <a:off x="-13253" y="0"/>
            <a:ext cx="6109253" cy="6858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2186609"/>
            <a:ext cx="4790661" cy="349686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288374" y="1683026"/>
            <a:ext cx="5065426" cy="4000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984982"/>
            <a:ext cx="4729701" cy="923330"/>
          </a:xfrm>
          <a:prstGeom prst="rect">
            <a:avLst/>
          </a:prstGeom>
        </p:spPr>
        <p:txBody>
          <a:bodyPr wrap="square" lIns="91440" tIns="0" rIns="91440" bIns="0" anchor="b" anchorCtr="0">
            <a:spAutoFit/>
          </a:bodyPr>
          <a:lstStyle>
            <a:lvl1pPr algn="l">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5" name="Text Placeholder 2">
            <a:extLst>
              <a:ext uri="{FF2B5EF4-FFF2-40B4-BE49-F238E27FC236}">
                <a16:creationId xmlns:a16="http://schemas.microsoft.com/office/drawing/2014/main" id="{1F598125-4E54-7538-B87F-16231A090425}"/>
              </a:ext>
            </a:extLst>
          </p:cNvPr>
          <p:cNvSpPr>
            <a:spLocks noGrp="1"/>
          </p:cNvSpPr>
          <p:nvPr>
            <p:ph type="body" idx="17" hasCustomPrompt="1"/>
          </p:nvPr>
        </p:nvSpPr>
        <p:spPr>
          <a:xfrm>
            <a:off x="6288373" y="984982"/>
            <a:ext cx="5065427"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Slide Number Placeholder 5">
            <a:extLst>
              <a:ext uri="{FF2B5EF4-FFF2-40B4-BE49-F238E27FC236}">
                <a16:creationId xmlns:a16="http://schemas.microsoft.com/office/drawing/2014/main" id="{42A04946-1E3F-C4E2-4818-1B897790A352}"/>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Tree>
    <p:extLst>
      <p:ext uri="{BB962C8B-B14F-4D97-AF65-F5344CB8AC3E}">
        <p14:creationId xmlns:p14="http://schemas.microsoft.com/office/powerpoint/2010/main" val="30469994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Callout Arrow">
    <p:spTree>
      <p:nvGrpSpPr>
        <p:cNvPr id="1" name=""/>
        <p:cNvGrpSpPr/>
        <p:nvPr/>
      </p:nvGrpSpPr>
      <p:grpSpPr>
        <a:xfrm>
          <a:off x="0" y="0"/>
          <a:ext cx="0" cy="0"/>
          <a:chOff x="0" y="0"/>
          <a:chExt cx="0" cy="0"/>
        </a:xfrm>
      </p:grpSpPr>
      <p:sp>
        <p:nvSpPr>
          <p:cNvPr id="11" name="Graphic 9">
            <a:extLst>
              <a:ext uri="{FF2B5EF4-FFF2-40B4-BE49-F238E27FC236}">
                <a16:creationId xmlns:a16="http://schemas.microsoft.com/office/drawing/2014/main" id="{41343A81-956E-817E-AA42-B2B3DEC65776}"/>
              </a:ext>
            </a:extLst>
          </p:cNvPr>
          <p:cNvSpPr/>
          <p:nvPr/>
        </p:nvSpPr>
        <p:spPr>
          <a:xfrm>
            <a:off x="1" y="0"/>
            <a:ext cx="4064923" cy="6858000"/>
          </a:xfrm>
          <a:custGeom>
            <a:avLst/>
            <a:gdLst>
              <a:gd name="connsiteX0" fmla="*/ 5962650 w 6207125"/>
              <a:gd name="connsiteY0" fmla="*/ 6858000 h 6858000"/>
              <a:gd name="connsiteX1" fmla="*/ 0 w 6207125"/>
              <a:gd name="connsiteY1" fmla="*/ 6858000 h 6858000"/>
              <a:gd name="connsiteX2" fmla="*/ 0 w 6207125"/>
              <a:gd name="connsiteY2" fmla="*/ 0 h 6858000"/>
              <a:gd name="connsiteX3" fmla="*/ 5962650 w 6207125"/>
              <a:gd name="connsiteY3" fmla="*/ 0 h 6858000"/>
              <a:gd name="connsiteX4" fmla="*/ 5962650 w 6207125"/>
              <a:gd name="connsiteY4" fmla="*/ 2740025 h 6858000"/>
              <a:gd name="connsiteX5" fmla="*/ 6207125 w 6207125"/>
              <a:gd name="connsiteY5" fmla="*/ 3425825 h 6858000"/>
              <a:gd name="connsiteX6" fmla="*/ 5962650 w 6207125"/>
              <a:gd name="connsiteY6" fmla="*/ 411162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07125" h="6858000">
                <a:moveTo>
                  <a:pt x="5962650" y="6858000"/>
                </a:moveTo>
                <a:lnTo>
                  <a:pt x="0" y="6858000"/>
                </a:lnTo>
                <a:lnTo>
                  <a:pt x="0" y="0"/>
                </a:lnTo>
                <a:lnTo>
                  <a:pt x="5962650" y="0"/>
                </a:lnTo>
                <a:lnTo>
                  <a:pt x="5962650" y="2740025"/>
                </a:lnTo>
                <a:lnTo>
                  <a:pt x="6207125" y="3425825"/>
                </a:lnTo>
                <a:lnTo>
                  <a:pt x="5962650" y="4111625"/>
                </a:lnTo>
                <a:close/>
              </a:path>
            </a:pathLst>
          </a:custGeom>
          <a:solidFill>
            <a:schemeClr val="accent5"/>
          </a:solidFill>
          <a:ln w="6350" cap="flat">
            <a:noFill/>
            <a:prstDash val="solid"/>
            <a:miter/>
          </a:ln>
        </p:spPr>
        <p:txBody>
          <a:bodyPr rtlCol="0" anchor="ctr"/>
          <a:lstStyle/>
          <a:p>
            <a:endParaRPr lang="en-US"/>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2186609"/>
            <a:ext cx="4790661" cy="349686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532880" y="1683026"/>
            <a:ext cx="4820919" cy="4000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984982"/>
            <a:ext cx="4729701" cy="923330"/>
          </a:xfrm>
          <a:prstGeom prst="rect">
            <a:avLst/>
          </a:prstGeom>
        </p:spPr>
        <p:txBody>
          <a:bodyPr wrap="square" lIns="91440" tIns="0" rIns="91440" bIns="0" anchor="b" anchorCtr="0">
            <a:spAutoFit/>
          </a:bodyPr>
          <a:lstStyle>
            <a:lvl1pPr algn="l">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5" name="Text Placeholder 2">
            <a:extLst>
              <a:ext uri="{FF2B5EF4-FFF2-40B4-BE49-F238E27FC236}">
                <a16:creationId xmlns:a16="http://schemas.microsoft.com/office/drawing/2014/main" id="{1F598125-4E54-7538-B87F-16231A090425}"/>
              </a:ext>
            </a:extLst>
          </p:cNvPr>
          <p:cNvSpPr>
            <a:spLocks noGrp="1"/>
          </p:cNvSpPr>
          <p:nvPr>
            <p:ph type="body" idx="17" hasCustomPrompt="1"/>
          </p:nvPr>
        </p:nvSpPr>
        <p:spPr>
          <a:xfrm>
            <a:off x="6532880" y="984982"/>
            <a:ext cx="4820920"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Slide Number Placeholder 5">
            <a:extLst>
              <a:ext uri="{FF2B5EF4-FFF2-40B4-BE49-F238E27FC236}">
                <a16:creationId xmlns:a16="http://schemas.microsoft.com/office/drawing/2014/main" id="{8624FDDF-C4D7-E9F6-B86F-F3FF94B7E7B7}"/>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Tree>
    <p:extLst>
      <p:ext uri="{BB962C8B-B14F-4D97-AF65-F5344CB8AC3E}">
        <p14:creationId xmlns:p14="http://schemas.microsoft.com/office/powerpoint/2010/main" val="40541748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Callout Flag">
    <p:spTree>
      <p:nvGrpSpPr>
        <p:cNvPr id="1" name=""/>
        <p:cNvGrpSpPr/>
        <p:nvPr/>
      </p:nvGrpSpPr>
      <p:grpSpPr>
        <a:xfrm>
          <a:off x="0" y="0"/>
          <a:ext cx="0" cy="0"/>
          <a:chOff x="0" y="0"/>
          <a:chExt cx="0" cy="0"/>
        </a:xfrm>
      </p:grpSpPr>
      <p:sp>
        <p:nvSpPr>
          <p:cNvPr id="7" name="Graphic 5">
            <a:extLst>
              <a:ext uri="{FF2B5EF4-FFF2-40B4-BE49-F238E27FC236}">
                <a16:creationId xmlns:a16="http://schemas.microsoft.com/office/drawing/2014/main" id="{1855EFAB-D77E-8E40-ABC2-A3FC461C0759}"/>
              </a:ext>
            </a:extLst>
          </p:cNvPr>
          <p:cNvSpPr/>
          <p:nvPr/>
        </p:nvSpPr>
        <p:spPr>
          <a:xfrm>
            <a:off x="0" y="0"/>
            <a:ext cx="4729701" cy="6858000"/>
          </a:xfrm>
          <a:custGeom>
            <a:avLst/>
            <a:gdLst>
              <a:gd name="connsiteX0" fmla="*/ 5588000 w 6410325"/>
              <a:gd name="connsiteY0" fmla="*/ 6858000 h 6858000"/>
              <a:gd name="connsiteX1" fmla="*/ 0 w 6410325"/>
              <a:gd name="connsiteY1" fmla="*/ 6858000 h 6858000"/>
              <a:gd name="connsiteX2" fmla="*/ 0 w 6410325"/>
              <a:gd name="connsiteY2" fmla="*/ 0 h 6858000"/>
              <a:gd name="connsiteX3" fmla="*/ 5588000 w 6410325"/>
              <a:gd name="connsiteY3" fmla="*/ 0 h 6858000"/>
              <a:gd name="connsiteX4" fmla="*/ 6410325 w 6410325"/>
              <a:gd name="connsiteY4" fmla="*/ 3425825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0325" h="6858000">
                <a:moveTo>
                  <a:pt x="5588000" y="6858000"/>
                </a:moveTo>
                <a:lnTo>
                  <a:pt x="0" y="6858000"/>
                </a:lnTo>
                <a:lnTo>
                  <a:pt x="0" y="0"/>
                </a:lnTo>
                <a:lnTo>
                  <a:pt x="5588000" y="0"/>
                </a:lnTo>
                <a:lnTo>
                  <a:pt x="6410325" y="3425825"/>
                </a:lnTo>
                <a:close/>
              </a:path>
            </a:pathLst>
          </a:custGeom>
          <a:solidFill>
            <a:srgbClr val="1A325D"/>
          </a:solidFill>
          <a:ln w="6350" cap="flat">
            <a:noFill/>
            <a:prstDash val="solid"/>
            <a:miter/>
          </a:ln>
        </p:spPr>
        <p:txBody>
          <a:bodyPr rtlCol="0" anchor="ctr"/>
          <a:lstStyle/>
          <a:p>
            <a:endParaRPr lang="en-US"/>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2186609"/>
            <a:ext cx="4790661" cy="3496867"/>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532880" y="1683026"/>
            <a:ext cx="4820919" cy="400045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984982"/>
            <a:ext cx="4729701" cy="923330"/>
          </a:xfrm>
          <a:prstGeom prst="rect">
            <a:avLst/>
          </a:prstGeom>
        </p:spPr>
        <p:txBody>
          <a:bodyPr wrap="square" lIns="91440" tIns="0" rIns="91440" bIns="0" anchor="b" anchorCtr="0">
            <a:spAutoFit/>
          </a:bodyPr>
          <a:lstStyle>
            <a:lvl1pPr algn="l">
              <a:defRPr sz="3000" b="1" i="0">
                <a:solidFill>
                  <a:schemeClr val="bg1"/>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5" name="Text Placeholder 2">
            <a:extLst>
              <a:ext uri="{FF2B5EF4-FFF2-40B4-BE49-F238E27FC236}">
                <a16:creationId xmlns:a16="http://schemas.microsoft.com/office/drawing/2014/main" id="{1F598125-4E54-7538-B87F-16231A090425}"/>
              </a:ext>
            </a:extLst>
          </p:cNvPr>
          <p:cNvSpPr>
            <a:spLocks noGrp="1"/>
          </p:cNvSpPr>
          <p:nvPr>
            <p:ph type="body" idx="17" hasCustomPrompt="1"/>
          </p:nvPr>
        </p:nvSpPr>
        <p:spPr>
          <a:xfrm>
            <a:off x="6532880" y="984982"/>
            <a:ext cx="4820920"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Slide Number Placeholder 5">
            <a:extLst>
              <a:ext uri="{FF2B5EF4-FFF2-40B4-BE49-F238E27FC236}">
                <a16:creationId xmlns:a16="http://schemas.microsoft.com/office/drawing/2014/main" id="{E175E88A-4412-D957-D3A6-A1E60FF46429}"/>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Tree>
    <p:extLst>
      <p:ext uri="{BB962C8B-B14F-4D97-AF65-F5344CB8AC3E}">
        <p14:creationId xmlns:p14="http://schemas.microsoft.com/office/powerpoint/2010/main" val="30224968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332138"/>
            <a:ext cx="5181600" cy="435133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172200" y="1332138"/>
            <a:ext cx="5181600" cy="4351338"/>
          </a:xfrm>
          <a:prstGeom prst="rect">
            <a:avLst/>
          </a:prstGeo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Avenir LT Std 65 Medium"/>
                <a:cs typeface="Avenir LT Std 65 Medium"/>
              </a:defRPr>
            </a:lvl1pPr>
          </a:lstStyle>
          <a:p>
            <a:r>
              <a:rPr lang="en-US"/>
              <a:t>Click to edit Master title style</a:t>
            </a:r>
            <a:endParaRP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40244186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199" y="2165684"/>
            <a:ext cx="5081335" cy="3517791"/>
          </a:xfrm>
          <a:prstGeom prst="rect">
            <a:avLst/>
          </a:prstGeom>
        </p:spPr>
        <p:txBody>
          <a:bodyPr/>
          <a:lstStyle>
            <a:lvl1pPr>
              <a:buClr>
                <a:schemeClr val="tx2"/>
              </a:buClr>
              <a:defRPr b="0" i="0">
                <a:solidFill>
                  <a:schemeClr val="tx1"/>
                </a:solidFill>
                <a:latin typeface="Avenir Medium" panose="02000503020000020003" pitchFamily="2" charset="0"/>
              </a:defRPr>
            </a:lvl1pPr>
            <a:lvl2pPr>
              <a:buClr>
                <a:schemeClr val="tx2"/>
              </a:buClr>
              <a:defRPr b="0" i="0">
                <a:solidFill>
                  <a:schemeClr val="tx1"/>
                </a:solidFill>
                <a:latin typeface="Avenir Medium" panose="02000503020000020003" pitchFamily="2" charset="0"/>
              </a:defRPr>
            </a:lvl2pPr>
            <a:lvl3pPr>
              <a:buClr>
                <a:schemeClr val="tx2"/>
              </a:buClr>
              <a:defRPr b="0" i="0">
                <a:solidFill>
                  <a:schemeClr val="tx1"/>
                </a:solidFill>
                <a:latin typeface="Avenir Medium" panose="02000503020000020003" pitchFamily="2" charset="0"/>
              </a:defRPr>
            </a:lvl3pPr>
            <a:lvl4pPr>
              <a:buClr>
                <a:schemeClr val="tx2"/>
              </a:buClr>
              <a:defRPr b="0" i="0">
                <a:solidFill>
                  <a:schemeClr val="tx1"/>
                </a:solidFill>
                <a:latin typeface="Avenir Medium" panose="02000503020000020003" pitchFamily="2" charset="0"/>
              </a:defRPr>
            </a:lvl4pPr>
            <a:lvl5pPr>
              <a:buClr>
                <a:schemeClr val="tx2"/>
              </a:buClr>
              <a:defRPr b="0" i="0">
                <a:solidFill>
                  <a:schemeClr val="tx1"/>
                </a:solidFill>
                <a:latin typeface="Avenir Medium"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272463" y="2165684"/>
            <a:ext cx="5081336" cy="3517791"/>
          </a:xfrm>
          <a:prstGeom prst="rect">
            <a:avLst/>
          </a:prstGeo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2" name="Rectangle 1">
            <a:extLst>
              <a:ext uri="{FF2B5EF4-FFF2-40B4-BE49-F238E27FC236}">
                <a16:creationId xmlns:a16="http://schemas.microsoft.com/office/drawing/2014/main" id="{47F28861-A7F9-5EBD-0392-9FA92B429867}"/>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a:extLst>
              <a:ext uri="{FF2B5EF4-FFF2-40B4-BE49-F238E27FC236}">
                <a16:creationId xmlns:a16="http://schemas.microsoft.com/office/drawing/2014/main" id="{29D12DF0-F90B-9B03-C1AE-B8A94501783E}"/>
              </a:ext>
            </a:extLst>
          </p:cNvPr>
          <p:cNvSpPr>
            <a:spLocks noGrp="1"/>
          </p:cNvSpPr>
          <p:nvPr>
            <p:ph type="body" idx="17" hasCustomPrompt="1"/>
          </p:nvPr>
        </p:nvSpPr>
        <p:spPr>
          <a:xfrm>
            <a:off x="845363" y="1473991"/>
            <a:ext cx="5074172"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2">
            <a:extLst>
              <a:ext uri="{FF2B5EF4-FFF2-40B4-BE49-F238E27FC236}">
                <a16:creationId xmlns:a16="http://schemas.microsoft.com/office/drawing/2014/main" id="{E042AEA2-DB87-78C3-E9EB-D5019D82C650}"/>
              </a:ext>
            </a:extLst>
          </p:cNvPr>
          <p:cNvSpPr>
            <a:spLocks noGrp="1"/>
          </p:cNvSpPr>
          <p:nvPr>
            <p:ph type="body" idx="18" hasCustomPrompt="1"/>
          </p:nvPr>
        </p:nvSpPr>
        <p:spPr>
          <a:xfrm>
            <a:off x="6276045" y="1473991"/>
            <a:ext cx="5074172" cy="540955"/>
          </a:xfrm>
          <a:prstGeom prst="rect">
            <a:avLst/>
          </a:prstGeom>
        </p:spPr>
        <p:txBody>
          <a:bodyPr anchor="ctr">
            <a:normAutofit/>
          </a:bodyPr>
          <a:lstStyle>
            <a:lvl1pPr marL="0" indent="0" algn="ctr">
              <a:buNone/>
              <a:defRPr sz="2000" b="1" i="0">
                <a:solidFill>
                  <a:schemeClr val="tx2"/>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Holder 2">
            <a:extLst>
              <a:ext uri="{FF2B5EF4-FFF2-40B4-BE49-F238E27FC236}">
                <a16:creationId xmlns:a16="http://schemas.microsoft.com/office/drawing/2014/main" id="{75DD30B6-1218-455A-D93F-43DE0C856423}"/>
              </a:ext>
            </a:extLst>
          </p:cNvPr>
          <p:cNvSpPr>
            <a:spLocks noGrp="1"/>
          </p:cNvSpPr>
          <p:nvPr>
            <p:ph type="title"/>
          </p:nvPr>
        </p:nvSpPr>
        <p:spPr>
          <a:xfrm>
            <a:off x="815529" y="397614"/>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391411402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470990"/>
            <a:ext cx="3892826" cy="4212485"/>
          </a:xfrm>
          <a:prstGeom prst="rect">
            <a:avLst/>
          </a:prstGeom>
        </p:spPr>
        <p:txBody>
          <a:bodyPr/>
          <a:lstStyle>
            <a:lvl1pPr>
              <a:buClr>
                <a:schemeClr val="tx2"/>
              </a:buClr>
              <a:defRPr b="0" i="0">
                <a:solidFill>
                  <a:schemeClr val="tx1"/>
                </a:solidFill>
                <a:latin typeface="Avenir Medium" panose="02000503020000020003" pitchFamily="2" charset="0"/>
              </a:defRPr>
            </a:lvl1pPr>
            <a:lvl2pPr>
              <a:buClr>
                <a:schemeClr val="tx2"/>
              </a:buClr>
              <a:defRPr b="0" i="0">
                <a:solidFill>
                  <a:schemeClr val="tx1"/>
                </a:solidFill>
                <a:latin typeface="Avenir Medium" panose="02000503020000020003" pitchFamily="2" charset="0"/>
              </a:defRPr>
            </a:lvl2pPr>
            <a:lvl3pPr>
              <a:buClr>
                <a:schemeClr val="tx2"/>
              </a:buClr>
              <a:defRPr b="0" i="0">
                <a:solidFill>
                  <a:schemeClr val="tx1"/>
                </a:solidFill>
                <a:latin typeface="Avenir Medium" panose="02000503020000020003" pitchFamily="2" charset="0"/>
              </a:defRPr>
            </a:lvl3pPr>
            <a:lvl4pPr>
              <a:buClr>
                <a:schemeClr val="tx2"/>
              </a:buClr>
              <a:defRPr b="0" i="0">
                <a:solidFill>
                  <a:schemeClr val="tx1"/>
                </a:solidFill>
                <a:latin typeface="Avenir Medium" panose="02000503020000020003" pitchFamily="2" charset="0"/>
              </a:defRPr>
            </a:lvl4pPr>
            <a:lvl5pPr>
              <a:buClr>
                <a:schemeClr val="tx2"/>
              </a:buClr>
              <a:defRPr b="0" i="0">
                <a:solidFill>
                  <a:schemeClr val="tx1"/>
                </a:solidFill>
                <a:latin typeface="Avenir Medium" panose="02000503020000020003"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4996070" y="1470990"/>
            <a:ext cx="6357730" cy="4212485"/>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2" name="Rectangle 1">
            <a:extLst>
              <a:ext uri="{FF2B5EF4-FFF2-40B4-BE49-F238E27FC236}">
                <a16:creationId xmlns:a16="http://schemas.microsoft.com/office/drawing/2014/main" id="{47F28861-A7F9-5EBD-0392-9FA92B429867}"/>
              </a:ext>
            </a:extLst>
          </p:cNvPr>
          <p:cNvSpPr/>
          <p:nvPr userDrawn="1"/>
        </p:nvSpPr>
        <p:spPr>
          <a:xfrm>
            <a:off x="0" y="1892"/>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Holder 2">
            <a:extLst>
              <a:ext uri="{FF2B5EF4-FFF2-40B4-BE49-F238E27FC236}">
                <a16:creationId xmlns:a16="http://schemas.microsoft.com/office/drawing/2014/main" id="{997E9E8F-2FF5-81C1-BC47-7B55EEFD011B}"/>
              </a:ext>
            </a:extLst>
          </p:cNvPr>
          <p:cNvSpPr>
            <a:spLocks noGrp="1"/>
          </p:cNvSpPr>
          <p:nvPr>
            <p:ph type="title"/>
          </p:nvPr>
        </p:nvSpPr>
        <p:spPr>
          <a:xfrm>
            <a:off x="822960" y="406325"/>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362497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wo Columns_Grey Call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23BA9B-C71A-101D-7314-15CCC468BC76}"/>
              </a:ext>
            </a:extLst>
          </p:cNvPr>
          <p:cNvSpPr/>
          <p:nvPr userDrawn="1"/>
        </p:nvSpPr>
        <p:spPr>
          <a:xfrm>
            <a:off x="0" y="1332138"/>
            <a:ext cx="6019800" cy="4351338"/>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E56CA9A-1420-B8CD-2E41-26F361BA2CA7}"/>
              </a:ext>
            </a:extLst>
          </p:cNvPr>
          <p:cNvSpPr>
            <a:spLocks noGrp="1"/>
          </p:cNvSpPr>
          <p:nvPr>
            <p:ph sz="half" idx="1"/>
          </p:nvPr>
        </p:nvSpPr>
        <p:spPr>
          <a:xfrm>
            <a:off x="838200" y="1332138"/>
            <a:ext cx="5181600" cy="4351338"/>
          </a:xfrm>
          <a:prstGeom prst="rect">
            <a:avLst/>
          </a:prstGeom>
        </p:spPr>
        <p:txBody>
          <a:bodyPr/>
          <a:lstStyle>
            <a:lvl1pPr marL="342900" indent="-342900">
              <a:buClr>
                <a:schemeClr val="accent5"/>
              </a:buClr>
              <a:buFont typeface="Arial" panose="020B0604020202020204" pitchFamily="34" charset="0"/>
              <a:buChar char="•"/>
              <a:defRPr/>
            </a:lvl1pPr>
            <a:lvl2pPr marL="746333" indent="-342900">
              <a:buClr>
                <a:schemeClr val="accent5"/>
              </a:buClr>
              <a:buFont typeface="Arial" panose="020B0604020202020204" pitchFamily="34" charset="0"/>
              <a:buChar char="•"/>
              <a:defRPr/>
            </a:lvl2pPr>
            <a:lvl3pPr marL="1092617" indent="-285750">
              <a:buClr>
                <a:schemeClr val="accent5"/>
              </a:buClr>
              <a:buFont typeface="Arial" panose="020B0604020202020204" pitchFamily="34" charset="0"/>
              <a:buChar char="•"/>
              <a:defRPr/>
            </a:lvl3pPr>
            <a:lvl4pPr marL="1496050" indent="-285750">
              <a:buClr>
                <a:schemeClr val="accent5"/>
              </a:buClr>
              <a:buFont typeface="Arial" panose="020B0604020202020204" pitchFamily="34" charset="0"/>
              <a:buChar char="•"/>
              <a:defRPr/>
            </a:lvl4pPr>
            <a:lvl5pPr marL="1899483" indent="-285750">
              <a:buClr>
                <a:schemeClr val="accent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E558B5-355E-77D8-0FEB-9002F72CA17B}"/>
              </a:ext>
            </a:extLst>
          </p:cNvPr>
          <p:cNvSpPr>
            <a:spLocks noGrp="1"/>
          </p:cNvSpPr>
          <p:nvPr>
            <p:ph sz="half" idx="2"/>
          </p:nvPr>
        </p:nvSpPr>
        <p:spPr>
          <a:xfrm>
            <a:off x="6172200" y="1332138"/>
            <a:ext cx="5181600" cy="4351338"/>
          </a:xfrm>
          <a:prstGeom prst="rect">
            <a:avLst/>
          </a:prstGeo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Holder 2">
            <a:extLst>
              <a:ext uri="{FF2B5EF4-FFF2-40B4-BE49-F238E27FC236}">
                <a16:creationId xmlns:a16="http://schemas.microsoft.com/office/drawing/2014/main" id="{4D6DDD65-9165-2B5E-79E1-B1713FB39256}"/>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1" i="0">
                <a:solidFill>
                  <a:schemeClr val="tx2"/>
                </a:solidFill>
                <a:latin typeface="Avenir Black" panose="02000503020000020003" pitchFamily="2" charset="0"/>
                <a:cs typeface="Avenir Black" panose="02000503020000020003" pitchFamily="2" charset="0"/>
              </a:defRPr>
            </a:lvl1pPr>
          </a:lstStyle>
          <a:p>
            <a:r>
              <a:rPr lang="en-US"/>
              <a:t>Click to edit Master title style</a:t>
            </a:r>
            <a:endParaRPr/>
          </a:p>
        </p:txBody>
      </p:sp>
      <p:sp>
        <p:nvSpPr>
          <p:cNvPr id="15" name="Footer Placeholder 4">
            <a:extLst>
              <a:ext uri="{FF2B5EF4-FFF2-40B4-BE49-F238E27FC236}">
                <a16:creationId xmlns:a16="http://schemas.microsoft.com/office/drawing/2014/main" id="{551CF708-1092-2648-DE09-4F869DBC475F}"/>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6" name="Slide Number Placeholder 5">
            <a:extLst>
              <a:ext uri="{FF2B5EF4-FFF2-40B4-BE49-F238E27FC236}">
                <a16:creationId xmlns:a16="http://schemas.microsoft.com/office/drawing/2014/main" id="{BF93F5B7-6BB7-32AE-0F97-F663BB25D41D}"/>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7" name="Holder 5">
            <a:extLst>
              <a:ext uri="{FF2B5EF4-FFF2-40B4-BE49-F238E27FC236}">
                <a16:creationId xmlns:a16="http://schemas.microsoft.com/office/drawing/2014/main" id="{0E630541-104B-A52F-B371-45AA32BF83C6}"/>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40743250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Quotation - Blue">
    <p:bg>
      <p:bgPr>
        <a:solidFill>
          <a:schemeClr val="tx2"/>
        </a:solidFill>
        <a:effectLst/>
      </p:bgPr>
    </p:bg>
    <p:spTree>
      <p:nvGrpSpPr>
        <p:cNvPr id="1" name=""/>
        <p:cNvGrpSpPr/>
        <p:nvPr/>
      </p:nvGrpSpPr>
      <p:grpSpPr>
        <a:xfrm>
          <a:off x="0" y="0"/>
          <a:ext cx="0" cy="0"/>
          <a:chOff x="0" y="0"/>
          <a:chExt cx="0" cy="0"/>
        </a:xfrm>
      </p:grpSpPr>
      <p:pic>
        <p:nvPicPr>
          <p:cNvPr id="4" name="Graphic 3" descr="Open quotation mark with solid fill">
            <a:extLst>
              <a:ext uri="{FF2B5EF4-FFF2-40B4-BE49-F238E27FC236}">
                <a16:creationId xmlns:a16="http://schemas.microsoft.com/office/drawing/2014/main" id="{1F4869A7-1DC3-ECB5-9183-C80D76AB63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1452" y="811357"/>
            <a:ext cx="1745095" cy="1745095"/>
          </a:xfrm>
          <a:prstGeom prst="rect">
            <a:avLst/>
          </a:prstGeom>
        </p:spPr>
      </p:pic>
      <p:sp>
        <p:nvSpPr>
          <p:cNvPr id="2" name="Title 1">
            <a:extLst>
              <a:ext uri="{FF2B5EF4-FFF2-40B4-BE49-F238E27FC236}">
                <a16:creationId xmlns:a16="http://schemas.microsoft.com/office/drawing/2014/main" id="{D8EE4580-01C0-B542-DAEE-654468D281A5}"/>
              </a:ext>
            </a:extLst>
          </p:cNvPr>
          <p:cNvSpPr>
            <a:spLocks noGrp="1"/>
          </p:cNvSpPr>
          <p:nvPr>
            <p:ph type="title"/>
          </p:nvPr>
        </p:nvSpPr>
        <p:spPr>
          <a:xfrm>
            <a:off x="1432560" y="1683905"/>
            <a:ext cx="9235440" cy="2367234"/>
          </a:xfrm>
          <a:prstGeom prst="rect">
            <a:avLst/>
          </a:prstGeom>
        </p:spPr>
        <p:txBody>
          <a:bodyPr anchor="t">
            <a:normAutofit/>
          </a:bodyPr>
          <a:lstStyle>
            <a:lvl1pPr marL="9525" indent="0" algn="l">
              <a:tabLst/>
              <a:defRPr sz="38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B836FB9-B665-5BBE-0FB1-11FB56E3B07F}"/>
              </a:ext>
            </a:extLst>
          </p:cNvPr>
          <p:cNvSpPr>
            <a:spLocks noGrp="1"/>
          </p:cNvSpPr>
          <p:nvPr>
            <p:ph type="body" idx="1"/>
          </p:nvPr>
        </p:nvSpPr>
        <p:spPr>
          <a:xfrm>
            <a:off x="1432560" y="4278527"/>
            <a:ext cx="9235440" cy="1290320"/>
          </a:xfrm>
          <a:prstGeom prst="rect">
            <a:avLst/>
          </a:prstGeom>
        </p:spPr>
        <p:txBody>
          <a:bodyPr>
            <a:normAutofit/>
          </a:bodyPr>
          <a:lstStyle>
            <a:lvl1pPr marL="0" indent="0" algn="r">
              <a:buNone/>
              <a:defRPr sz="2800">
                <a:solidFill>
                  <a:schemeClr val="bg1"/>
                </a:solidFill>
                <a:latin typeface="Avenir Book" panose="02000503020000020003"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4" name="Footer Placeholder 4">
            <a:extLst>
              <a:ext uri="{FF2B5EF4-FFF2-40B4-BE49-F238E27FC236}">
                <a16:creationId xmlns:a16="http://schemas.microsoft.com/office/drawing/2014/main" id="{6DF94216-5596-4A68-866A-C5A3E744171C}"/>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15" name="Slide Number Placeholder 5">
            <a:extLst>
              <a:ext uri="{FF2B5EF4-FFF2-40B4-BE49-F238E27FC236}">
                <a16:creationId xmlns:a16="http://schemas.microsoft.com/office/drawing/2014/main" id="{39DB8B79-1580-FFBE-E9B7-662C4A9596A8}"/>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bg1"/>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6" name="Holder 5">
            <a:extLst>
              <a:ext uri="{FF2B5EF4-FFF2-40B4-BE49-F238E27FC236}">
                <a16:creationId xmlns:a16="http://schemas.microsoft.com/office/drawing/2014/main" id="{48A4E40F-D76F-52C0-646F-72823D77014D}"/>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bg1"/>
                </a:solidFill>
                <a:latin typeface="Calibri" panose="020F0502020204030204" pitchFamily="34" charset="0"/>
                <a:cs typeface="Calibri" panose="020F0502020204030204" pitchFamily="34" charset="0"/>
              </a:defRPr>
            </a:lvl1pPr>
          </a:lstStyle>
          <a:p>
            <a:endParaRPr lang="en-US"/>
          </a:p>
        </p:txBody>
      </p:sp>
      <p:pic>
        <p:nvPicPr>
          <p:cNvPr id="6" name="Picture 5">
            <a:extLst>
              <a:ext uri="{FF2B5EF4-FFF2-40B4-BE49-F238E27FC236}">
                <a16:creationId xmlns:a16="http://schemas.microsoft.com/office/drawing/2014/main" id="{E4D07675-CCF6-8BF5-8CF7-1A492C9D711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Tree>
    <p:extLst>
      <p:ext uri="{BB962C8B-B14F-4D97-AF65-F5344CB8AC3E}">
        <p14:creationId xmlns:p14="http://schemas.microsoft.com/office/powerpoint/2010/main" val="4869290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365126"/>
            <a:ext cx="10515600" cy="1221628"/>
          </a:xfrm>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846698" y="1789111"/>
            <a:ext cx="3328988" cy="3965575"/>
          </a:xfr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431506" y="1789110"/>
            <a:ext cx="3328988" cy="39655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8024812" y="1789109"/>
            <a:ext cx="3328988" cy="39655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06248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ue Three Columns with Divid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845362" y="1504709"/>
            <a:ext cx="3328988" cy="4249975"/>
          </a:xfr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431506" y="1504710"/>
            <a:ext cx="3328988" cy="42499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8024812" y="1504709"/>
            <a:ext cx="3328988" cy="42499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C2654E4D-710D-7172-6067-ACFE460508F5}"/>
              </a:ext>
            </a:extLst>
          </p:cNvPr>
          <p:cNvSpPr/>
          <p:nvPr userDrawn="1"/>
        </p:nvSpPr>
        <p:spPr>
          <a:xfrm>
            <a:off x="0" y="0"/>
            <a:ext cx="12192000" cy="1253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64FF63B-C383-2D30-1609-187E01DCB959}"/>
              </a:ext>
            </a:extLst>
          </p:cNvPr>
          <p:cNvCxnSpPr>
            <a:cxnSpLocks/>
          </p:cNvCxnSpPr>
          <p:nvPr userDrawn="1"/>
        </p:nvCxnSpPr>
        <p:spPr>
          <a:xfrm>
            <a:off x="4294208"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189A3D-9C54-3C11-67D1-91FFD4EC5A9B}"/>
              </a:ext>
            </a:extLst>
          </p:cNvPr>
          <p:cNvCxnSpPr>
            <a:cxnSpLocks/>
          </p:cNvCxnSpPr>
          <p:nvPr userDrawn="1"/>
        </p:nvCxnSpPr>
        <p:spPr>
          <a:xfrm>
            <a:off x="7907439"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Holder 2">
            <a:extLst>
              <a:ext uri="{FF2B5EF4-FFF2-40B4-BE49-F238E27FC236}">
                <a16:creationId xmlns:a16="http://schemas.microsoft.com/office/drawing/2014/main" id="{D1E4FA86-3266-85EE-3DD5-92645DB7A6ED}"/>
              </a:ext>
            </a:extLst>
          </p:cNvPr>
          <p:cNvSpPr>
            <a:spLocks noGrp="1"/>
          </p:cNvSpPr>
          <p:nvPr>
            <p:ph type="title"/>
          </p:nvPr>
        </p:nvSpPr>
        <p:spPr>
          <a:xfrm>
            <a:off x="822960" y="406792"/>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11788364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Navy Three Columns with Divider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13" name="Content Placeholder 12">
            <a:extLst>
              <a:ext uri="{FF2B5EF4-FFF2-40B4-BE49-F238E27FC236}">
                <a16:creationId xmlns:a16="http://schemas.microsoft.com/office/drawing/2014/main" id="{2A0C2BF4-368D-A3AD-0C13-A155B331DDFD}"/>
              </a:ext>
            </a:extLst>
          </p:cNvPr>
          <p:cNvSpPr>
            <a:spLocks noGrp="1"/>
          </p:cNvSpPr>
          <p:nvPr>
            <p:ph sz="quarter" idx="16"/>
          </p:nvPr>
        </p:nvSpPr>
        <p:spPr>
          <a:xfrm>
            <a:off x="845362" y="1504709"/>
            <a:ext cx="3328988" cy="4249975"/>
          </a:xfrm>
        </p:spPr>
        <p:txBody>
          <a:bodyPr/>
          <a:lstStyle>
            <a:lvl1pPr marL="342900" indent="-342900">
              <a:buClr>
                <a:schemeClr val="tx2"/>
              </a:buClr>
              <a:buFont typeface="Arial" panose="020B0604020202020204" pitchFamily="34" charset="0"/>
              <a:buChar char="•"/>
              <a:defRPr/>
            </a:lvl1pPr>
            <a:lvl2pPr marL="746333" indent="-342900">
              <a:buClr>
                <a:schemeClr val="tx2"/>
              </a:buClr>
              <a:buFont typeface="Arial" panose="020B0604020202020204" pitchFamily="34" charset="0"/>
              <a:buChar char="•"/>
              <a:defRPr/>
            </a:lvl2pPr>
            <a:lvl3pPr marL="1092617" indent="-285750">
              <a:buClr>
                <a:schemeClr val="tx2"/>
              </a:buClr>
              <a:buFont typeface="Arial" panose="020B0604020202020204" pitchFamily="34" charset="0"/>
              <a:buChar char="•"/>
              <a:defRPr/>
            </a:lvl3pPr>
            <a:lvl4pPr marL="1496050" indent="-285750">
              <a:buClr>
                <a:schemeClr val="tx2"/>
              </a:buClr>
              <a:buFont typeface="Arial" panose="020B0604020202020204" pitchFamily="34" charset="0"/>
              <a:buChar char="•"/>
              <a:defRPr/>
            </a:lvl4pPr>
            <a:lvl5pPr marL="1899483" indent="-285750">
              <a:buClr>
                <a:schemeClr val="tx2"/>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2">
            <a:extLst>
              <a:ext uri="{FF2B5EF4-FFF2-40B4-BE49-F238E27FC236}">
                <a16:creationId xmlns:a16="http://schemas.microsoft.com/office/drawing/2014/main" id="{A849DCEF-BEEE-356A-080B-48A67E9D0EC2}"/>
              </a:ext>
            </a:extLst>
          </p:cNvPr>
          <p:cNvSpPr>
            <a:spLocks noGrp="1"/>
          </p:cNvSpPr>
          <p:nvPr>
            <p:ph sz="quarter" idx="17"/>
          </p:nvPr>
        </p:nvSpPr>
        <p:spPr>
          <a:xfrm>
            <a:off x="4431506" y="1504710"/>
            <a:ext cx="3328988" cy="42499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2">
            <a:extLst>
              <a:ext uri="{FF2B5EF4-FFF2-40B4-BE49-F238E27FC236}">
                <a16:creationId xmlns:a16="http://schemas.microsoft.com/office/drawing/2014/main" id="{1125CA99-1549-9283-56CD-97029E57B4A8}"/>
              </a:ext>
            </a:extLst>
          </p:cNvPr>
          <p:cNvSpPr>
            <a:spLocks noGrp="1"/>
          </p:cNvSpPr>
          <p:nvPr>
            <p:ph sz="quarter" idx="18"/>
          </p:nvPr>
        </p:nvSpPr>
        <p:spPr>
          <a:xfrm>
            <a:off x="8024812" y="1504709"/>
            <a:ext cx="3328988" cy="4249975"/>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5">
            <a:extLst>
              <a:ext uri="{FF2B5EF4-FFF2-40B4-BE49-F238E27FC236}">
                <a16:creationId xmlns:a16="http://schemas.microsoft.com/office/drawing/2014/main" id="{C2654E4D-710D-7172-6067-ACFE460508F5}"/>
              </a:ext>
            </a:extLst>
          </p:cNvPr>
          <p:cNvSpPr/>
          <p:nvPr userDrawn="1"/>
        </p:nvSpPr>
        <p:spPr>
          <a:xfrm>
            <a:off x="0" y="0"/>
            <a:ext cx="12192000" cy="125333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464FF63B-C383-2D30-1609-187E01DCB959}"/>
              </a:ext>
            </a:extLst>
          </p:cNvPr>
          <p:cNvCxnSpPr>
            <a:cxnSpLocks/>
          </p:cNvCxnSpPr>
          <p:nvPr userDrawn="1"/>
        </p:nvCxnSpPr>
        <p:spPr>
          <a:xfrm>
            <a:off x="4294208"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5189A3D-9C54-3C11-67D1-91FFD4EC5A9B}"/>
              </a:ext>
            </a:extLst>
          </p:cNvPr>
          <p:cNvCxnSpPr>
            <a:cxnSpLocks/>
          </p:cNvCxnSpPr>
          <p:nvPr userDrawn="1"/>
        </p:nvCxnSpPr>
        <p:spPr>
          <a:xfrm>
            <a:off x="7907439" y="2592729"/>
            <a:ext cx="0" cy="211816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Holder 2">
            <a:extLst>
              <a:ext uri="{FF2B5EF4-FFF2-40B4-BE49-F238E27FC236}">
                <a16:creationId xmlns:a16="http://schemas.microsoft.com/office/drawing/2014/main" id="{E06FFCDB-99DA-C355-27A3-32A8F179121E}"/>
              </a:ext>
            </a:extLst>
          </p:cNvPr>
          <p:cNvSpPr>
            <a:spLocks noGrp="1"/>
          </p:cNvSpPr>
          <p:nvPr>
            <p:ph type="title"/>
          </p:nvPr>
        </p:nvSpPr>
        <p:spPr>
          <a:xfrm>
            <a:off x="822960" y="406792"/>
            <a:ext cx="10560941" cy="553998"/>
          </a:xfrm>
          <a:prstGeom prst="rect">
            <a:avLst/>
          </a:prstGeom>
        </p:spPr>
        <p:txBody>
          <a:bodyPr wrap="square" lIns="91440" tIns="0" rIns="91440" bIns="0" anchor="b" anchorCtr="0">
            <a:spAutoFit/>
          </a:bodyPr>
          <a:lstStyle>
            <a:lvl1pPr algn="ctr">
              <a:defRPr sz="3600" b="0" i="0">
                <a:solidFill>
                  <a:schemeClr val="bg1"/>
                </a:solidFill>
                <a:latin typeface="Avenir LT Std 65 Medium"/>
                <a:cs typeface="Avenir LT Std 65 Medium"/>
              </a:defRPr>
            </a:lvl1pPr>
          </a:lstStyle>
          <a:p>
            <a:r>
              <a:rPr lang="en-US"/>
              <a:t>Click to edit Master title style</a:t>
            </a:r>
            <a:endParaRPr/>
          </a:p>
        </p:txBody>
      </p:sp>
    </p:spTree>
    <p:extLst>
      <p:ext uri="{BB962C8B-B14F-4D97-AF65-F5344CB8AC3E}">
        <p14:creationId xmlns:p14="http://schemas.microsoft.com/office/powerpoint/2010/main" val="8273972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ur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365126"/>
            <a:ext cx="10515600" cy="1221628"/>
          </a:xfrm>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16" name="Content Placeholder 15">
            <a:extLst>
              <a:ext uri="{FF2B5EF4-FFF2-40B4-BE49-F238E27FC236}">
                <a16:creationId xmlns:a16="http://schemas.microsoft.com/office/drawing/2014/main" id="{DC9F83AB-9D50-77B1-AB13-5795BF9AACFE}"/>
              </a:ext>
            </a:extLst>
          </p:cNvPr>
          <p:cNvSpPr>
            <a:spLocks noGrp="1"/>
          </p:cNvSpPr>
          <p:nvPr>
            <p:ph sz="quarter" idx="17"/>
          </p:nvPr>
        </p:nvSpPr>
        <p:spPr>
          <a:xfrm>
            <a:off x="845362" y="1803210"/>
            <a:ext cx="2435225" cy="3965575"/>
          </a:xfrm>
        </p:spPr>
        <p:txBody>
          <a:bodyPr/>
          <a:lstStyle>
            <a:lvl1pPr>
              <a:buClr>
                <a:schemeClr val="tx2"/>
              </a:buClr>
              <a:defRPr/>
            </a:lvl1pPr>
            <a:lvl2pPr>
              <a:buClr>
                <a:schemeClr val="tx2"/>
              </a:buClr>
              <a:defRPr/>
            </a:lvl2pPr>
            <a:lvl3pPr>
              <a:buClr>
                <a:schemeClr val="tx2"/>
              </a:buClr>
              <a:defRPr/>
            </a:lvl3pPr>
          </a:lstStyle>
          <a:p>
            <a:pPr lvl="0"/>
            <a:r>
              <a:rPr lang="en-US"/>
              <a:t>Click to edit Master text styles</a:t>
            </a:r>
          </a:p>
          <a:p>
            <a:pPr lvl="1"/>
            <a:r>
              <a:rPr lang="en-US"/>
              <a:t>Second level</a:t>
            </a:r>
          </a:p>
          <a:p>
            <a:pPr lvl="2"/>
            <a:r>
              <a:rPr lang="en-US"/>
              <a:t>Third level</a:t>
            </a:r>
          </a:p>
        </p:txBody>
      </p:sp>
      <p:sp>
        <p:nvSpPr>
          <p:cNvPr id="17" name="Content Placeholder 15">
            <a:extLst>
              <a:ext uri="{FF2B5EF4-FFF2-40B4-BE49-F238E27FC236}">
                <a16:creationId xmlns:a16="http://schemas.microsoft.com/office/drawing/2014/main" id="{E5267D86-6975-928F-095B-4D0D4F557E04}"/>
              </a:ext>
            </a:extLst>
          </p:cNvPr>
          <p:cNvSpPr>
            <a:spLocks noGrp="1"/>
          </p:cNvSpPr>
          <p:nvPr>
            <p:ph sz="quarter" idx="18"/>
          </p:nvPr>
        </p:nvSpPr>
        <p:spPr>
          <a:xfrm>
            <a:off x="3524718" y="1803208"/>
            <a:ext cx="2435225" cy="3965575"/>
          </a:xfrm>
        </p:spPr>
        <p:txBody>
          <a:bodyPr/>
          <a:lstStyle>
            <a:lvl1pPr>
              <a:buClr>
                <a:schemeClr val="tx2"/>
              </a:buClr>
              <a:defRPr/>
            </a:lvl1pPr>
            <a:lvl2pPr>
              <a:buClr>
                <a:schemeClr val="tx2"/>
              </a:buClr>
              <a:defRPr/>
            </a:lvl2pPr>
            <a:lvl3pPr>
              <a:buClr>
                <a:schemeClr val="tx2"/>
              </a:buClr>
              <a:defRPr/>
            </a:lvl3pPr>
          </a:lstStyle>
          <a:p>
            <a:pPr lvl="0"/>
            <a:r>
              <a:rPr lang="en-US"/>
              <a:t>Click to edit Master text styles</a:t>
            </a:r>
          </a:p>
          <a:p>
            <a:pPr lvl="1"/>
            <a:r>
              <a:rPr lang="en-US"/>
              <a:t>Second level</a:t>
            </a:r>
          </a:p>
          <a:p>
            <a:pPr lvl="2"/>
            <a:r>
              <a:rPr lang="en-US"/>
              <a:t>Third level</a:t>
            </a:r>
          </a:p>
        </p:txBody>
      </p:sp>
      <p:sp>
        <p:nvSpPr>
          <p:cNvPr id="18" name="Content Placeholder 15">
            <a:extLst>
              <a:ext uri="{FF2B5EF4-FFF2-40B4-BE49-F238E27FC236}">
                <a16:creationId xmlns:a16="http://schemas.microsoft.com/office/drawing/2014/main" id="{E5E1AFF2-0A78-9384-AE9F-6C1637A5DAB7}"/>
              </a:ext>
            </a:extLst>
          </p:cNvPr>
          <p:cNvSpPr>
            <a:spLocks noGrp="1"/>
          </p:cNvSpPr>
          <p:nvPr>
            <p:ph sz="quarter" idx="19"/>
          </p:nvPr>
        </p:nvSpPr>
        <p:spPr>
          <a:xfrm>
            <a:off x="6232058" y="1804510"/>
            <a:ext cx="2435225" cy="3965575"/>
          </a:xfrm>
        </p:spPr>
        <p:txBody>
          <a:bodyPr/>
          <a:lstStyle>
            <a:lvl1pPr>
              <a:buClr>
                <a:schemeClr val="tx2"/>
              </a:buClr>
              <a:defRPr/>
            </a:lvl1pPr>
            <a:lvl2pPr>
              <a:buClr>
                <a:schemeClr val="tx2"/>
              </a:buClr>
              <a:defRPr/>
            </a:lvl2pPr>
            <a:lvl3pPr>
              <a:buClr>
                <a:schemeClr val="tx2"/>
              </a:buClr>
              <a:defRPr/>
            </a:lvl3pPr>
          </a:lstStyle>
          <a:p>
            <a:pPr lvl="0"/>
            <a:r>
              <a:rPr lang="en-US"/>
              <a:t>Click to edit Master text styles</a:t>
            </a:r>
          </a:p>
          <a:p>
            <a:pPr lvl="1"/>
            <a:r>
              <a:rPr lang="en-US"/>
              <a:t>Second level</a:t>
            </a:r>
          </a:p>
          <a:p>
            <a:pPr lvl="2"/>
            <a:r>
              <a:rPr lang="en-US"/>
              <a:t>Third level</a:t>
            </a:r>
          </a:p>
        </p:txBody>
      </p:sp>
      <p:sp>
        <p:nvSpPr>
          <p:cNvPr id="19" name="Content Placeholder 15">
            <a:extLst>
              <a:ext uri="{FF2B5EF4-FFF2-40B4-BE49-F238E27FC236}">
                <a16:creationId xmlns:a16="http://schemas.microsoft.com/office/drawing/2014/main" id="{92A502BB-540D-F9D1-D9B0-BE79C873DB94}"/>
              </a:ext>
            </a:extLst>
          </p:cNvPr>
          <p:cNvSpPr>
            <a:spLocks noGrp="1"/>
          </p:cNvSpPr>
          <p:nvPr>
            <p:ph sz="quarter" idx="20"/>
          </p:nvPr>
        </p:nvSpPr>
        <p:spPr>
          <a:xfrm>
            <a:off x="8911413" y="1803208"/>
            <a:ext cx="2435225" cy="3965575"/>
          </a:xfrm>
        </p:spPr>
        <p:txBody>
          <a:bodyPr/>
          <a:lstStyle>
            <a:lvl1pPr>
              <a:buClr>
                <a:schemeClr val="tx2"/>
              </a:buClr>
              <a:defRPr/>
            </a:lvl1pPr>
            <a:lvl2pPr>
              <a:buClr>
                <a:schemeClr val="tx2"/>
              </a:buClr>
              <a:defRPr/>
            </a:lvl2pPr>
            <a:lvl3pPr>
              <a:buClr>
                <a:schemeClr val="tx2"/>
              </a:buCl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964925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Column Text with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7B8E6-BF58-FD72-55DB-E85E2D38D383}"/>
              </a:ext>
            </a:extLst>
          </p:cNvPr>
          <p:cNvSpPr>
            <a:spLocks noGrp="1"/>
          </p:cNvSpPr>
          <p:nvPr>
            <p:ph type="title"/>
          </p:nvPr>
        </p:nvSpPr>
        <p:spPr>
          <a:xfrm>
            <a:off x="838200" y="459509"/>
            <a:ext cx="10515600" cy="1040797"/>
          </a:xfrm>
        </p:spPr>
        <p:txBody>
          <a:bodyPr/>
          <a:lstStyle>
            <a:lvl1pPr algn="ctr">
              <a:defRPr/>
            </a:lvl1pPr>
          </a:lstStyle>
          <a:p>
            <a:r>
              <a:rPr lang="en-US"/>
              <a:t>Click to edit Master title style</a:t>
            </a:r>
          </a:p>
        </p:txBody>
      </p:sp>
      <p:sp>
        <p:nvSpPr>
          <p:cNvPr id="3" name="Footer Placeholder 2">
            <a:extLst>
              <a:ext uri="{FF2B5EF4-FFF2-40B4-BE49-F238E27FC236}">
                <a16:creationId xmlns:a16="http://schemas.microsoft.com/office/drawing/2014/main" id="{519BDECF-D5EE-14A8-D07B-4B88A6D5B2CD}"/>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034C4FB-9FCF-5B05-3D1F-BD0D549FF509}"/>
              </a:ext>
            </a:extLst>
          </p:cNvPr>
          <p:cNvSpPr>
            <a:spLocks noGrp="1"/>
          </p:cNvSpPr>
          <p:nvPr>
            <p:ph type="sldNum" sz="quarter" idx="11"/>
          </p:nvPr>
        </p:nvSpPr>
        <p:spPr/>
        <p:txBody>
          <a:bodyPr/>
          <a:lstStyle/>
          <a:p>
            <a:fld id="{02B5F485-982A-41B4-B657-C5770F0E9220}" type="slidenum">
              <a:rPr lang="en-US" smtClean="0"/>
              <a:pPr/>
              <a:t>‹#›</a:t>
            </a:fld>
            <a:endParaRPr lang="en-US"/>
          </a:p>
        </p:txBody>
      </p:sp>
      <p:sp>
        <p:nvSpPr>
          <p:cNvPr id="5" name="Date Placeholder 4">
            <a:extLst>
              <a:ext uri="{FF2B5EF4-FFF2-40B4-BE49-F238E27FC236}">
                <a16:creationId xmlns:a16="http://schemas.microsoft.com/office/drawing/2014/main" id="{416679D3-072A-E891-FB4F-839623383633}"/>
              </a:ext>
            </a:extLst>
          </p:cNvPr>
          <p:cNvSpPr>
            <a:spLocks noGrp="1"/>
          </p:cNvSpPr>
          <p:nvPr>
            <p:ph type="dt" sz="half" idx="12"/>
          </p:nvPr>
        </p:nvSpPr>
        <p:spPr/>
        <p:txBody>
          <a:bodyPr/>
          <a:lstStyle/>
          <a:p>
            <a:endParaRPr lang="en-US"/>
          </a:p>
        </p:txBody>
      </p:sp>
      <p:sp>
        <p:nvSpPr>
          <p:cNvPr id="6" name="Text Placeholder 2">
            <a:extLst>
              <a:ext uri="{FF2B5EF4-FFF2-40B4-BE49-F238E27FC236}">
                <a16:creationId xmlns:a16="http://schemas.microsoft.com/office/drawing/2014/main" id="{7D7C8541-12C1-3581-72D9-3B984D5BE336}"/>
              </a:ext>
            </a:extLst>
          </p:cNvPr>
          <p:cNvSpPr>
            <a:spLocks noGrp="1"/>
          </p:cNvSpPr>
          <p:nvPr>
            <p:ph type="body" idx="1" hasCustomPrompt="1"/>
          </p:nvPr>
        </p:nvSpPr>
        <p:spPr>
          <a:xfrm>
            <a:off x="845362" y="1624214"/>
            <a:ext cx="5157787" cy="540955"/>
          </a:xfrm>
          <a:prstGeom prst="rect">
            <a:avLst/>
          </a:prstGeom>
        </p:spPr>
        <p:txBody>
          <a:bodyPr anchor="ctr">
            <a:normAutofit/>
          </a:bodyPr>
          <a:lstStyle>
            <a:lvl1pPr marL="0" indent="0" algn="ctr">
              <a:buNone/>
              <a:defRPr sz="1800" b="1" i="0">
                <a:solidFill>
                  <a:schemeClr val="accent5"/>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BA9030B6-1255-405D-F315-9B68CDEFF113}"/>
              </a:ext>
            </a:extLst>
          </p:cNvPr>
          <p:cNvSpPr>
            <a:spLocks noGrp="1"/>
          </p:cNvSpPr>
          <p:nvPr>
            <p:ph type="body" idx="17" hasCustomPrompt="1"/>
          </p:nvPr>
        </p:nvSpPr>
        <p:spPr>
          <a:xfrm>
            <a:off x="6240363" y="1630566"/>
            <a:ext cx="5106275" cy="540955"/>
          </a:xfrm>
          <a:prstGeom prst="rect">
            <a:avLst/>
          </a:prstGeom>
        </p:spPr>
        <p:txBody>
          <a:bodyPr anchor="ctr">
            <a:normAutofit/>
          </a:bodyPr>
          <a:lstStyle>
            <a:lvl1pPr marL="0" indent="0" algn="ctr">
              <a:buNone/>
              <a:defRPr sz="1800" b="1" i="0">
                <a:solidFill>
                  <a:schemeClr val="accent5"/>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Content Placeholder 10">
            <a:extLst>
              <a:ext uri="{FF2B5EF4-FFF2-40B4-BE49-F238E27FC236}">
                <a16:creationId xmlns:a16="http://schemas.microsoft.com/office/drawing/2014/main" id="{35B62B7D-657B-2F33-0F7D-C4A7D9B7655B}"/>
              </a:ext>
            </a:extLst>
          </p:cNvPr>
          <p:cNvSpPr>
            <a:spLocks noGrp="1"/>
          </p:cNvSpPr>
          <p:nvPr>
            <p:ph sz="quarter" idx="18"/>
          </p:nvPr>
        </p:nvSpPr>
        <p:spPr>
          <a:xfrm>
            <a:off x="845362" y="2390214"/>
            <a:ext cx="2482850" cy="3457476"/>
          </a:xfrm>
        </p:spPr>
        <p:txBody>
          <a:bodyPr/>
          <a:lstStyle/>
          <a:p>
            <a:pPr lvl="0"/>
            <a:r>
              <a:rPr lang="en-US"/>
              <a:t>Click to edit Master text styles</a:t>
            </a:r>
          </a:p>
          <a:p>
            <a:pPr lvl="1"/>
            <a:r>
              <a:rPr lang="en-US"/>
              <a:t>Second level</a:t>
            </a:r>
          </a:p>
          <a:p>
            <a:pPr lvl="2"/>
            <a:r>
              <a:rPr lang="en-US"/>
              <a:t>Third level</a:t>
            </a:r>
          </a:p>
        </p:txBody>
      </p:sp>
      <p:sp>
        <p:nvSpPr>
          <p:cNvPr id="15" name="Content Placeholder 15">
            <a:extLst>
              <a:ext uri="{FF2B5EF4-FFF2-40B4-BE49-F238E27FC236}">
                <a16:creationId xmlns:a16="http://schemas.microsoft.com/office/drawing/2014/main" id="{0B2CFCA0-D4B2-407A-C0FE-3CC132BF86BB}"/>
              </a:ext>
            </a:extLst>
          </p:cNvPr>
          <p:cNvSpPr>
            <a:spLocks noGrp="1"/>
          </p:cNvSpPr>
          <p:nvPr>
            <p:ph sz="quarter" idx="19"/>
          </p:nvPr>
        </p:nvSpPr>
        <p:spPr>
          <a:xfrm>
            <a:off x="3563823" y="2376208"/>
            <a:ext cx="2435225" cy="3471482"/>
          </a:xfrm>
        </p:spPr>
        <p:txBody>
          <a:body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F4453067-7D1E-9A5B-4DDD-3639A98CB5DF}"/>
              </a:ext>
            </a:extLst>
          </p:cNvPr>
          <p:cNvSpPr>
            <a:spLocks noGrp="1"/>
          </p:cNvSpPr>
          <p:nvPr>
            <p:ph sz="quarter" idx="20"/>
          </p:nvPr>
        </p:nvSpPr>
        <p:spPr>
          <a:xfrm>
            <a:off x="6234659" y="2376207"/>
            <a:ext cx="2435225" cy="3471482"/>
          </a:xfrm>
        </p:spPr>
        <p:txBody>
          <a:bodyPr/>
          <a:lstStyle/>
          <a:p>
            <a:pPr lvl="0"/>
            <a:r>
              <a:rPr lang="en-US"/>
              <a:t>Click to edit Master text styles</a:t>
            </a:r>
          </a:p>
          <a:p>
            <a:pPr lvl="1"/>
            <a:r>
              <a:rPr lang="en-US"/>
              <a:t>Second level</a:t>
            </a:r>
          </a:p>
          <a:p>
            <a:pPr lvl="2"/>
            <a:r>
              <a:rPr lang="en-US"/>
              <a:t>Third level</a:t>
            </a:r>
          </a:p>
        </p:txBody>
      </p:sp>
      <p:sp>
        <p:nvSpPr>
          <p:cNvPr id="17" name="Content Placeholder 15">
            <a:extLst>
              <a:ext uri="{FF2B5EF4-FFF2-40B4-BE49-F238E27FC236}">
                <a16:creationId xmlns:a16="http://schemas.microsoft.com/office/drawing/2014/main" id="{4A7B43BF-4975-D435-3038-915E872E5CFF}"/>
              </a:ext>
            </a:extLst>
          </p:cNvPr>
          <p:cNvSpPr>
            <a:spLocks noGrp="1"/>
          </p:cNvSpPr>
          <p:nvPr>
            <p:ph sz="quarter" idx="21"/>
          </p:nvPr>
        </p:nvSpPr>
        <p:spPr>
          <a:xfrm>
            <a:off x="8911413" y="2383210"/>
            <a:ext cx="2435225" cy="3471482"/>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548781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mparison with Secondary Titl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A7C0111-8D38-DADB-3FF9-AFA33A3C5848}"/>
              </a:ext>
            </a:extLst>
          </p:cNvPr>
          <p:cNvSpPr>
            <a:spLocks noGrp="1"/>
          </p:cNvSpPr>
          <p:nvPr>
            <p:ph type="body" idx="1" hasCustomPrompt="1"/>
          </p:nvPr>
        </p:nvSpPr>
        <p:spPr>
          <a:xfrm>
            <a:off x="839788" y="1303797"/>
            <a:ext cx="5157787" cy="823912"/>
          </a:xfrm>
          <a:prstGeom prst="rect">
            <a:avLst/>
          </a:prstGeom>
        </p:spPr>
        <p:txBody>
          <a:bodyPr anchor="ctr">
            <a:normAutofit/>
          </a:bodyPr>
          <a:lstStyle>
            <a:lvl1pPr marL="0" indent="0" algn="ctr">
              <a:buNone/>
              <a:defRPr sz="2000" b="1" i="0">
                <a:solidFill>
                  <a:schemeClr val="accent5"/>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6795097-975E-D965-7F9D-330C57FDAC4D}"/>
              </a:ext>
            </a:extLst>
          </p:cNvPr>
          <p:cNvSpPr>
            <a:spLocks noGrp="1"/>
          </p:cNvSpPr>
          <p:nvPr>
            <p:ph sz="half" idx="2"/>
          </p:nvPr>
        </p:nvSpPr>
        <p:spPr>
          <a:xfrm>
            <a:off x="839788" y="2334225"/>
            <a:ext cx="5157787" cy="3478071"/>
          </a:xfrm>
          <a:prstGeom prst="rect">
            <a:avLst/>
          </a:prstGeom>
        </p:spPr>
        <p:txBody>
          <a:bodyPr/>
          <a:lstStyle>
            <a:lvl1pPr>
              <a:lnSpc>
                <a:spcPct val="100000"/>
              </a:lnSpc>
              <a:buClr>
                <a:schemeClr val="tx2"/>
              </a:buClr>
              <a:defRPr/>
            </a:lvl1pPr>
            <a:lvl2pPr>
              <a:lnSpc>
                <a:spcPct val="100000"/>
              </a:lnSpc>
              <a:buClr>
                <a:schemeClr val="tx2"/>
              </a:buClr>
              <a:defRPr/>
            </a:lvl2pPr>
            <a:lvl3pPr>
              <a:lnSpc>
                <a:spcPct val="100000"/>
              </a:lnSpc>
              <a:buClr>
                <a:schemeClr val="tx2"/>
              </a:buClr>
              <a:defRPr/>
            </a:lvl3pPr>
            <a:lvl4pPr>
              <a:lnSpc>
                <a:spcPct val="100000"/>
              </a:lnSpc>
              <a:buClr>
                <a:schemeClr val="tx2"/>
              </a:buClr>
              <a:defRPr/>
            </a:lvl4pPr>
            <a:lvl5pPr>
              <a:lnSpc>
                <a:spcPct val="100000"/>
              </a:lnSpc>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7334921-9959-0168-45D0-EB0D5CE4BD5B}"/>
              </a:ext>
            </a:extLst>
          </p:cNvPr>
          <p:cNvSpPr>
            <a:spLocks noGrp="1"/>
          </p:cNvSpPr>
          <p:nvPr>
            <p:ph type="body" sz="quarter" idx="3" hasCustomPrompt="1"/>
          </p:nvPr>
        </p:nvSpPr>
        <p:spPr>
          <a:xfrm>
            <a:off x="6172200" y="1303797"/>
            <a:ext cx="5183188" cy="823912"/>
          </a:xfrm>
          <a:prstGeom prst="rect">
            <a:avLst/>
          </a:prstGeom>
        </p:spPr>
        <p:txBody>
          <a:bodyPr anchor="ctr">
            <a:normAutofit/>
          </a:bodyPr>
          <a:lstStyle>
            <a:lvl1pPr marL="0" indent="0" algn="ctr">
              <a:buNone/>
              <a:defRPr sz="2000" b="1" i="0">
                <a:solidFill>
                  <a:schemeClr val="accent5"/>
                </a:solidFill>
                <a:latin typeface="Avenir Black" panose="02000503020000020003"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D05A5C-6F72-F7AD-5044-5A688D33FBDB}"/>
              </a:ext>
            </a:extLst>
          </p:cNvPr>
          <p:cNvSpPr>
            <a:spLocks noGrp="1"/>
          </p:cNvSpPr>
          <p:nvPr>
            <p:ph sz="quarter" idx="4"/>
          </p:nvPr>
        </p:nvSpPr>
        <p:spPr>
          <a:xfrm>
            <a:off x="6172200" y="2334225"/>
            <a:ext cx="5183188" cy="3478072"/>
          </a:xfrm>
          <a:prstGeom prst="rect">
            <a:avLst/>
          </a:prstGeom>
        </p:spPr>
        <p:txBody>
          <a:bodyPr/>
          <a:lstStyle>
            <a:lvl1pPr>
              <a:lnSpc>
                <a:spcPct val="100000"/>
              </a:lnSpc>
              <a:buClr>
                <a:schemeClr val="tx2"/>
              </a:buClr>
              <a:defRPr/>
            </a:lvl1pPr>
            <a:lvl2pPr>
              <a:lnSpc>
                <a:spcPct val="100000"/>
              </a:lnSpc>
              <a:buClr>
                <a:schemeClr val="tx2"/>
              </a:buClr>
              <a:defRPr/>
            </a:lvl2pPr>
            <a:lvl3pPr>
              <a:lnSpc>
                <a:spcPct val="100000"/>
              </a:lnSpc>
              <a:buClr>
                <a:schemeClr val="tx2"/>
              </a:buClr>
              <a:defRPr/>
            </a:lvl3pPr>
            <a:lvl4pPr>
              <a:lnSpc>
                <a:spcPct val="100000"/>
              </a:lnSpc>
              <a:buClr>
                <a:schemeClr val="tx2"/>
              </a:buClr>
              <a:defRPr/>
            </a:lvl4pPr>
            <a:lvl5pPr>
              <a:lnSpc>
                <a:spcPct val="100000"/>
              </a:lnSpc>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Holder 2">
            <a:extLst>
              <a:ext uri="{FF2B5EF4-FFF2-40B4-BE49-F238E27FC236}">
                <a16:creationId xmlns:a16="http://schemas.microsoft.com/office/drawing/2014/main" id="{26FB0911-599B-24FD-FF61-45D3BF31A35D}"/>
              </a:ext>
            </a:extLst>
          </p:cNvPr>
          <p:cNvSpPr>
            <a:spLocks noGrp="1"/>
          </p:cNvSpPr>
          <p:nvPr>
            <p:ph type="title"/>
          </p:nvPr>
        </p:nvSpPr>
        <p:spPr>
          <a:xfrm>
            <a:off x="822960" y="635615"/>
            <a:ext cx="10560941" cy="461665"/>
          </a:xfrm>
          <a:prstGeom prst="rect">
            <a:avLst/>
          </a:prstGeom>
        </p:spPr>
        <p:txBody>
          <a:bodyPr wrap="square" lIns="91440" tIns="0" rIns="91440" bIns="0" anchor="b" anchorCtr="0">
            <a:spAutoFit/>
          </a:bodyPr>
          <a:lstStyle>
            <a:lvl1pPr algn="ctr">
              <a:defRPr sz="3000" b="0" i="0">
                <a:solidFill>
                  <a:schemeClr val="tx2"/>
                </a:solidFill>
                <a:latin typeface="Avenir LT Std 65 Medium"/>
                <a:cs typeface="Avenir LT Std 65 Medium"/>
              </a:defRPr>
            </a:lvl1pPr>
          </a:lstStyle>
          <a:p>
            <a:r>
              <a:rPr lang="en-US"/>
              <a:t>Click to edit Master title style</a:t>
            </a:r>
            <a:endParaRPr/>
          </a:p>
        </p:txBody>
      </p:sp>
      <p:sp>
        <p:nvSpPr>
          <p:cNvPr id="17" name="Footer Placeholder 4">
            <a:extLst>
              <a:ext uri="{FF2B5EF4-FFF2-40B4-BE49-F238E27FC236}">
                <a16:creationId xmlns:a16="http://schemas.microsoft.com/office/drawing/2014/main" id="{C22B2303-BDE6-E925-0553-2171465F494B}"/>
              </a:ext>
            </a:extLst>
          </p:cNvPr>
          <p:cNvSpPr>
            <a:spLocks noGrp="1"/>
          </p:cNvSpPr>
          <p:nvPr>
            <p:ph type="ftr" sz="quarter" idx="10"/>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8" name="Slide Number Placeholder 5">
            <a:extLst>
              <a:ext uri="{FF2B5EF4-FFF2-40B4-BE49-F238E27FC236}">
                <a16:creationId xmlns:a16="http://schemas.microsoft.com/office/drawing/2014/main" id="{DF3DC118-923D-8C2C-EF96-B079FB21597D}"/>
              </a:ext>
            </a:extLst>
          </p:cNvPr>
          <p:cNvSpPr>
            <a:spLocks noGrp="1"/>
          </p:cNvSpPr>
          <p:nvPr>
            <p:ph type="sldNum" sz="quarter" idx="11"/>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9" name="Holder 5">
            <a:extLst>
              <a:ext uri="{FF2B5EF4-FFF2-40B4-BE49-F238E27FC236}">
                <a16:creationId xmlns:a16="http://schemas.microsoft.com/office/drawing/2014/main" id="{DD4EC778-DA47-1A36-0618-E46374EBBD17}"/>
              </a:ext>
            </a:extLst>
          </p:cNvPr>
          <p:cNvSpPr>
            <a:spLocks noGrp="1"/>
          </p:cNvSpPr>
          <p:nvPr>
            <p:ph type="dt" sz="half" idx="1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20753418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CE46A-509B-CFDE-C5BB-E2A7B52A4EE6}"/>
              </a:ext>
            </a:extLst>
          </p:cNvPr>
          <p:cNvSpPr>
            <a:spLocks noGrp="1"/>
          </p:cNvSpPr>
          <p:nvPr>
            <p:ph type="title"/>
          </p:nvPr>
        </p:nvSpPr>
        <p:spPr>
          <a:xfrm>
            <a:off x="839787" y="457200"/>
            <a:ext cx="10515601" cy="723418"/>
          </a:xfrm>
          <a:prstGeom prst="rect">
            <a:avLst/>
          </a:prstGeo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6C2C4D2-D9D1-A7A8-0DDE-9DF0D0A5AC2E}"/>
              </a:ext>
            </a:extLst>
          </p:cNvPr>
          <p:cNvSpPr>
            <a:spLocks noGrp="1"/>
          </p:cNvSpPr>
          <p:nvPr>
            <p:ph type="pic" idx="1"/>
          </p:nvPr>
        </p:nvSpPr>
        <p:spPr>
          <a:xfrm>
            <a:off x="5183188" y="1435261"/>
            <a:ext cx="6172200" cy="4425789"/>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6" name="Footer Placeholder 4">
            <a:extLst>
              <a:ext uri="{FF2B5EF4-FFF2-40B4-BE49-F238E27FC236}">
                <a16:creationId xmlns:a16="http://schemas.microsoft.com/office/drawing/2014/main" id="{FF901D16-ECEE-E9B6-A330-9F6E02685DFD}"/>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17" name="Slide Number Placeholder 5">
            <a:extLst>
              <a:ext uri="{FF2B5EF4-FFF2-40B4-BE49-F238E27FC236}">
                <a16:creationId xmlns:a16="http://schemas.microsoft.com/office/drawing/2014/main" id="{55A87F82-C3A9-E64F-2E15-760F6204B58A}"/>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8" name="Holder 5">
            <a:extLst>
              <a:ext uri="{FF2B5EF4-FFF2-40B4-BE49-F238E27FC236}">
                <a16:creationId xmlns:a16="http://schemas.microsoft.com/office/drawing/2014/main" id="{37519627-C72C-51BF-6150-DE558326285A}"/>
              </a:ext>
            </a:extLst>
          </p:cNvPr>
          <p:cNvSpPr>
            <a:spLocks noGrp="1"/>
          </p:cNvSpPr>
          <p:nvPr>
            <p:ph type="dt" sz="half" idx="10"/>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6" name="Content Placeholder 5">
            <a:extLst>
              <a:ext uri="{FF2B5EF4-FFF2-40B4-BE49-F238E27FC236}">
                <a16:creationId xmlns:a16="http://schemas.microsoft.com/office/drawing/2014/main" id="{DD169C59-D24B-D17B-19D6-BCCF81B05819}"/>
              </a:ext>
            </a:extLst>
          </p:cNvPr>
          <p:cNvSpPr>
            <a:spLocks noGrp="1"/>
          </p:cNvSpPr>
          <p:nvPr>
            <p:ph sz="quarter" idx="11"/>
          </p:nvPr>
        </p:nvSpPr>
        <p:spPr>
          <a:xfrm>
            <a:off x="839788" y="1435100"/>
            <a:ext cx="4027487" cy="4425950"/>
          </a:xfrm>
        </p:spPr>
        <p:txBody>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0412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nect with MESC">
    <p:bg>
      <p:bgPr>
        <a:solidFill>
          <a:schemeClr val="accent5"/>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BC51EF-8D92-FD99-2240-4277D50C59CF}"/>
              </a:ext>
            </a:extLst>
          </p:cNvPr>
          <p:cNvPicPr>
            <a:picLocks noChangeAspect="1"/>
          </p:cNvPicPr>
          <p:nvPr userDrawn="1"/>
        </p:nvPicPr>
        <p:blipFill>
          <a:blip r:embed="rId2" cstate="screen">
            <a:duotone>
              <a:prstClr val="black"/>
              <a:schemeClr val="accent2">
                <a:tint val="45000"/>
                <a:satMod val="400000"/>
              </a:schemeClr>
            </a:duotone>
            <a:alphaModFix amt="30000"/>
            <a:extLst>
              <a:ext uri="{28A0092B-C50C-407E-A947-70E740481C1C}">
                <a14:useLocalDpi xmlns:a14="http://schemas.microsoft.com/office/drawing/2010/main"/>
              </a:ext>
            </a:extLst>
          </a:blip>
          <a:srcRect/>
          <a:stretch/>
        </p:blipFill>
        <p:spPr>
          <a:xfrm>
            <a:off x="-1" y="26394"/>
            <a:ext cx="12192001" cy="6858000"/>
          </a:xfrm>
          <a:prstGeom prst="rect">
            <a:avLst/>
          </a:prstGeom>
        </p:spPr>
      </p:pic>
      <p:sp>
        <p:nvSpPr>
          <p:cNvPr id="12" name="Holder 2">
            <a:extLst>
              <a:ext uri="{FF2B5EF4-FFF2-40B4-BE49-F238E27FC236}">
                <a16:creationId xmlns:a16="http://schemas.microsoft.com/office/drawing/2014/main" id="{2DFDFA16-0AF7-197D-5FD6-E6C27577C4E8}"/>
              </a:ext>
            </a:extLst>
          </p:cNvPr>
          <p:cNvSpPr>
            <a:spLocks noGrp="1"/>
          </p:cNvSpPr>
          <p:nvPr>
            <p:ph type="title" hasCustomPrompt="1"/>
          </p:nvPr>
        </p:nvSpPr>
        <p:spPr>
          <a:xfrm>
            <a:off x="822961" y="1430529"/>
            <a:ext cx="4838804" cy="1846659"/>
          </a:xfrm>
          <a:prstGeom prst="rect">
            <a:avLst/>
          </a:prstGeom>
        </p:spPr>
        <p:txBody>
          <a:bodyPr wrap="square" lIns="91440" tIns="0" rIns="91440" bIns="0" anchor="b" anchorCtr="0">
            <a:spAutoFit/>
          </a:bodyPr>
          <a:lstStyle>
            <a:lvl1pPr algn="l">
              <a:defRPr sz="6000" b="0" i="0">
                <a:solidFill>
                  <a:schemeClr val="accent2">
                    <a:lumMod val="40000"/>
                    <a:lumOff val="60000"/>
                  </a:schemeClr>
                </a:solidFill>
                <a:latin typeface="Avenir Medium" panose="02000503020000020003" pitchFamily="2" charset="0"/>
                <a:cs typeface="Avenir Medium" panose="02000503020000020003" pitchFamily="2" charset="0"/>
              </a:defRPr>
            </a:lvl1pPr>
          </a:lstStyle>
          <a:p>
            <a:r>
              <a:rPr lang="en-US"/>
              <a:t>Connect </a:t>
            </a:r>
            <a:br>
              <a:rPr lang="en-US"/>
            </a:br>
            <a:r>
              <a:rPr lang="en-US"/>
              <a:t>with MESC</a:t>
            </a:r>
            <a:endParaRPr/>
          </a:p>
        </p:txBody>
      </p:sp>
      <p:pic>
        <p:nvPicPr>
          <p:cNvPr id="4" name="Picture 3">
            <a:extLst>
              <a:ext uri="{FF2B5EF4-FFF2-40B4-BE49-F238E27FC236}">
                <a16:creationId xmlns:a16="http://schemas.microsoft.com/office/drawing/2014/main" id="{405BD5FB-D656-3608-4124-DFA917C24EF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0296027" y="6158376"/>
            <a:ext cx="1662889" cy="475111"/>
          </a:xfrm>
          <a:prstGeom prst="rect">
            <a:avLst/>
          </a:prstGeom>
        </p:spPr>
      </p:pic>
      <p:sp>
        <p:nvSpPr>
          <p:cNvPr id="6" name="TextBox 5">
            <a:extLst>
              <a:ext uri="{FF2B5EF4-FFF2-40B4-BE49-F238E27FC236}">
                <a16:creationId xmlns:a16="http://schemas.microsoft.com/office/drawing/2014/main" id="{FE800C8C-9F88-A02B-6598-8F509D25AEA3}"/>
              </a:ext>
            </a:extLst>
          </p:cNvPr>
          <p:cNvSpPr txBox="1"/>
          <p:nvPr userDrawn="1"/>
        </p:nvSpPr>
        <p:spPr>
          <a:xfrm>
            <a:off x="822961" y="3455394"/>
            <a:ext cx="10172178" cy="738664"/>
          </a:xfrm>
          <a:prstGeom prst="rect">
            <a:avLst/>
          </a:prstGeom>
          <a:noFill/>
        </p:spPr>
        <p:txBody>
          <a:bodyPr wrap="square" rtlCol="0">
            <a:spAutoFit/>
          </a:bodyPr>
          <a:lstStyle/>
          <a:p>
            <a:r>
              <a:rPr lang="en-US" sz="4200" b="1" i="0" err="1">
                <a:solidFill>
                  <a:schemeClr val="accent3"/>
                </a:solidFill>
                <a:latin typeface="Avenir Black" panose="02000503020000020003" pitchFamily="2" charset="0"/>
                <a:cs typeface="Calibri" panose="020F0502020204030204" pitchFamily="34" charset="0"/>
              </a:rPr>
              <a:t>energy.gov</a:t>
            </a:r>
            <a:r>
              <a:rPr lang="en-US" sz="4200" b="1" i="0">
                <a:solidFill>
                  <a:schemeClr val="accent3"/>
                </a:solidFill>
                <a:latin typeface="Avenir Black" panose="02000503020000020003" pitchFamily="2" charset="0"/>
                <a:cs typeface="Calibri" panose="020F0502020204030204" pitchFamily="34" charset="0"/>
              </a:rPr>
              <a:t>/</a:t>
            </a:r>
            <a:r>
              <a:rPr lang="en-US" sz="4200" b="1" i="0" err="1">
                <a:solidFill>
                  <a:schemeClr val="accent3"/>
                </a:solidFill>
                <a:latin typeface="Avenir Black" panose="02000503020000020003" pitchFamily="2" charset="0"/>
                <a:cs typeface="Calibri" panose="020F0502020204030204" pitchFamily="34" charset="0"/>
              </a:rPr>
              <a:t>mesc</a:t>
            </a:r>
            <a:endParaRPr lang="en-US" sz="4200" b="1" i="0">
              <a:solidFill>
                <a:schemeClr val="accent3"/>
              </a:solidFill>
              <a:latin typeface="Avenir Black" panose="02000503020000020003" pitchFamily="2" charset="0"/>
              <a:cs typeface="Calibri" panose="020F0502020204030204" pitchFamily="34" charset="0"/>
            </a:endParaRPr>
          </a:p>
        </p:txBody>
      </p:sp>
      <p:pic>
        <p:nvPicPr>
          <p:cNvPr id="9" name="Picture 8" descr="A black and white logo&#10;&#10;Description automatically generated">
            <a:extLst>
              <a:ext uri="{FF2B5EF4-FFF2-40B4-BE49-F238E27FC236}">
                <a16:creationId xmlns:a16="http://schemas.microsoft.com/office/drawing/2014/main" id="{0E369186-E839-49C4-E146-20694AF135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5771" y="5013648"/>
            <a:ext cx="423520" cy="381924"/>
          </a:xfrm>
          <a:prstGeom prst="rect">
            <a:avLst/>
          </a:prstGeom>
        </p:spPr>
      </p:pic>
      <p:grpSp>
        <p:nvGrpSpPr>
          <p:cNvPr id="24" name="Group 23">
            <a:extLst>
              <a:ext uri="{FF2B5EF4-FFF2-40B4-BE49-F238E27FC236}">
                <a16:creationId xmlns:a16="http://schemas.microsoft.com/office/drawing/2014/main" id="{46F4855F-4CAF-310E-A1AD-D1D44EABF38D}"/>
              </a:ext>
            </a:extLst>
          </p:cNvPr>
          <p:cNvGrpSpPr/>
          <p:nvPr userDrawn="1"/>
        </p:nvGrpSpPr>
        <p:grpSpPr>
          <a:xfrm>
            <a:off x="979169" y="4475362"/>
            <a:ext cx="541759" cy="393744"/>
            <a:chOff x="4565650" y="2317750"/>
            <a:chExt cx="3063462" cy="2226488"/>
          </a:xfrm>
        </p:grpSpPr>
        <p:sp>
          <p:nvSpPr>
            <p:cNvPr id="19" name="Freeform 18">
              <a:extLst>
                <a:ext uri="{FF2B5EF4-FFF2-40B4-BE49-F238E27FC236}">
                  <a16:creationId xmlns:a16="http://schemas.microsoft.com/office/drawing/2014/main" id="{EB8DC73D-2DFD-4185-3C1C-3524C2DC4678}"/>
                </a:ext>
              </a:extLst>
            </p:cNvPr>
            <p:cNvSpPr/>
            <p:nvPr/>
          </p:nvSpPr>
          <p:spPr>
            <a:xfrm>
              <a:off x="4733988" y="2317750"/>
              <a:ext cx="2113023" cy="960637"/>
            </a:xfrm>
            <a:custGeom>
              <a:avLst/>
              <a:gdLst>
                <a:gd name="connsiteX0" fmla="*/ 1107745 w 2113023"/>
                <a:gd name="connsiteY0" fmla="*/ 940478 h 960637"/>
                <a:gd name="connsiteX1" fmla="*/ 2113024 w 2113023"/>
                <a:gd name="connsiteY1" fmla="*/ 15766 h 960637"/>
                <a:gd name="connsiteX2" fmla="*/ 2027476 w 2113023"/>
                <a:gd name="connsiteY2" fmla="*/ 0 h 960637"/>
                <a:gd name="connsiteX3" fmla="*/ 85548 w 2113023"/>
                <a:gd name="connsiteY3" fmla="*/ 0 h 960637"/>
                <a:gd name="connsiteX4" fmla="*/ 0 w 2113023"/>
                <a:gd name="connsiteY4" fmla="*/ 15766 h 960637"/>
                <a:gd name="connsiteX5" fmla="*/ 1005373 w 2113023"/>
                <a:gd name="connsiteY5" fmla="*/ 940478 h 960637"/>
                <a:gd name="connsiteX6" fmla="*/ 1107745 w 2113023"/>
                <a:gd name="connsiteY6" fmla="*/ 940478 h 96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3023" h="960637">
                  <a:moveTo>
                    <a:pt x="1107745" y="940478"/>
                  </a:moveTo>
                  <a:lnTo>
                    <a:pt x="2113024" y="15766"/>
                  </a:lnTo>
                  <a:cubicBezTo>
                    <a:pt x="2086219" y="6174"/>
                    <a:pt x="2057703" y="0"/>
                    <a:pt x="2027476" y="0"/>
                  </a:cubicBezTo>
                  <a:lnTo>
                    <a:pt x="85548" y="0"/>
                  </a:lnTo>
                  <a:cubicBezTo>
                    <a:pt x="55416" y="0"/>
                    <a:pt x="26900" y="6174"/>
                    <a:pt x="0" y="15766"/>
                  </a:cubicBezTo>
                  <a:lnTo>
                    <a:pt x="1005373" y="940478"/>
                  </a:lnTo>
                  <a:cubicBezTo>
                    <a:pt x="1034460" y="967357"/>
                    <a:pt x="1078564" y="967357"/>
                    <a:pt x="1107745" y="940478"/>
                  </a:cubicBezTo>
                  <a:close/>
                </a:path>
              </a:pathLst>
            </a:custGeom>
            <a:solidFill>
              <a:schemeClr val="bg1"/>
            </a:solidFill>
            <a:ln w="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A7B756F2-19A2-938C-737B-CEFEBDA037E4}"/>
                </a:ext>
              </a:extLst>
            </p:cNvPr>
            <p:cNvSpPr/>
            <p:nvPr/>
          </p:nvSpPr>
          <p:spPr>
            <a:xfrm>
              <a:off x="6310248" y="2474939"/>
              <a:ext cx="705672" cy="987397"/>
            </a:xfrm>
            <a:custGeom>
              <a:avLst/>
              <a:gdLst>
                <a:gd name="connsiteX0" fmla="*/ 348273 w 705672"/>
                <a:gd name="connsiteY0" fmla="*/ 987303 h 987397"/>
                <a:gd name="connsiteX1" fmla="*/ 705672 w 705672"/>
                <a:gd name="connsiteY1" fmla="*/ 839611 h 987397"/>
                <a:gd name="connsiteX2" fmla="*/ 705672 w 705672"/>
                <a:gd name="connsiteY2" fmla="*/ 96118 h 987397"/>
                <a:gd name="connsiteX3" fmla="*/ 685426 w 705672"/>
                <a:gd name="connsiteY3" fmla="*/ 0 h 987397"/>
                <a:gd name="connsiteX4" fmla="*/ 0 w 705672"/>
                <a:gd name="connsiteY4" fmla="*/ 630278 h 987397"/>
                <a:gd name="connsiteX5" fmla="*/ 348273 w 705672"/>
                <a:gd name="connsiteY5" fmla="*/ 987398 h 98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672" h="987397">
                  <a:moveTo>
                    <a:pt x="348273" y="987303"/>
                  </a:moveTo>
                  <a:cubicBezTo>
                    <a:pt x="450550" y="904387"/>
                    <a:pt x="574024" y="853763"/>
                    <a:pt x="705672" y="839611"/>
                  </a:cubicBezTo>
                  <a:lnTo>
                    <a:pt x="705672" y="96118"/>
                  </a:lnTo>
                  <a:cubicBezTo>
                    <a:pt x="705672" y="62781"/>
                    <a:pt x="698638" y="29348"/>
                    <a:pt x="685426" y="0"/>
                  </a:cubicBezTo>
                  <a:lnTo>
                    <a:pt x="0" y="630278"/>
                  </a:lnTo>
                  <a:lnTo>
                    <a:pt x="348273" y="987398"/>
                  </a:lnTo>
                  <a:close/>
                </a:path>
              </a:pathLst>
            </a:custGeom>
            <a:solidFill>
              <a:schemeClr val="bg1"/>
            </a:solidFill>
            <a:ln w="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881713F-D245-1B9E-7048-32F902BEF481}"/>
                </a:ext>
              </a:extLst>
            </p:cNvPr>
            <p:cNvSpPr/>
            <p:nvPr/>
          </p:nvSpPr>
          <p:spPr>
            <a:xfrm>
              <a:off x="4726859" y="3244741"/>
              <a:ext cx="1791935" cy="729435"/>
            </a:xfrm>
            <a:custGeom>
              <a:avLst/>
              <a:gdLst>
                <a:gd name="connsiteX0" fmla="*/ 1253366 w 1791935"/>
                <a:gd name="connsiteY0" fmla="*/ 163933 h 729435"/>
                <a:gd name="connsiteX1" fmla="*/ 1064021 w 1791935"/>
                <a:gd name="connsiteY1" fmla="*/ 237827 h 729435"/>
                <a:gd name="connsiteX2" fmla="*/ 873725 w 1791935"/>
                <a:gd name="connsiteY2" fmla="*/ 163933 h 729435"/>
                <a:gd name="connsiteX3" fmla="*/ 694551 w 1791935"/>
                <a:gd name="connsiteY3" fmla="*/ 0 h 729435"/>
                <a:gd name="connsiteX4" fmla="*/ 0 w 1791935"/>
                <a:gd name="connsiteY4" fmla="*/ 711200 h 729435"/>
                <a:gd name="connsiteX5" fmla="*/ 93152 w 1791935"/>
                <a:gd name="connsiteY5" fmla="*/ 729436 h 729435"/>
                <a:gd name="connsiteX6" fmla="*/ 1668462 w 1791935"/>
                <a:gd name="connsiteY6" fmla="*/ 729436 h 729435"/>
                <a:gd name="connsiteX7" fmla="*/ 1791935 w 1791935"/>
                <a:gd name="connsiteY7" fmla="*/ 367282 h 729435"/>
                <a:gd name="connsiteX8" fmla="*/ 1432541 w 1791935"/>
                <a:gd name="connsiteY8" fmla="*/ 95 h 729435"/>
                <a:gd name="connsiteX9" fmla="*/ 1253366 w 1791935"/>
                <a:gd name="connsiteY9" fmla="*/ 164028 h 729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1935" h="729435">
                  <a:moveTo>
                    <a:pt x="1253366" y="163933"/>
                  </a:moveTo>
                  <a:cubicBezTo>
                    <a:pt x="1200707" y="213512"/>
                    <a:pt x="1131889" y="237827"/>
                    <a:pt x="1064021" y="237827"/>
                  </a:cubicBezTo>
                  <a:cubicBezTo>
                    <a:pt x="996153" y="237827"/>
                    <a:pt x="927335" y="213512"/>
                    <a:pt x="873725" y="163933"/>
                  </a:cubicBezTo>
                  <a:lnTo>
                    <a:pt x="694551" y="0"/>
                  </a:lnTo>
                  <a:lnTo>
                    <a:pt x="0" y="711200"/>
                  </a:lnTo>
                  <a:cubicBezTo>
                    <a:pt x="28326" y="722312"/>
                    <a:pt x="59693" y="729436"/>
                    <a:pt x="93152" y="729436"/>
                  </a:cubicBezTo>
                  <a:lnTo>
                    <a:pt x="1668462" y="729436"/>
                  </a:lnTo>
                  <a:cubicBezTo>
                    <a:pt x="1674545" y="598935"/>
                    <a:pt x="1717034" y="474513"/>
                    <a:pt x="1791935" y="367282"/>
                  </a:cubicBezTo>
                  <a:lnTo>
                    <a:pt x="1432541" y="95"/>
                  </a:lnTo>
                  <a:lnTo>
                    <a:pt x="1253366" y="164028"/>
                  </a:lnTo>
                  <a:close/>
                </a:path>
              </a:pathLst>
            </a:custGeom>
            <a:solidFill>
              <a:schemeClr val="bg1"/>
            </a:solidFill>
            <a:ln w="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ACB21778-3E74-C75C-BD02-E1DB05A4BED8}"/>
                </a:ext>
              </a:extLst>
            </p:cNvPr>
            <p:cNvSpPr/>
            <p:nvPr/>
          </p:nvSpPr>
          <p:spPr>
            <a:xfrm>
              <a:off x="4565650" y="2474749"/>
              <a:ext cx="705101" cy="1335399"/>
            </a:xfrm>
            <a:custGeom>
              <a:avLst/>
              <a:gdLst>
                <a:gd name="connsiteX0" fmla="*/ 19296 w 705101"/>
                <a:gd name="connsiteY0" fmla="*/ 0 h 1335399"/>
                <a:gd name="connsiteX1" fmla="*/ 0 w 705101"/>
                <a:gd name="connsiteY1" fmla="*/ 96688 h 1335399"/>
                <a:gd name="connsiteX2" fmla="*/ 0 w 705101"/>
                <a:gd name="connsiteY2" fmla="*/ 1245835 h 1335399"/>
                <a:gd name="connsiteX3" fmla="*/ 17110 w 705101"/>
                <a:gd name="connsiteY3" fmla="*/ 1335400 h 1335399"/>
                <a:gd name="connsiteX4" fmla="*/ 705102 w 705101"/>
                <a:gd name="connsiteY4" fmla="*/ 630753 h 1335399"/>
                <a:gd name="connsiteX5" fmla="*/ 19296 w 705101"/>
                <a:gd name="connsiteY5" fmla="*/ 0 h 133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5101" h="1335399">
                  <a:moveTo>
                    <a:pt x="19296" y="0"/>
                  </a:moveTo>
                  <a:cubicBezTo>
                    <a:pt x="6939" y="29823"/>
                    <a:pt x="0" y="62401"/>
                    <a:pt x="0" y="96688"/>
                  </a:cubicBezTo>
                  <a:lnTo>
                    <a:pt x="0" y="1245835"/>
                  </a:lnTo>
                  <a:cubicBezTo>
                    <a:pt x="0" y="1277463"/>
                    <a:pt x="6464" y="1307476"/>
                    <a:pt x="17110" y="1335400"/>
                  </a:cubicBezTo>
                  <a:lnTo>
                    <a:pt x="705102" y="630753"/>
                  </a:lnTo>
                  <a:lnTo>
                    <a:pt x="19296" y="0"/>
                  </a:lnTo>
                  <a:close/>
                </a:path>
              </a:pathLst>
            </a:custGeom>
            <a:solidFill>
              <a:schemeClr val="bg1"/>
            </a:solidFill>
            <a:ln w="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BCCD2632-A0DC-8486-7937-7924147C783A}"/>
                </a:ext>
              </a:extLst>
            </p:cNvPr>
            <p:cNvSpPr/>
            <p:nvPr/>
          </p:nvSpPr>
          <p:spPr>
            <a:xfrm>
              <a:off x="6555925" y="3471984"/>
              <a:ext cx="1073187" cy="1072254"/>
            </a:xfrm>
            <a:custGeom>
              <a:avLst/>
              <a:gdLst>
                <a:gd name="connsiteX0" fmla="*/ 1069949 w 1073187"/>
                <a:gd name="connsiteY0" fmla="*/ 477214 h 1072254"/>
                <a:gd name="connsiteX1" fmla="*/ 620920 w 1073187"/>
                <a:gd name="connsiteY1" fmla="*/ 6500 h 1072254"/>
                <a:gd name="connsiteX2" fmla="*/ 157157 w 1073187"/>
                <a:gd name="connsiteY2" fmla="*/ 157041 h 1072254"/>
                <a:gd name="connsiteX3" fmla="*/ 6498 w 1073187"/>
                <a:gd name="connsiteY3" fmla="*/ 620442 h 1072254"/>
                <a:gd name="connsiteX4" fmla="*/ 478816 w 1073187"/>
                <a:gd name="connsiteY4" fmla="*/ 1069216 h 1072254"/>
                <a:gd name="connsiteX5" fmla="*/ 536703 w 1073187"/>
                <a:gd name="connsiteY5" fmla="*/ 1072255 h 1072254"/>
                <a:gd name="connsiteX6" fmla="*/ 686886 w 1073187"/>
                <a:gd name="connsiteY6" fmla="*/ 1050885 h 1072254"/>
                <a:gd name="connsiteX7" fmla="*/ 734603 w 1073187"/>
                <a:gd name="connsiteY7" fmla="*/ 963979 h 1072254"/>
                <a:gd name="connsiteX8" fmla="*/ 647629 w 1073187"/>
                <a:gd name="connsiteY8" fmla="*/ 916300 h 1072254"/>
                <a:gd name="connsiteX9" fmla="*/ 493454 w 1073187"/>
                <a:gd name="connsiteY9" fmla="*/ 929787 h 1072254"/>
                <a:gd name="connsiteX10" fmla="*/ 145180 w 1073187"/>
                <a:gd name="connsiteY10" fmla="*/ 599166 h 1072254"/>
                <a:gd name="connsiteX11" fmla="*/ 256297 w 1073187"/>
                <a:gd name="connsiteY11" fmla="*/ 256199 h 1072254"/>
                <a:gd name="connsiteX12" fmla="*/ 599628 w 1073187"/>
                <a:gd name="connsiteY12" fmla="*/ 145074 h 1072254"/>
                <a:gd name="connsiteX13" fmla="*/ 930411 w 1073187"/>
                <a:gd name="connsiteY13" fmla="*/ 492221 h 1072254"/>
                <a:gd name="connsiteX14" fmla="*/ 906078 w 1073187"/>
                <a:gd name="connsiteY14" fmla="*/ 679518 h 1072254"/>
                <a:gd name="connsiteX15" fmla="*/ 850187 w 1073187"/>
                <a:gd name="connsiteY15" fmla="*/ 717605 h 1072254"/>
                <a:gd name="connsiteX16" fmla="*/ 780988 w 1073187"/>
                <a:gd name="connsiteY16" fmla="*/ 676954 h 1072254"/>
                <a:gd name="connsiteX17" fmla="*/ 762738 w 1073187"/>
                <a:gd name="connsiteY17" fmla="*/ 638867 h 1072254"/>
                <a:gd name="connsiteX18" fmla="*/ 762738 w 1073187"/>
                <a:gd name="connsiteY18" fmla="*/ 361530 h 1072254"/>
                <a:gd name="connsiteX19" fmla="*/ 692875 w 1073187"/>
                <a:gd name="connsiteY19" fmla="*/ 291721 h 1072254"/>
                <a:gd name="connsiteX20" fmla="*/ 628144 w 1073187"/>
                <a:gd name="connsiteY20" fmla="*/ 336076 h 1072254"/>
                <a:gd name="connsiteX21" fmla="*/ 492313 w 1073187"/>
                <a:gd name="connsiteY21" fmla="*/ 295615 h 1072254"/>
                <a:gd name="connsiteX22" fmla="*/ 289756 w 1073187"/>
                <a:gd name="connsiteY22" fmla="*/ 542559 h 1072254"/>
                <a:gd name="connsiteX23" fmla="*/ 492313 w 1073187"/>
                <a:gd name="connsiteY23" fmla="*/ 789504 h 1072254"/>
                <a:gd name="connsiteX24" fmla="*/ 647725 w 1073187"/>
                <a:gd name="connsiteY24" fmla="*/ 723493 h 1072254"/>
                <a:gd name="connsiteX25" fmla="*/ 654473 w 1073187"/>
                <a:gd name="connsiteY25" fmla="*/ 737550 h 1072254"/>
                <a:gd name="connsiteX26" fmla="*/ 855510 w 1073187"/>
                <a:gd name="connsiteY26" fmla="*/ 857698 h 1072254"/>
                <a:gd name="connsiteX27" fmla="*/ 1036871 w 1073187"/>
                <a:gd name="connsiteY27" fmla="*/ 730237 h 1072254"/>
                <a:gd name="connsiteX28" fmla="*/ 1069949 w 1073187"/>
                <a:gd name="connsiteY28" fmla="*/ 477309 h 1072254"/>
                <a:gd name="connsiteX29" fmla="*/ 519688 w 1073187"/>
                <a:gd name="connsiteY29" fmla="*/ 675149 h 1072254"/>
                <a:gd name="connsiteX30" fmla="*/ 419883 w 1073187"/>
                <a:gd name="connsiteY30" fmla="*/ 542464 h 1072254"/>
                <a:gd name="connsiteX31" fmla="*/ 519688 w 1073187"/>
                <a:gd name="connsiteY31" fmla="*/ 409684 h 1072254"/>
                <a:gd name="connsiteX32" fmla="*/ 619494 w 1073187"/>
                <a:gd name="connsiteY32" fmla="*/ 542464 h 1072254"/>
                <a:gd name="connsiteX33" fmla="*/ 519688 w 1073187"/>
                <a:gd name="connsiteY33" fmla="*/ 675149 h 10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073187" h="1072254">
                  <a:moveTo>
                    <a:pt x="1069949" y="477214"/>
                  </a:moveTo>
                  <a:cubicBezTo>
                    <a:pt x="1044570" y="240337"/>
                    <a:pt x="855795" y="42402"/>
                    <a:pt x="620920" y="6500"/>
                  </a:cubicBezTo>
                  <a:cubicBezTo>
                    <a:pt x="448589" y="-19904"/>
                    <a:pt x="279395" y="34898"/>
                    <a:pt x="157157" y="157041"/>
                  </a:cubicBezTo>
                  <a:cubicBezTo>
                    <a:pt x="35014" y="279088"/>
                    <a:pt x="-19926" y="448055"/>
                    <a:pt x="6498" y="620442"/>
                  </a:cubicBezTo>
                  <a:cubicBezTo>
                    <a:pt x="42523" y="855609"/>
                    <a:pt x="241184" y="1044331"/>
                    <a:pt x="478816" y="1069216"/>
                  </a:cubicBezTo>
                  <a:cubicBezTo>
                    <a:pt x="498206" y="1071210"/>
                    <a:pt x="517502" y="1072255"/>
                    <a:pt x="536703" y="1072255"/>
                  </a:cubicBezTo>
                  <a:cubicBezTo>
                    <a:pt x="587746" y="1072255"/>
                    <a:pt x="638029" y="1065132"/>
                    <a:pt x="686886" y="1050885"/>
                  </a:cubicBezTo>
                  <a:cubicBezTo>
                    <a:pt x="724052" y="1040057"/>
                    <a:pt x="745439" y="1001116"/>
                    <a:pt x="734603" y="963979"/>
                  </a:cubicBezTo>
                  <a:cubicBezTo>
                    <a:pt x="723672" y="926843"/>
                    <a:pt x="684795" y="905378"/>
                    <a:pt x="647629" y="916300"/>
                  </a:cubicBezTo>
                  <a:cubicBezTo>
                    <a:pt x="598012" y="930737"/>
                    <a:pt x="545923" y="935201"/>
                    <a:pt x="493454" y="929787"/>
                  </a:cubicBezTo>
                  <a:cubicBezTo>
                    <a:pt x="318176" y="911456"/>
                    <a:pt x="171700" y="772408"/>
                    <a:pt x="145180" y="599166"/>
                  </a:cubicBezTo>
                  <a:cubicBezTo>
                    <a:pt x="125504" y="471325"/>
                    <a:pt x="166092" y="346333"/>
                    <a:pt x="256297" y="256199"/>
                  </a:cubicBezTo>
                  <a:cubicBezTo>
                    <a:pt x="346502" y="166064"/>
                    <a:pt x="471592" y="125508"/>
                    <a:pt x="599628" y="145074"/>
                  </a:cubicBezTo>
                  <a:cubicBezTo>
                    <a:pt x="772624" y="171478"/>
                    <a:pt x="911686" y="317460"/>
                    <a:pt x="930411" y="492221"/>
                  </a:cubicBezTo>
                  <a:cubicBezTo>
                    <a:pt x="937350" y="557091"/>
                    <a:pt x="929176" y="620062"/>
                    <a:pt x="906078" y="679518"/>
                  </a:cubicBezTo>
                  <a:cubicBezTo>
                    <a:pt x="893246" y="712476"/>
                    <a:pt x="862734" y="717130"/>
                    <a:pt x="850187" y="717605"/>
                  </a:cubicBezTo>
                  <a:cubicBezTo>
                    <a:pt x="825853" y="717795"/>
                    <a:pt x="796102" y="708297"/>
                    <a:pt x="780988" y="676954"/>
                  </a:cubicBezTo>
                  <a:lnTo>
                    <a:pt x="762738" y="638867"/>
                  </a:lnTo>
                  <a:lnTo>
                    <a:pt x="762738" y="361530"/>
                  </a:lnTo>
                  <a:cubicBezTo>
                    <a:pt x="762738" y="322969"/>
                    <a:pt x="731466" y="291721"/>
                    <a:pt x="692875" y="291721"/>
                  </a:cubicBezTo>
                  <a:cubicBezTo>
                    <a:pt x="663408" y="291721"/>
                    <a:pt x="638409" y="310146"/>
                    <a:pt x="628144" y="336076"/>
                  </a:cubicBezTo>
                  <a:cubicBezTo>
                    <a:pt x="606091" y="315465"/>
                    <a:pt x="566074" y="295615"/>
                    <a:pt x="492313" y="295615"/>
                  </a:cubicBezTo>
                  <a:cubicBezTo>
                    <a:pt x="339468" y="295615"/>
                    <a:pt x="289756" y="443212"/>
                    <a:pt x="289756" y="542559"/>
                  </a:cubicBezTo>
                  <a:cubicBezTo>
                    <a:pt x="289756" y="641907"/>
                    <a:pt x="339468" y="789504"/>
                    <a:pt x="492313" y="789504"/>
                  </a:cubicBezTo>
                  <a:cubicBezTo>
                    <a:pt x="598677" y="789504"/>
                    <a:pt x="635083" y="748568"/>
                    <a:pt x="647725" y="723493"/>
                  </a:cubicBezTo>
                  <a:lnTo>
                    <a:pt x="654473" y="737550"/>
                  </a:lnTo>
                  <a:cubicBezTo>
                    <a:pt x="690973" y="813818"/>
                    <a:pt x="771198" y="860548"/>
                    <a:pt x="855510" y="857698"/>
                  </a:cubicBezTo>
                  <a:cubicBezTo>
                    <a:pt x="938016" y="854564"/>
                    <a:pt x="1007499" y="805745"/>
                    <a:pt x="1036871" y="730237"/>
                  </a:cubicBezTo>
                  <a:cubicBezTo>
                    <a:pt x="1068238" y="649695"/>
                    <a:pt x="1079359" y="564594"/>
                    <a:pt x="1069949" y="477309"/>
                  </a:cubicBezTo>
                  <a:close/>
                  <a:moveTo>
                    <a:pt x="519688" y="675149"/>
                  </a:moveTo>
                  <a:cubicBezTo>
                    <a:pt x="448779" y="675149"/>
                    <a:pt x="419883" y="615693"/>
                    <a:pt x="419883" y="542464"/>
                  </a:cubicBezTo>
                  <a:cubicBezTo>
                    <a:pt x="419883" y="469236"/>
                    <a:pt x="443361" y="409684"/>
                    <a:pt x="519688" y="409684"/>
                  </a:cubicBezTo>
                  <a:cubicBezTo>
                    <a:pt x="596016" y="409684"/>
                    <a:pt x="619494" y="469141"/>
                    <a:pt x="619494" y="542464"/>
                  </a:cubicBezTo>
                  <a:cubicBezTo>
                    <a:pt x="619494" y="615788"/>
                    <a:pt x="590503" y="675149"/>
                    <a:pt x="519688" y="675149"/>
                  </a:cubicBezTo>
                  <a:close/>
                </a:path>
              </a:pathLst>
            </a:custGeom>
            <a:solidFill>
              <a:schemeClr val="bg1"/>
            </a:solidFill>
            <a:ln w="0" cap="flat">
              <a:noFill/>
              <a:prstDash val="solid"/>
              <a:miter/>
            </a:ln>
          </p:spPr>
          <p:txBody>
            <a:bodyPr rtlCol="0" anchor="ctr"/>
            <a:lstStyle/>
            <a:p>
              <a:endParaRPr lang="en-US"/>
            </a:p>
          </p:txBody>
        </p:sp>
      </p:grpSp>
      <p:sp>
        <p:nvSpPr>
          <p:cNvPr id="25" name="TextBox 24">
            <a:extLst>
              <a:ext uri="{FF2B5EF4-FFF2-40B4-BE49-F238E27FC236}">
                <a16:creationId xmlns:a16="http://schemas.microsoft.com/office/drawing/2014/main" id="{184565FF-1A25-D7EC-84E0-F544C29628B2}"/>
              </a:ext>
            </a:extLst>
          </p:cNvPr>
          <p:cNvSpPr txBox="1"/>
          <p:nvPr userDrawn="1"/>
        </p:nvSpPr>
        <p:spPr>
          <a:xfrm>
            <a:off x="1631751" y="4287968"/>
            <a:ext cx="8928498" cy="1477328"/>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lang="en-US" sz="1800" b="0" i="0" err="1">
                <a:solidFill>
                  <a:schemeClr val="bg1"/>
                </a:solidFill>
                <a:latin typeface="Avenir Medium" panose="02000503020000020003" pitchFamily="2" charset="0"/>
                <a:cs typeface="Calibri" panose="020F0502020204030204" pitchFamily="34" charset="0"/>
              </a:rPr>
              <a:t>MESC@hq.doe.gov</a:t>
            </a:r>
            <a:endParaRPr lang="en-US" sz="1800" b="0" i="0">
              <a:solidFill>
                <a:schemeClr val="bg1"/>
              </a:solidFill>
              <a:latin typeface="Avenir Medium" panose="02000503020000020003" pitchFamily="2" charset="0"/>
              <a:cs typeface="Calibri" panose="020F0502020204030204" pitchFamily="34" charset="0"/>
            </a:endParaRPr>
          </a:p>
          <a:p>
            <a:pPr lvl="0">
              <a:lnSpc>
                <a:spcPct val="200000"/>
              </a:lnSpc>
            </a:pPr>
            <a:r>
              <a:rPr lang="en-US" sz="1800" b="0" i="0">
                <a:solidFill>
                  <a:schemeClr val="bg1"/>
                </a:solidFill>
                <a:latin typeface="Avenir Medium" panose="02000503020000020003" pitchFamily="2" charset="0"/>
                <a:cs typeface="Calibri" panose="020F0502020204030204" pitchFamily="34" charset="0"/>
              </a:rPr>
              <a:t>Office of Manufacturing and Energy Supply Chains, U.S. Department of Energy</a:t>
            </a:r>
            <a:endParaRPr lang="en-US" sz="1800"/>
          </a:p>
          <a:p>
            <a:endParaRPr lang="en-US"/>
          </a:p>
        </p:txBody>
      </p:sp>
      <p:grpSp>
        <p:nvGrpSpPr>
          <p:cNvPr id="10" name="Graphic 7">
            <a:extLst>
              <a:ext uri="{FF2B5EF4-FFF2-40B4-BE49-F238E27FC236}">
                <a16:creationId xmlns:a16="http://schemas.microsoft.com/office/drawing/2014/main" id="{05F1AB9B-11D5-B2F1-97F1-C1580D812EA5}"/>
              </a:ext>
            </a:extLst>
          </p:cNvPr>
          <p:cNvGrpSpPr/>
          <p:nvPr userDrawn="1"/>
        </p:nvGrpSpPr>
        <p:grpSpPr>
          <a:xfrm>
            <a:off x="7160288" y="839611"/>
            <a:ext cx="3108163" cy="3108163"/>
            <a:chOff x="3943350" y="1276350"/>
            <a:chExt cx="4295775" cy="4295775"/>
          </a:xfrm>
          <a:solidFill>
            <a:srgbClr val="FFFFFF"/>
          </a:solidFill>
        </p:grpSpPr>
        <p:sp>
          <p:nvSpPr>
            <p:cNvPr id="11" name="Freeform 10">
              <a:extLst>
                <a:ext uri="{FF2B5EF4-FFF2-40B4-BE49-F238E27FC236}">
                  <a16:creationId xmlns:a16="http://schemas.microsoft.com/office/drawing/2014/main" id="{7104183E-68EC-5961-2F05-810648B314EC}"/>
                </a:ext>
              </a:extLst>
            </p:cNvPr>
            <p:cNvSpPr/>
            <p:nvPr/>
          </p:nvSpPr>
          <p:spPr>
            <a:xfrm>
              <a:off x="39433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1D08558B-F15E-88FF-E22C-936EF871A367}"/>
                </a:ext>
              </a:extLst>
            </p:cNvPr>
            <p:cNvSpPr/>
            <p:nvPr/>
          </p:nvSpPr>
          <p:spPr>
            <a:xfrm>
              <a:off x="39433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F4653BE5-8310-7DED-98E5-86DA08351EA1}"/>
                </a:ext>
              </a:extLst>
            </p:cNvPr>
            <p:cNvSpPr/>
            <p:nvPr/>
          </p:nvSpPr>
          <p:spPr>
            <a:xfrm>
              <a:off x="39433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AF23AEC3-4BAB-5072-E091-F2F90B5FD144}"/>
                </a:ext>
              </a:extLst>
            </p:cNvPr>
            <p:cNvSpPr/>
            <p:nvPr/>
          </p:nvSpPr>
          <p:spPr>
            <a:xfrm>
              <a:off x="39433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9304A6CC-96B1-8451-947A-24850C8B868A}"/>
                </a:ext>
              </a:extLst>
            </p:cNvPr>
            <p:cNvSpPr/>
            <p:nvPr/>
          </p:nvSpPr>
          <p:spPr>
            <a:xfrm>
              <a:off x="39433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1C2F51-39CC-B56F-A58C-65B407AB29F2}"/>
                </a:ext>
              </a:extLst>
            </p:cNvPr>
            <p:cNvSpPr/>
            <p:nvPr/>
          </p:nvSpPr>
          <p:spPr>
            <a:xfrm>
              <a:off x="39433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3396E7F-A0E3-86D5-37D0-6BF62FF53F4B}"/>
                </a:ext>
              </a:extLst>
            </p:cNvPr>
            <p:cNvSpPr/>
            <p:nvPr/>
          </p:nvSpPr>
          <p:spPr>
            <a:xfrm>
              <a:off x="39433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2B461018-1B60-CF2A-E356-DB00E6B1E4DE}"/>
                </a:ext>
              </a:extLst>
            </p:cNvPr>
            <p:cNvSpPr/>
            <p:nvPr/>
          </p:nvSpPr>
          <p:spPr>
            <a:xfrm>
              <a:off x="394335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9CC8B98F-0569-E23A-009C-6F0BD616BBBF}"/>
                </a:ext>
              </a:extLst>
            </p:cNvPr>
            <p:cNvSpPr/>
            <p:nvPr/>
          </p:nvSpPr>
          <p:spPr>
            <a:xfrm>
              <a:off x="39433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946715F-06E2-B7C9-E2FF-C69D4D934E70}"/>
                </a:ext>
              </a:extLst>
            </p:cNvPr>
            <p:cNvSpPr/>
            <p:nvPr/>
          </p:nvSpPr>
          <p:spPr>
            <a:xfrm>
              <a:off x="39433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A74DFBEA-3569-732E-C0FB-1AA6ED8FC15B}"/>
                </a:ext>
              </a:extLst>
            </p:cNvPr>
            <p:cNvSpPr/>
            <p:nvPr/>
          </p:nvSpPr>
          <p:spPr>
            <a:xfrm>
              <a:off x="394335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B1C82468-4A5E-677B-6EC1-FEBE45DA491B}"/>
                </a:ext>
              </a:extLst>
            </p:cNvPr>
            <p:cNvSpPr/>
            <p:nvPr/>
          </p:nvSpPr>
          <p:spPr>
            <a:xfrm>
              <a:off x="39433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1A53B8C-FC1D-DC6E-FDC1-087BA7564D29}"/>
                </a:ext>
              </a:extLst>
            </p:cNvPr>
            <p:cNvSpPr/>
            <p:nvPr/>
          </p:nvSpPr>
          <p:spPr>
            <a:xfrm>
              <a:off x="39433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1EC0C2AA-BCB7-D32C-E9EE-8253067A3FBC}"/>
                </a:ext>
              </a:extLst>
            </p:cNvPr>
            <p:cNvSpPr/>
            <p:nvPr/>
          </p:nvSpPr>
          <p:spPr>
            <a:xfrm>
              <a:off x="39433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8" name="Freeform 657">
              <a:extLst>
                <a:ext uri="{FF2B5EF4-FFF2-40B4-BE49-F238E27FC236}">
                  <a16:creationId xmlns:a16="http://schemas.microsoft.com/office/drawing/2014/main" id="{24B08CD4-CEA4-2115-7C37-0EB8EDB8A35F}"/>
                </a:ext>
              </a:extLst>
            </p:cNvPr>
            <p:cNvSpPr/>
            <p:nvPr/>
          </p:nvSpPr>
          <p:spPr>
            <a:xfrm>
              <a:off x="39433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4DE1AC80-50B9-1690-48D9-EA5B1F46E2CD}"/>
                </a:ext>
              </a:extLst>
            </p:cNvPr>
            <p:cNvSpPr/>
            <p:nvPr/>
          </p:nvSpPr>
          <p:spPr>
            <a:xfrm>
              <a:off x="40481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1D7D6ADF-1BE1-2964-FE6E-C6A8289BC2D8}"/>
                </a:ext>
              </a:extLst>
            </p:cNvPr>
            <p:cNvSpPr/>
            <p:nvPr/>
          </p:nvSpPr>
          <p:spPr>
            <a:xfrm>
              <a:off x="40481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70F2F64A-A96A-A5AB-D844-195345967DF3}"/>
                </a:ext>
              </a:extLst>
            </p:cNvPr>
            <p:cNvSpPr/>
            <p:nvPr/>
          </p:nvSpPr>
          <p:spPr>
            <a:xfrm>
              <a:off x="404812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DC5856FA-A0BA-195A-A759-928B253EF451}"/>
                </a:ext>
              </a:extLst>
            </p:cNvPr>
            <p:cNvSpPr/>
            <p:nvPr/>
          </p:nvSpPr>
          <p:spPr>
            <a:xfrm>
              <a:off x="404812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3A88F423-0441-3573-A0F1-8FC8B8934623}"/>
                </a:ext>
              </a:extLst>
            </p:cNvPr>
            <p:cNvSpPr/>
            <p:nvPr/>
          </p:nvSpPr>
          <p:spPr>
            <a:xfrm>
              <a:off x="40481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DC0501A2-2C23-430C-BD39-47DCD734D7DA}"/>
                </a:ext>
              </a:extLst>
            </p:cNvPr>
            <p:cNvSpPr/>
            <p:nvPr/>
          </p:nvSpPr>
          <p:spPr>
            <a:xfrm>
              <a:off x="404812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5" name="Freeform 664">
              <a:extLst>
                <a:ext uri="{FF2B5EF4-FFF2-40B4-BE49-F238E27FC236}">
                  <a16:creationId xmlns:a16="http://schemas.microsoft.com/office/drawing/2014/main" id="{FBA60856-9146-1337-B9EB-810E40F15863}"/>
                </a:ext>
              </a:extLst>
            </p:cNvPr>
            <p:cNvSpPr/>
            <p:nvPr/>
          </p:nvSpPr>
          <p:spPr>
            <a:xfrm>
              <a:off x="404812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6" name="Freeform 665">
              <a:extLst>
                <a:ext uri="{FF2B5EF4-FFF2-40B4-BE49-F238E27FC236}">
                  <a16:creationId xmlns:a16="http://schemas.microsoft.com/office/drawing/2014/main" id="{7D590DBE-4E9F-430D-FE3A-C23640F46C97}"/>
                </a:ext>
              </a:extLst>
            </p:cNvPr>
            <p:cNvSpPr/>
            <p:nvPr/>
          </p:nvSpPr>
          <p:spPr>
            <a:xfrm>
              <a:off x="40481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2914FB81-1422-DA9C-37C4-BF485B24DB45}"/>
                </a:ext>
              </a:extLst>
            </p:cNvPr>
            <p:cNvSpPr/>
            <p:nvPr/>
          </p:nvSpPr>
          <p:spPr>
            <a:xfrm>
              <a:off x="41529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321EDB18-695D-8F76-BF5E-5AD81B8F1E2A}"/>
                </a:ext>
              </a:extLst>
            </p:cNvPr>
            <p:cNvSpPr/>
            <p:nvPr/>
          </p:nvSpPr>
          <p:spPr>
            <a:xfrm>
              <a:off x="41529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1AEE00CF-FAE6-8DB6-A493-AA943651CE11}"/>
                </a:ext>
              </a:extLst>
            </p:cNvPr>
            <p:cNvSpPr/>
            <p:nvPr/>
          </p:nvSpPr>
          <p:spPr>
            <a:xfrm>
              <a:off x="41529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9A5CE56F-F0B8-3009-3D4C-CAEB73C3660E}"/>
                </a:ext>
              </a:extLst>
            </p:cNvPr>
            <p:cNvSpPr/>
            <p:nvPr/>
          </p:nvSpPr>
          <p:spPr>
            <a:xfrm>
              <a:off x="41529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FC02113C-83EA-165B-2D3C-017AEE948CC7}"/>
                </a:ext>
              </a:extLst>
            </p:cNvPr>
            <p:cNvSpPr/>
            <p:nvPr/>
          </p:nvSpPr>
          <p:spPr>
            <a:xfrm>
              <a:off x="415290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E6180041-FEC7-D017-6609-A0F12555FBA6}"/>
                </a:ext>
              </a:extLst>
            </p:cNvPr>
            <p:cNvSpPr/>
            <p:nvPr/>
          </p:nvSpPr>
          <p:spPr>
            <a:xfrm>
              <a:off x="41529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BD0B73D2-87F6-B5EA-36CA-00E8F056DC21}"/>
                </a:ext>
              </a:extLst>
            </p:cNvPr>
            <p:cNvSpPr/>
            <p:nvPr/>
          </p:nvSpPr>
          <p:spPr>
            <a:xfrm>
              <a:off x="415290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6B8FB31D-FEC2-1C67-B0B3-62900C23A15B}"/>
                </a:ext>
              </a:extLst>
            </p:cNvPr>
            <p:cNvSpPr/>
            <p:nvPr/>
          </p:nvSpPr>
          <p:spPr>
            <a:xfrm>
              <a:off x="415290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C7C43EBA-DA73-A5A1-9507-D9B7C87A35AE}"/>
                </a:ext>
              </a:extLst>
            </p:cNvPr>
            <p:cNvSpPr/>
            <p:nvPr/>
          </p:nvSpPr>
          <p:spPr>
            <a:xfrm>
              <a:off x="41529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6" name="Freeform 675">
              <a:extLst>
                <a:ext uri="{FF2B5EF4-FFF2-40B4-BE49-F238E27FC236}">
                  <a16:creationId xmlns:a16="http://schemas.microsoft.com/office/drawing/2014/main" id="{BB7FFD68-CDDA-9AF2-308E-8A90B2515693}"/>
                </a:ext>
              </a:extLst>
            </p:cNvPr>
            <p:cNvSpPr/>
            <p:nvPr/>
          </p:nvSpPr>
          <p:spPr>
            <a:xfrm>
              <a:off x="41529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7" name="Freeform 676">
              <a:extLst>
                <a:ext uri="{FF2B5EF4-FFF2-40B4-BE49-F238E27FC236}">
                  <a16:creationId xmlns:a16="http://schemas.microsoft.com/office/drawing/2014/main" id="{E91866F0-9193-8526-2749-5F63CADB7E5E}"/>
                </a:ext>
              </a:extLst>
            </p:cNvPr>
            <p:cNvSpPr/>
            <p:nvPr/>
          </p:nvSpPr>
          <p:spPr>
            <a:xfrm>
              <a:off x="41529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8" name="Freeform 677">
              <a:extLst>
                <a:ext uri="{FF2B5EF4-FFF2-40B4-BE49-F238E27FC236}">
                  <a16:creationId xmlns:a16="http://schemas.microsoft.com/office/drawing/2014/main" id="{6826C663-FA44-92F7-A00C-563E442ACA61}"/>
                </a:ext>
              </a:extLst>
            </p:cNvPr>
            <p:cNvSpPr/>
            <p:nvPr/>
          </p:nvSpPr>
          <p:spPr>
            <a:xfrm>
              <a:off x="425767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79" name="Freeform 678">
              <a:extLst>
                <a:ext uri="{FF2B5EF4-FFF2-40B4-BE49-F238E27FC236}">
                  <a16:creationId xmlns:a16="http://schemas.microsoft.com/office/drawing/2014/main" id="{117CC756-EBCB-C50C-38B5-516668E4AD06}"/>
                </a:ext>
              </a:extLst>
            </p:cNvPr>
            <p:cNvSpPr/>
            <p:nvPr/>
          </p:nvSpPr>
          <p:spPr>
            <a:xfrm>
              <a:off x="42576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0" name="Freeform 679">
              <a:extLst>
                <a:ext uri="{FF2B5EF4-FFF2-40B4-BE49-F238E27FC236}">
                  <a16:creationId xmlns:a16="http://schemas.microsoft.com/office/drawing/2014/main" id="{02B21AE2-55D5-AC13-5CE0-D724E91A49B5}"/>
                </a:ext>
              </a:extLst>
            </p:cNvPr>
            <p:cNvSpPr/>
            <p:nvPr/>
          </p:nvSpPr>
          <p:spPr>
            <a:xfrm>
              <a:off x="42576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1" name="Freeform 680">
              <a:extLst>
                <a:ext uri="{FF2B5EF4-FFF2-40B4-BE49-F238E27FC236}">
                  <a16:creationId xmlns:a16="http://schemas.microsoft.com/office/drawing/2014/main" id="{B598FCAA-7153-8CB2-561E-BDEBD7F98A74}"/>
                </a:ext>
              </a:extLst>
            </p:cNvPr>
            <p:cNvSpPr/>
            <p:nvPr/>
          </p:nvSpPr>
          <p:spPr>
            <a:xfrm>
              <a:off x="42576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2" name="Freeform 681">
              <a:extLst>
                <a:ext uri="{FF2B5EF4-FFF2-40B4-BE49-F238E27FC236}">
                  <a16:creationId xmlns:a16="http://schemas.microsoft.com/office/drawing/2014/main" id="{C3BA51AB-F514-2221-7E4F-18E3B8BC6403}"/>
                </a:ext>
              </a:extLst>
            </p:cNvPr>
            <p:cNvSpPr/>
            <p:nvPr/>
          </p:nvSpPr>
          <p:spPr>
            <a:xfrm>
              <a:off x="42576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3" name="Freeform 682">
              <a:extLst>
                <a:ext uri="{FF2B5EF4-FFF2-40B4-BE49-F238E27FC236}">
                  <a16:creationId xmlns:a16="http://schemas.microsoft.com/office/drawing/2014/main" id="{91D3C5C3-3D27-9A9F-81EE-9D754BD5F418}"/>
                </a:ext>
              </a:extLst>
            </p:cNvPr>
            <p:cNvSpPr/>
            <p:nvPr/>
          </p:nvSpPr>
          <p:spPr>
            <a:xfrm>
              <a:off x="425767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4" name="Freeform 683">
              <a:extLst>
                <a:ext uri="{FF2B5EF4-FFF2-40B4-BE49-F238E27FC236}">
                  <a16:creationId xmlns:a16="http://schemas.microsoft.com/office/drawing/2014/main" id="{7CE618B9-C3B2-F085-D80E-D19360D28DD1}"/>
                </a:ext>
              </a:extLst>
            </p:cNvPr>
            <p:cNvSpPr/>
            <p:nvPr/>
          </p:nvSpPr>
          <p:spPr>
            <a:xfrm>
              <a:off x="42576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5" name="Freeform 684">
              <a:extLst>
                <a:ext uri="{FF2B5EF4-FFF2-40B4-BE49-F238E27FC236}">
                  <a16:creationId xmlns:a16="http://schemas.microsoft.com/office/drawing/2014/main" id="{AFF45122-4EDE-46F3-5789-354267CDAB6D}"/>
                </a:ext>
              </a:extLst>
            </p:cNvPr>
            <p:cNvSpPr/>
            <p:nvPr/>
          </p:nvSpPr>
          <p:spPr>
            <a:xfrm>
              <a:off x="42576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6" name="Freeform 685">
              <a:extLst>
                <a:ext uri="{FF2B5EF4-FFF2-40B4-BE49-F238E27FC236}">
                  <a16:creationId xmlns:a16="http://schemas.microsoft.com/office/drawing/2014/main" id="{5EB4B7F5-73D5-9B2F-A1F7-5786DD834D7E}"/>
                </a:ext>
              </a:extLst>
            </p:cNvPr>
            <p:cNvSpPr/>
            <p:nvPr/>
          </p:nvSpPr>
          <p:spPr>
            <a:xfrm>
              <a:off x="42576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7" name="Freeform 686">
              <a:extLst>
                <a:ext uri="{FF2B5EF4-FFF2-40B4-BE49-F238E27FC236}">
                  <a16:creationId xmlns:a16="http://schemas.microsoft.com/office/drawing/2014/main" id="{4FC87F99-9871-0D9D-AE21-3DE502C03C7A}"/>
                </a:ext>
              </a:extLst>
            </p:cNvPr>
            <p:cNvSpPr/>
            <p:nvPr/>
          </p:nvSpPr>
          <p:spPr>
            <a:xfrm>
              <a:off x="42576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8" name="Freeform 687">
              <a:extLst>
                <a:ext uri="{FF2B5EF4-FFF2-40B4-BE49-F238E27FC236}">
                  <a16:creationId xmlns:a16="http://schemas.microsoft.com/office/drawing/2014/main" id="{F99774C6-6641-BC95-8051-AF2FF9DCD90B}"/>
                </a:ext>
              </a:extLst>
            </p:cNvPr>
            <p:cNvSpPr/>
            <p:nvPr/>
          </p:nvSpPr>
          <p:spPr>
            <a:xfrm>
              <a:off x="425767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89" name="Freeform 688">
              <a:extLst>
                <a:ext uri="{FF2B5EF4-FFF2-40B4-BE49-F238E27FC236}">
                  <a16:creationId xmlns:a16="http://schemas.microsoft.com/office/drawing/2014/main" id="{6C5CA19D-B0C2-AD56-4D00-F7FC34383320}"/>
                </a:ext>
              </a:extLst>
            </p:cNvPr>
            <p:cNvSpPr/>
            <p:nvPr/>
          </p:nvSpPr>
          <p:spPr>
            <a:xfrm>
              <a:off x="42576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0" name="Freeform 689">
              <a:extLst>
                <a:ext uri="{FF2B5EF4-FFF2-40B4-BE49-F238E27FC236}">
                  <a16:creationId xmlns:a16="http://schemas.microsoft.com/office/drawing/2014/main" id="{16DA7CAC-537B-FE6B-A268-8D2A1773E24B}"/>
                </a:ext>
              </a:extLst>
            </p:cNvPr>
            <p:cNvSpPr/>
            <p:nvPr/>
          </p:nvSpPr>
          <p:spPr>
            <a:xfrm>
              <a:off x="425767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1" name="Freeform 690">
              <a:extLst>
                <a:ext uri="{FF2B5EF4-FFF2-40B4-BE49-F238E27FC236}">
                  <a16:creationId xmlns:a16="http://schemas.microsoft.com/office/drawing/2014/main" id="{1D85F46D-981E-4A9B-AFF0-F89CA271EBA3}"/>
                </a:ext>
              </a:extLst>
            </p:cNvPr>
            <p:cNvSpPr/>
            <p:nvPr/>
          </p:nvSpPr>
          <p:spPr>
            <a:xfrm>
              <a:off x="42576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2" name="Freeform 691">
              <a:extLst>
                <a:ext uri="{FF2B5EF4-FFF2-40B4-BE49-F238E27FC236}">
                  <a16:creationId xmlns:a16="http://schemas.microsoft.com/office/drawing/2014/main" id="{1BD7BDF4-479B-64CE-339B-DCAB2324B0F5}"/>
                </a:ext>
              </a:extLst>
            </p:cNvPr>
            <p:cNvSpPr/>
            <p:nvPr/>
          </p:nvSpPr>
          <p:spPr>
            <a:xfrm>
              <a:off x="43624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3" name="Freeform 692">
              <a:extLst>
                <a:ext uri="{FF2B5EF4-FFF2-40B4-BE49-F238E27FC236}">
                  <a16:creationId xmlns:a16="http://schemas.microsoft.com/office/drawing/2014/main" id="{5AB5A4C1-0896-BAD8-3098-932E5359302E}"/>
                </a:ext>
              </a:extLst>
            </p:cNvPr>
            <p:cNvSpPr/>
            <p:nvPr/>
          </p:nvSpPr>
          <p:spPr>
            <a:xfrm>
              <a:off x="43624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4" name="Freeform 693">
              <a:extLst>
                <a:ext uri="{FF2B5EF4-FFF2-40B4-BE49-F238E27FC236}">
                  <a16:creationId xmlns:a16="http://schemas.microsoft.com/office/drawing/2014/main" id="{CA02E0E7-55CB-9D06-ED3E-062182EC35BE}"/>
                </a:ext>
              </a:extLst>
            </p:cNvPr>
            <p:cNvSpPr/>
            <p:nvPr/>
          </p:nvSpPr>
          <p:spPr>
            <a:xfrm>
              <a:off x="43624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5" name="Freeform 694">
              <a:extLst>
                <a:ext uri="{FF2B5EF4-FFF2-40B4-BE49-F238E27FC236}">
                  <a16:creationId xmlns:a16="http://schemas.microsoft.com/office/drawing/2014/main" id="{7334B53A-A9B6-B6F1-FF60-C2305DCB3F14}"/>
                </a:ext>
              </a:extLst>
            </p:cNvPr>
            <p:cNvSpPr/>
            <p:nvPr/>
          </p:nvSpPr>
          <p:spPr>
            <a:xfrm>
              <a:off x="43624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6" name="Freeform 695">
              <a:extLst>
                <a:ext uri="{FF2B5EF4-FFF2-40B4-BE49-F238E27FC236}">
                  <a16:creationId xmlns:a16="http://schemas.microsoft.com/office/drawing/2014/main" id="{6EFD96C6-C842-F770-D58D-E05D37644611}"/>
                </a:ext>
              </a:extLst>
            </p:cNvPr>
            <p:cNvSpPr/>
            <p:nvPr/>
          </p:nvSpPr>
          <p:spPr>
            <a:xfrm>
              <a:off x="436245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7" name="Freeform 696">
              <a:extLst>
                <a:ext uri="{FF2B5EF4-FFF2-40B4-BE49-F238E27FC236}">
                  <a16:creationId xmlns:a16="http://schemas.microsoft.com/office/drawing/2014/main" id="{599789A8-0056-F145-3D9D-88AFF2ADF801}"/>
                </a:ext>
              </a:extLst>
            </p:cNvPr>
            <p:cNvSpPr/>
            <p:nvPr/>
          </p:nvSpPr>
          <p:spPr>
            <a:xfrm>
              <a:off x="43624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8" name="Freeform 697">
              <a:extLst>
                <a:ext uri="{FF2B5EF4-FFF2-40B4-BE49-F238E27FC236}">
                  <a16:creationId xmlns:a16="http://schemas.microsoft.com/office/drawing/2014/main" id="{C531B531-7B73-DBEF-F171-6D6089A2C511}"/>
                </a:ext>
              </a:extLst>
            </p:cNvPr>
            <p:cNvSpPr/>
            <p:nvPr/>
          </p:nvSpPr>
          <p:spPr>
            <a:xfrm>
              <a:off x="43624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699" name="Freeform 698">
              <a:extLst>
                <a:ext uri="{FF2B5EF4-FFF2-40B4-BE49-F238E27FC236}">
                  <a16:creationId xmlns:a16="http://schemas.microsoft.com/office/drawing/2014/main" id="{3D91C1EA-63A4-7E92-3BF1-B8CD89362BE9}"/>
                </a:ext>
              </a:extLst>
            </p:cNvPr>
            <p:cNvSpPr/>
            <p:nvPr/>
          </p:nvSpPr>
          <p:spPr>
            <a:xfrm>
              <a:off x="43624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0" name="Freeform 699">
              <a:extLst>
                <a:ext uri="{FF2B5EF4-FFF2-40B4-BE49-F238E27FC236}">
                  <a16:creationId xmlns:a16="http://schemas.microsoft.com/office/drawing/2014/main" id="{DB766E39-DC90-8679-E5B7-0899ADF1C8B8}"/>
                </a:ext>
              </a:extLst>
            </p:cNvPr>
            <p:cNvSpPr/>
            <p:nvPr/>
          </p:nvSpPr>
          <p:spPr>
            <a:xfrm>
              <a:off x="436245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1" name="Freeform 700">
              <a:extLst>
                <a:ext uri="{FF2B5EF4-FFF2-40B4-BE49-F238E27FC236}">
                  <a16:creationId xmlns:a16="http://schemas.microsoft.com/office/drawing/2014/main" id="{2D23B809-7229-000A-57E2-FFB3E713CBA5}"/>
                </a:ext>
              </a:extLst>
            </p:cNvPr>
            <p:cNvSpPr/>
            <p:nvPr/>
          </p:nvSpPr>
          <p:spPr>
            <a:xfrm>
              <a:off x="43624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2" name="Freeform 701">
              <a:extLst>
                <a:ext uri="{FF2B5EF4-FFF2-40B4-BE49-F238E27FC236}">
                  <a16:creationId xmlns:a16="http://schemas.microsoft.com/office/drawing/2014/main" id="{C9786896-3BEF-109D-F621-C513E8B127F8}"/>
                </a:ext>
              </a:extLst>
            </p:cNvPr>
            <p:cNvSpPr/>
            <p:nvPr/>
          </p:nvSpPr>
          <p:spPr>
            <a:xfrm>
              <a:off x="44672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3" name="Freeform 702">
              <a:extLst>
                <a:ext uri="{FF2B5EF4-FFF2-40B4-BE49-F238E27FC236}">
                  <a16:creationId xmlns:a16="http://schemas.microsoft.com/office/drawing/2014/main" id="{593D5D84-7159-890B-6F7B-30EEE1816FB2}"/>
                </a:ext>
              </a:extLst>
            </p:cNvPr>
            <p:cNvSpPr/>
            <p:nvPr/>
          </p:nvSpPr>
          <p:spPr>
            <a:xfrm>
              <a:off x="44672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4" name="Freeform 703">
              <a:extLst>
                <a:ext uri="{FF2B5EF4-FFF2-40B4-BE49-F238E27FC236}">
                  <a16:creationId xmlns:a16="http://schemas.microsoft.com/office/drawing/2014/main" id="{5F23FF36-5643-BA25-C788-23C8FB9D1BF1}"/>
                </a:ext>
              </a:extLst>
            </p:cNvPr>
            <p:cNvSpPr/>
            <p:nvPr/>
          </p:nvSpPr>
          <p:spPr>
            <a:xfrm>
              <a:off x="44672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5" name="Freeform 704">
              <a:extLst>
                <a:ext uri="{FF2B5EF4-FFF2-40B4-BE49-F238E27FC236}">
                  <a16:creationId xmlns:a16="http://schemas.microsoft.com/office/drawing/2014/main" id="{FF9C0403-E0CB-03FC-EABE-7CAD344F7A8E}"/>
                </a:ext>
              </a:extLst>
            </p:cNvPr>
            <p:cNvSpPr/>
            <p:nvPr/>
          </p:nvSpPr>
          <p:spPr>
            <a:xfrm>
              <a:off x="44672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6" name="Freeform 705">
              <a:extLst>
                <a:ext uri="{FF2B5EF4-FFF2-40B4-BE49-F238E27FC236}">
                  <a16:creationId xmlns:a16="http://schemas.microsoft.com/office/drawing/2014/main" id="{9637DEB4-1A18-B41D-67FB-68C175155043}"/>
                </a:ext>
              </a:extLst>
            </p:cNvPr>
            <p:cNvSpPr/>
            <p:nvPr/>
          </p:nvSpPr>
          <p:spPr>
            <a:xfrm>
              <a:off x="44672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7" name="Freeform 706">
              <a:extLst>
                <a:ext uri="{FF2B5EF4-FFF2-40B4-BE49-F238E27FC236}">
                  <a16:creationId xmlns:a16="http://schemas.microsoft.com/office/drawing/2014/main" id="{3BD7430D-E0DD-B596-5181-35A09FE0FD95}"/>
                </a:ext>
              </a:extLst>
            </p:cNvPr>
            <p:cNvSpPr/>
            <p:nvPr/>
          </p:nvSpPr>
          <p:spPr>
            <a:xfrm>
              <a:off x="446722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8" name="Freeform 707">
              <a:extLst>
                <a:ext uri="{FF2B5EF4-FFF2-40B4-BE49-F238E27FC236}">
                  <a16:creationId xmlns:a16="http://schemas.microsoft.com/office/drawing/2014/main" id="{A50FC9C7-07EE-DB63-06A7-1363D89CF7B7}"/>
                </a:ext>
              </a:extLst>
            </p:cNvPr>
            <p:cNvSpPr/>
            <p:nvPr/>
          </p:nvSpPr>
          <p:spPr>
            <a:xfrm>
              <a:off x="446722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09" name="Freeform 708">
              <a:extLst>
                <a:ext uri="{FF2B5EF4-FFF2-40B4-BE49-F238E27FC236}">
                  <a16:creationId xmlns:a16="http://schemas.microsoft.com/office/drawing/2014/main" id="{A4E887CF-3EE4-9244-F321-C4F9C0EBF6C3}"/>
                </a:ext>
              </a:extLst>
            </p:cNvPr>
            <p:cNvSpPr/>
            <p:nvPr/>
          </p:nvSpPr>
          <p:spPr>
            <a:xfrm>
              <a:off x="44672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0" name="Freeform 709">
              <a:extLst>
                <a:ext uri="{FF2B5EF4-FFF2-40B4-BE49-F238E27FC236}">
                  <a16:creationId xmlns:a16="http://schemas.microsoft.com/office/drawing/2014/main" id="{462667D4-CAE7-274C-DC02-2E51FF6C8B0C}"/>
                </a:ext>
              </a:extLst>
            </p:cNvPr>
            <p:cNvSpPr/>
            <p:nvPr/>
          </p:nvSpPr>
          <p:spPr>
            <a:xfrm>
              <a:off x="44672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1" name="Freeform 710">
              <a:extLst>
                <a:ext uri="{FF2B5EF4-FFF2-40B4-BE49-F238E27FC236}">
                  <a16:creationId xmlns:a16="http://schemas.microsoft.com/office/drawing/2014/main" id="{857CCD6E-DB73-973A-DAE1-A283C76E17D5}"/>
                </a:ext>
              </a:extLst>
            </p:cNvPr>
            <p:cNvSpPr/>
            <p:nvPr/>
          </p:nvSpPr>
          <p:spPr>
            <a:xfrm>
              <a:off x="44672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2" name="Freeform 711">
              <a:extLst>
                <a:ext uri="{FF2B5EF4-FFF2-40B4-BE49-F238E27FC236}">
                  <a16:creationId xmlns:a16="http://schemas.microsoft.com/office/drawing/2014/main" id="{CB3CC791-39AC-DE63-D1E0-75E22D8A10FB}"/>
                </a:ext>
              </a:extLst>
            </p:cNvPr>
            <p:cNvSpPr/>
            <p:nvPr/>
          </p:nvSpPr>
          <p:spPr>
            <a:xfrm>
              <a:off x="446722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3" name="Freeform 712">
              <a:extLst>
                <a:ext uri="{FF2B5EF4-FFF2-40B4-BE49-F238E27FC236}">
                  <a16:creationId xmlns:a16="http://schemas.microsoft.com/office/drawing/2014/main" id="{9EDE1D59-F396-F32C-D829-5270AAC5A5F5}"/>
                </a:ext>
              </a:extLst>
            </p:cNvPr>
            <p:cNvSpPr/>
            <p:nvPr/>
          </p:nvSpPr>
          <p:spPr>
            <a:xfrm>
              <a:off x="44672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4" name="Freeform 713">
              <a:extLst>
                <a:ext uri="{FF2B5EF4-FFF2-40B4-BE49-F238E27FC236}">
                  <a16:creationId xmlns:a16="http://schemas.microsoft.com/office/drawing/2014/main" id="{2D2F6881-C72A-9C5C-099C-C473AF7C5BBE}"/>
                </a:ext>
              </a:extLst>
            </p:cNvPr>
            <p:cNvSpPr/>
            <p:nvPr/>
          </p:nvSpPr>
          <p:spPr>
            <a:xfrm>
              <a:off x="44672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5" name="Freeform 714">
              <a:extLst>
                <a:ext uri="{FF2B5EF4-FFF2-40B4-BE49-F238E27FC236}">
                  <a16:creationId xmlns:a16="http://schemas.microsoft.com/office/drawing/2014/main" id="{B4677C2A-7C00-5E1C-998C-EA3B6CCC4685}"/>
                </a:ext>
              </a:extLst>
            </p:cNvPr>
            <p:cNvSpPr/>
            <p:nvPr/>
          </p:nvSpPr>
          <p:spPr>
            <a:xfrm>
              <a:off x="44672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6" name="Freeform 715">
              <a:extLst>
                <a:ext uri="{FF2B5EF4-FFF2-40B4-BE49-F238E27FC236}">
                  <a16:creationId xmlns:a16="http://schemas.microsoft.com/office/drawing/2014/main" id="{79ADEE90-88FF-2E4E-0328-D2EF1F058EE1}"/>
                </a:ext>
              </a:extLst>
            </p:cNvPr>
            <p:cNvSpPr/>
            <p:nvPr/>
          </p:nvSpPr>
          <p:spPr>
            <a:xfrm>
              <a:off x="45720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7" name="Freeform 716">
              <a:extLst>
                <a:ext uri="{FF2B5EF4-FFF2-40B4-BE49-F238E27FC236}">
                  <a16:creationId xmlns:a16="http://schemas.microsoft.com/office/drawing/2014/main" id="{32DA7A06-B0FD-C5A2-EA19-032D32911BEA}"/>
                </a:ext>
              </a:extLst>
            </p:cNvPr>
            <p:cNvSpPr/>
            <p:nvPr/>
          </p:nvSpPr>
          <p:spPr>
            <a:xfrm>
              <a:off x="45720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8" name="Freeform 717">
              <a:extLst>
                <a:ext uri="{FF2B5EF4-FFF2-40B4-BE49-F238E27FC236}">
                  <a16:creationId xmlns:a16="http://schemas.microsoft.com/office/drawing/2014/main" id="{19F0CD1B-254F-0B66-83E9-1FC04BDF255E}"/>
                </a:ext>
              </a:extLst>
            </p:cNvPr>
            <p:cNvSpPr/>
            <p:nvPr/>
          </p:nvSpPr>
          <p:spPr>
            <a:xfrm>
              <a:off x="45720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19" name="Freeform 718">
              <a:extLst>
                <a:ext uri="{FF2B5EF4-FFF2-40B4-BE49-F238E27FC236}">
                  <a16:creationId xmlns:a16="http://schemas.microsoft.com/office/drawing/2014/main" id="{30CD2F9A-0263-EBB9-4C7F-46E8B56E268F}"/>
                </a:ext>
              </a:extLst>
            </p:cNvPr>
            <p:cNvSpPr/>
            <p:nvPr/>
          </p:nvSpPr>
          <p:spPr>
            <a:xfrm>
              <a:off x="45720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0" name="Freeform 719">
              <a:extLst>
                <a:ext uri="{FF2B5EF4-FFF2-40B4-BE49-F238E27FC236}">
                  <a16:creationId xmlns:a16="http://schemas.microsoft.com/office/drawing/2014/main" id="{584567C0-0DE2-A032-8412-65ACA4D62A9B}"/>
                </a:ext>
              </a:extLst>
            </p:cNvPr>
            <p:cNvSpPr/>
            <p:nvPr/>
          </p:nvSpPr>
          <p:spPr>
            <a:xfrm>
              <a:off x="45720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1" name="Freeform 720">
              <a:extLst>
                <a:ext uri="{FF2B5EF4-FFF2-40B4-BE49-F238E27FC236}">
                  <a16:creationId xmlns:a16="http://schemas.microsoft.com/office/drawing/2014/main" id="{B6EE382F-174D-994A-144C-729978018FB1}"/>
                </a:ext>
              </a:extLst>
            </p:cNvPr>
            <p:cNvSpPr/>
            <p:nvPr/>
          </p:nvSpPr>
          <p:spPr>
            <a:xfrm>
              <a:off x="457200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2" name="Freeform 721">
              <a:extLst>
                <a:ext uri="{FF2B5EF4-FFF2-40B4-BE49-F238E27FC236}">
                  <a16:creationId xmlns:a16="http://schemas.microsoft.com/office/drawing/2014/main" id="{A2B2D837-9659-8EF8-56B6-07DD13A41882}"/>
                </a:ext>
              </a:extLst>
            </p:cNvPr>
            <p:cNvSpPr/>
            <p:nvPr/>
          </p:nvSpPr>
          <p:spPr>
            <a:xfrm>
              <a:off x="45720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3" name="Freeform 722">
              <a:extLst>
                <a:ext uri="{FF2B5EF4-FFF2-40B4-BE49-F238E27FC236}">
                  <a16:creationId xmlns:a16="http://schemas.microsoft.com/office/drawing/2014/main" id="{CD21BD5B-D67B-F336-A518-9C0650DC4EBC}"/>
                </a:ext>
              </a:extLst>
            </p:cNvPr>
            <p:cNvSpPr/>
            <p:nvPr/>
          </p:nvSpPr>
          <p:spPr>
            <a:xfrm>
              <a:off x="45720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4" name="Freeform 723">
              <a:extLst>
                <a:ext uri="{FF2B5EF4-FFF2-40B4-BE49-F238E27FC236}">
                  <a16:creationId xmlns:a16="http://schemas.microsoft.com/office/drawing/2014/main" id="{B3BE8D49-EF68-8C22-0A56-72EC9CDB4C68}"/>
                </a:ext>
              </a:extLst>
            </p:cNvPr>
            <p:cNvSpPr/>
            <p:nvPr/>
          </p:nvSpPr>
          <p:spPr>
            <a:xfrm>
              <a:off x="457200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5" name="Freeform 724">
              <a:extLst>
                <a:ext uri="{FF2B5EF4-FFF2-40B4-BE49-F238E27FC236}">
                  <a16:creationId xmlns:a16="http://schemas.microsoft.com/office/drawing/2014/main" id="{22C6200C-F376-A77A-8047-B287A3CBA6A1}"/>
                </a:ext>
              </a:extLst>
            </p:cNvPr>
            <p:cNvSpPr/>
            <p:nvPr/>
          </p:nvSpPr>
          <p:spPr>
            <a:xfrm>
              <a:off x="45720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6" name="Freeform 725">
              <a:extLst>
                <a:ext uri="{FF2B5EF4-FFF2-40B4-BE49-F238E27FC236}">
                  <a16:creationId xmlns:a16="http://schemas.microsoft.com/office/drawing/2014/main" id="{ABAB7051-A3CC-AC45-AF68-78E4396840C2}"/>
                </a:ext>
              </a:extLst>
            </p:cNvPr>
            <p:cNvSpPr/>
            <p:nvPr/>
          </p:nvSpPr>
          <p:spPr>
            <a:xfrm>
              <a:off x="45720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7" name="Freeform 726">
              <a:extLst>
                <a:ext uri="{FF2B5EF4-FFF2-40B4-BE49-F238E27FC236}">
                  <a16:creationId xmlns:a16="http://schemas.microsoft.com/office/drawing/2014/main" id="{9E3F2818-A0C5-2D01-3C1A-F2B5C01C0A79}"/>
                </a:ext>
              </a:extLst>
            </p:cNvPr>
            <p:cNvSpPr/>
            <p:nvPr/>
          </p:nvSpPr>
          <p:spPr>
            <a:xfrm>
              <a:off x="45720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8" name="Freeform 727">
              <a:extLst>
                <a:ext uri="{FF2B5EF4-FFF2-40B4-BE49-F238E27FC236}">
                  <a16:creationId xmlns:a16="http://schemas.microsoft.com/office/drawing/2014/main" id="{6424022D-7478-05C8-279A-E14E6CABEA5B}"/>
                </a:ext>
              </a:extLst>
            </p:cNvPr>
            <p:cNvSpPr/>
            <p:nvPr/>
          </p:nvSpPr>
          <p:spPr>
            <a:xfrm>
              <a:off x="45720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29" name="Freeform 728">
              <a:extLst>
                <a:ext uri="{FF2B5EF4-FFF2-40B4-BE49-F238E27FC236}">
                  <a16:creationId xmlns:a16="http://schemas.microsoft.com/office/drawing/2014/main" id="{E184E243-AA7B-DDDD-806E-4A64BD3DBD9C}"/>
                </a:ext>
              </a:extLst>
            </p:cNvPr>
            <p:cNvSpPr/>
            <p:nvPr/>
          </p:nvSpPr>
          <p:spPr>
            <a:xfrm>
              <a:off x="46767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0" name="Freeform 729">
              <a:extLst>
                <a:ext uri="{FF2B5EF4-FFF2-40B4-BE49-F238E27FC236}">
                  <a16:creationId xmlns:a16="http://schemas.microsoft.com/office/drawing/2014/main" id="{57404785-5DAF-940F-7284-7B816523B6FF}"/>
                </a:ext>
              </a:extLst>
            </p:cNvPr>
            <p:cNvSpPr/>
            <p:nvPr/>
          </p:nvSpPr>
          <p:spPr>
            <a:xfrm>
              <a:off x="46767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1" name="Freeform 730">
              <a:extLst>
                <a:ext uri="{FF2B5EF4-FFF2-40B4-BE49-F238E27FC236}">
                  <a16:creationId xmlns:a16="http://schemas.microsoft.com/office/drawing/2014/main" id="{0AF5924F-DEFA-4678-36C3-5B87614C3960}"/>
                </a:ext>
              </a:extLst>
            </p:cNvPr>
            <p:cNvSpPr/>
            <p:nvPr/>
          </p:nvSpPr>
          <p:spPr>
            <a:xfrm>
              <a:off x="46767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2" name="Freeform 731">
              <a:extLst>
                <a:ext uri="{FF2B5EF4-FFF2-40B4-BE49-F238E27FC236}">
                  <a16:creationId xmlns:a16="http://schemas.microsoft.com/office/drawing/2014/main" id="{46C6ED03-9F29-9922-B0EF-41F490681C41}"/>
                </a:ext>
              </a:extLst>
            </p:cNvPr>
            <p:cNvSpPr/>
            <p:nvPr/>
          </p:nvSpPr>
          <p:spPr>
            <a:xfrm>
              <a:off x="46767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3" name="Freeform 732">
              <a:extLst>
                <a:ext uri="{FF2B5EF4-FFF2-40B4-BE49-F238E27FC236}">
                  <a16:creationId xmlns:a16="http://schemas.microsoft.com/office/drawing/2014/main" id="{490DF3EC-2D02-FF7D-A8A0-B6B187E2EFF5}"/>
                </a:ext>
              </a:extLst>
            </p:cNvPr>
            <p:cNvSpPr/>
            <p:nvPr/>
          </p:nvSpPr>
          <p:spPr>
            <a:xfrm>
              <a:off x="46767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4" name="Freeform 733">
              <a:extLst>
                <a:ext uri="{FF2B5EF4-FFF2-40B4-BE49-F238E27FC236}">
                  <a16:creationId xmlns:a16="http://schemas.microsoft.com/office/drawing/2014/main" id="{53AA961D-E454-5DE7-E12E-9F889DF763E6}"/>
                </a:ext>
              </a:extLst>
            </p:cNvPr>
            <p:cNvSpPr/>
            <p:nvPr/>
          </p:nvSpPr>
          <p:spPr>
            <a:xfrm>
              <a:off x="46767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5" name="Freeform 734">
              <a:extLst>
                <a:ext uri="{FF2B5EF4-FFF2-40B4-BE49-F238E27FC236}">
                  <a16:creationId xmlns:a16="http://schemas.microsoft.com/office/drawing/2014/main" id="{23F763FF-5E4D-03DF-CA4E-8B6AA96161F5}"/>
                </a:ext>
              </a:extLst>
            </p:cNvPr>
            <p:cNvSpPr/>
            <p:nvPr/>
          </p:nvSpPr>
          <p:spPr>
            <a:xfrm>
              <a:off x="46767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6" name="Freeform 735">
              <a:extLst>
                <a:ext uri="{FF2B5EF4-FFF2-40B4-BE49-F238E27FC236}">
                  <a16:creationId xmlns:a16="http://schemas.microsoft.com/office/drawing/2014/main" id="{9D1B00D6-A078-A647-EC63-AD6898005556}"/>
                </a:ext>
              </a:extLst>
            </p:cNvPr>
            <p:cNvSpPr/>
            <p:nvPr/>
          </p:nvSpPr>
          <p:spPr>
            <a:xfrm>
              <a:off x="46767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7" name="Freeform 736">
              <a:extLst>
                <a:ext uri="{FF2B5EF4-FFF2-40B4-BE49-F238E27FC236}">
                  <a16:creationId xmlns:a16="http://schemas.microsoft.com/office/drawing/2014/main" id="{9C1A1C7B-03BA-5394-2D32-3F5B000F24B4}"/>
                </a:ext>
              </a:extLst>
            </p:cNvPr>
            <p:cNvSpPr/>
            <p:nvPr/>
          </p:nvSpPr>
          <p:spPr>
            <a:xfrm>
              <a:off x="46767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8" name="Freeform 737">
              <a:extLst>
                <a:ext uri="{FF2B5EF4-FFF2-40B4-BE49-F238E27FC236}">
                  <a16:creationId xmlns:a16="http://schemas.microsoft.com/office/drawing/2014/main" id="{1AA3D127-C5A3-8C9A-94C4-2EB9DCC0A0A0}"/>
                </a:ext>
              </a:extLst>
            </p:cNvPr>
            <p:cNvSpPr/>
            <p:nvPr/>
          </p:nvSpPr>
          <p:spPr>
            <a:xfrm>
              <a:off x="46767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39" name="Freeform 738">
              <a:extLst>
                <a:ext uri="{FF2B5EF4-FFF2-40B4-BE49-F238E27FC236}">
                  <a16:creationId xmlns:a16="http://schemas.microsoft.com/office/drawing/2014/main" id="{DF436693-19C2-C11F-F814-9EAE636E4F9F}"/>
                </a:ext>
              </a:extLst>
            </p:cNvPr>
            <p:cNvSpPr/>
            <p:nvPr/>
          </p:nvSpPr>
          <p:spPr>
            <a:xfrm>
              <a:off x="47815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0" name="Freeform 739">
              <a:extLst>
                <a:ext uri="{FF2B5EF4-FFF2-40B4-BE49-F238E27FC236}">
                  <a16:creationId xmlns:a16="http://schemas.microsoft.com/office/drawing/2014/main" id="{D7C1C009-A2E4-E616-9CCB-5A38B86851BC}"/>
                </a:ext>
              </a:extLst>
            </p:cNvPr>
            <p:cNvSpPr/>
            <p:nvPr/>
          </p:nvSpPr>
          <p:spPr>
            <a:xfrm>
              <a:off x="47815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1" name="Freeform 740">
              <a:extLst>
                <a:ext uri="{FF2B5EF4-FFF2-40B4-BE49-F238E27FC236}">
                  <a16:creationId xmlns:a16="http://schemas.microsoft.com/office/drawing/2014/main" id="{C772FF5B-0317-22D9-9023-3EF161BB60D9}"/>
                </a:ext>
              </a:extLst>
            </p:cNvPr>
            <p:cNvSpPr/>
            <p:nvPr/>
          </p:nvSpPr>
          <p:spPr>
            <a:xfrm>
              <a:off x="47815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2" name="Freeform 741">
              <a:extLst>
                <a:ext uri="{FF2B5EF4-FFF2-40B4-BE49-F238E27FC236}">
                  <a16:creationId xmlns:a16="http://schemas.microsoft.com/office/drawing/2014/main" id="{5D220CA4-0E69-9A40-EE48-E87A50CFBD01}"/>
                </a:ext>
              </a:extLst>
            </p:cNvPr>
            <p:cNvSpPr/>
            <p:nvPr/>
          </p:nvSpPr>
          <p:spPr>
            <a:xfrm>
              <a:off x="47815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3" name="Freeform 742">
              <a:extLst>
                <a:ext uri="{FF2B5EF4-FFF2-40B4-BE49-F238E27FC236}">
                  <a16:creationId xmlns:a16="http://schemas.microsoft.com/office/drawing/2014/main" id="{EF7671C4-59C7-40B6-6E1E-D070926CBC3A}"/>
                </a:ext>
              </a:extLst>
            </p:cNvPr>
            <p:cNvSpPr/>
            <p:nvPr/>
          </p:nvSpPr>
          <p:spPr>
            <a:xfrm>
              <a:off x="47815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4" name="Freeform 743">
              <a:extLst>
                <a:ext uri="{FF2B5EF4-FFF2-40B4-BE49-F238E27FC236}">
                  <a16:creationId xmlns:a16="http://schemas.microsoft.com/office/drawing/2014/main" id="{422BE517-9993-85A5-FEC8-4982A87FA704}"/>
                </a:ext>
              </a:extLst>
            </p:cNvPr>
            <p:cNvSpPr/>
            <p:nvPr/>
          </p:nvSpPr>
          <p:spPr>
            <a:xfrm>
              <a:off x="47815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5" name="Freeform 744">
              <a:extLst>
                <a:ext uri="{FF2B5EF4-FFF2-40B4-BE49-F238E27FC236}">
                  <a16:creationId xmlns:a16="http://schemas.microsoft.com/office/drawing/2014/main" id="{918E35E5-43E5-2B5F-332E-37925A7AD54B}"/>
                </a:ext>
              </a:extLst>
            </p:cNvPr>
            <p:cNvSpPr/>
            <p:nvPr/>
          </p:nvSpPr>
          <p:spPr>
            <a:xfrm>
              <a:off x="47815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6" name="Freeform 745">
              <a:extLst>
                <a:ext uri="{FF2B5EF4-FFF2-40B4-BE49-F238E27FC236}">
                  <a16:creationId xmlns:a16="http://schemas.microsoft.com/office/drawing/2014/main" id="{76AE07F9-38FB-12FA-72F3-D751284561C5}"/>
                </a:ext>
              </a:extLst>
            </p:cNvPr>
            <p:cNvSpPr/>
            <p:nvPr/>
          </p:nvSpPr>
          <p:spPr>
            <a:xfrm>
              <a:off x="47815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7" name="Freeform 746">
              <a:extLst>
                <a:ext uri="{FF2B5EF4-FFF2-40B4-BE49-F238E27FC236}">
                  <a16:creationId xmlns:a16="http://schemas.microsoft.com/office/drawing/2014/main" id="{BA2DF779-73A9-9B43-05F6-084965EC786E}"/>
                </a:ext>
              </a:extLst>
            </p:cNvPr>
            <p:cNvSpPr/>
            <p:nvPr/>
          </p:nvSpPr>
          <p:spPr>
            <a:xfrm>
              <a:off x="47815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8" name="Freeform 747">
              <a:extLst>
                <a:ext uri="{FF2B5EF4-FFF2-40B4-BE49-F238E27FC236}">
                  <a16:creationId xmlns:a16="http://schemas.microsoft.com/office/drawing/2014/main" id="{B43CA7B5-D037-1737-944E-5A25406B3694}"/>
                </a:ext>
              </a:extLst>
            </p:cNvPr>
            <p:cNvSpPr/>
            <p:nvPr/>
          </p:nvSpPr>
          <p:spPr>
            <a:xfrm>
              <a:off x="47815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49" name="Freeform 748">
              <a:extLst>
                <a:ext uri="{FF2B5EF4-FFF2-40B4-BE49-F238E27FC236}">
                  <a16:creationId xmlns:a16="http://schemas.microsoft.com/office/drawing/2014/main" id="{535EC94F-BE7A-E99D-72CB-40156AD2684D}"/>
                </a:ext>
              </a:extLst>
            </p:cNvPr>
            <p:cNvSpPr/>
            <p:nvPr/>
          </p:nvSpPr>
          <p:spPr>
            <a:xfrm>
              <a:off x="47815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0" name="Freeform 749">
              <a:extLst>
                <a:ext uri="{FF2B5EF4-FFF2-40B4-BE49-F238E27FC236}">
                  <a16:creationId xmlns:a16="http://schemas.microsoft.com/office/drawing/2014/main" id="{40AC7689-E369-55CC-68E5-6CFF2CD898CC}"/>
                </a:ext>
              </a:extLst>
            </p:cNvPr>
            <p:cNvSpPr/>
            <p:nvPr/>
          </p:nvSpPr>
          <p:spPr>
            <a:xfrm>
              <a:off x="47815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1" name="Freeform 750">
              <a:extLst>
                <a:ext uri="{FF2B5EF4-FFF2-40B4-BE49-F238E27FC236}">
                  <a16:creationId xmlns:a16="http://schemas.microsoft.com/office/drawing/2014/main" id="{E94A179F-BEF6-5ED8-37A0-D7F302B474A2}"/>
                </a:ext>
              </a:extLst>
            </p:cNvPr>
            <p:cNvSpPr/>
            <p:nvPr/>
          </p:nvSpPr>
          <p:spPr>
            <a:xfrm>
              <a:off x="47815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2" name="Freeform 751">
              <a:extLst>
                <a:ext uri="{FF2B5EF4-FFF2-40B4-BE49-F238E27FC236}">
                  <a16:creationId xmlns:a16="http://schemas.microsoft.com/office/drawing/2014/main" id="{915574C9-F3A1-F4ED-6B1E-B146BB32C7BD}"/>
                </a:ext>
              </a:extLst>
            </p:cNvPr>
            <p:cNvSpPr/>
            <p:nvPr/>
          </p:nvSpPr>
          <p:spPr>
            <a:xfrm>
              <a:off x="47815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3" name="Freeform 752">
              <a:extLst>
                <a:ext uri="{FF2B5EF4-FFF2-40B4-BE49-F238E27FC236}">
                  <a16:creationId xmlns:a16="http://schemas.microsoft.com/office/drawing/2014/main" id="{421EA54E-4C32-38E4-5117-A743B2F77C13}"/>
                </a:ext>
              </a:extLst>
            </p:cNvPr>
            <p:cNvSpPr/>
            <p:nvPr/>
          </p:nvSpPr>
          <p:spPr>
            <a:xfrm>
              <a:off x="47815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4" name="Freeform 753">
              <a:extLst>
                <a:ext uri="{FF2B5EF4-FFF2-40B4-BE49-F238E27FC236}">
                  <a16:creationId xmlns:a16="http://schemas.microsoft.com/office/drawing/2014/main" id="{AE25F532-287C-441F-897A-34E518B4F947}"/>
                </a:ext>
              </a:extLst>
            </p:cNvPr>
            <p:cNvSpPr/>
            <p:nvPr/>
          </p:nvSpPr>
          <p:spPr>
            <a:xfrm>
              <a:off x="478155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5" name="Freeform 754">
              <a:extLst>
                <a:ext uri="{FF2B5EF4-FFF2-40B4-BE49-F238E27FC236}">
                  <a16:creationId xmlns:a16="http://schemas.microsoft.com/office/drawing/2014/main" id="{8BACDC10-081F-1D16-7253-85203AC7F740}"/>
                </a:ext>
              </a:extLst>
            </p:cNvPr>
            <p:cNvSpPr/>
            <p:nvPr/>
          </p:nvSpPr>
          <p:spPr>
            <a:xfrm>
              <a:off x="47815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6" name="Freeform 755">
              <a:extLst>
                <a:ext uri="{FF2B5EF4-FFF2-40B4-BE49-F238E27FC236}">
                  <a16:creationId xmlns:a16="http://schemas.microsoft.com/office/drawing/2014/main" id="{F3724FE0-0F00-98B5-72B6-592B74135EB7}"/>
                </a:ext>
              </a:extLst>
            </p:cNvPr>
            <p:cNvSpPr/>
            <p:nvPr/>
          </p:nvSpPr>
          <p:spPr>
            <a:xfrm>
              <a:off x="47815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7" name="Freeform 756">
              <a:extLst>
                <a:ext uri="{FF2B5EF4-FFF2-40B4-BE49-F238E27FC236}">
                  <a16:creationId xmlns:a16="http://schemas.microsoft.com/office/drawing/2014/main" id="{2C9EC517-383C-317E-2AD5-5FAA6C778743}"/>
                </a:ext>
              </a:extLst>
            </p:cNvPr>
            <p:cNvSpPr/>
            <p:nvPr/>
          </p:nvSpPr>
          <p:spPr>
            <a:xfrm>
              <a:off x="47815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8" name="Freeform 757">
              <a:extLst>
                <a:ext uri="{FF2B5EF4-FFF2-40B4-BE49-F238E27FC236}">
                  <a16:creationId xmlns:a16="http://schemas.microsoft.com/office/drawing/2014/main" id="{8DFDC683-4347-2FC2-60BD-6E71F14BFCB7}"/>
                </a:ext>
              </a:extLst>
            </p:cNvPr>
            <p:cNvSpPr/>
            <p:nvPr/>
          </p:nvSpPr>
          <p:spPr>
            <a:xfrm>
              <a:off x="47815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59" name="Freeform 758">
              <a:extLst>
                <a:ext uri="{FF2B5EF4-FFF2-40B4-BE49-F238E27FC236}">
                  <a16:creationId xmlns:a16="http://schemas.microsoft.com/office/drawing/2014/main" id="{91A55F77-3B92-505C-DFDC-D249E42B4E5C}"/>
                </a:ext>
              </a:extLst>
            </p:cNvPr>
            <p:cNvSpPr/>
            <p:nvPr/>
          </p:nvSpPr>
          <p:spPr>
            <a:xfrm>
              <a:off x="47815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0" name="Freeform 759">
              <a:extLst>
                <a:ext uri="{FF2B5EF4-FFF2-40B4-BE49-F238E27FC236}">
                  <a16:creationId xmlns:a16="http://schemas.microsoft.com/office/drawing/2014/main" id="{A2DEF073-1F7C-7625-097A-53C01CEDE4C0}"/>
                </a:ext>
              </a:extLst>
            </p:cNvPr>
            <p:cNvSpPr/>
            <p:nvPr/>
          </p:nvSpPr>
          <p:spPr>
            <a:xfrm>
              <a:off x="47815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1" name="Freeform 760">
              <a:extLst>
                <a:ext uri="{FF2B5EF4-FFF2-40B4-BE49-F238E27FC236}">
                  <a16:creationId xmlns:a16="http://schemas.microsoft.com/office/drawing/2014/main" id="{5FD9FF31-87F8-07D2-CEE6-CDA03E1307C1}"/>
                </a:ext>
              </a:extLst>
            </p:cNvPr>
            <p:cNvSpPr/>
            <p:nvPr/>
          </p:nvSpPr>
          <p:spPr>
            <a:xfrm>
              <a:off x="47815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2" name="Freeform 761">
              <a:extLst>
                <a:ext uri="{FF2B5EF4-FFF2-40B4-BE49-F238E27FC236}">
                  <a16:creationId xmlns:a16="http://schemas.microsoft.com/office/drawing/2014/main" id="{E4062E15-69C4-69AE-FFAB-4A78BE34A560}"/>
                </a:ext>
              </a:extLst>
            </p:cNvPr>
            <p:cNvSpPr/>
            <p:nvPr/>
          </p:nvSpPr>
          <p:spPr>
            <a:xfrm>
              <a:off x="47815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3" name="Freeform 762">
              <a:extLst>
                <a:ext uri="{FF2B5EF4-FFF2-40B4-BE49-F238E27FC236}">
                  <a16:creationId xmlns:a16="http://schemas.microsoft.com/office/drawing/2014/main" id="{B44882AA-D90E-435B-AFAE-0985AF06D838}"/>
                </a:ext>
              </a:extLst>
            </p:cNvPr>
            <p:cNvSpPr/>
            <p:nvPr/>
          </p:nvSpPr>
          <p:spPr>
            <a:xfrm>
              <a:off x="48863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4" name="Freeform 763">
              <a:extLst>
                <a:ext uri="{FF2B5EF4-FFF2-40B4-BE49-F238E27FC236}">
                  <a16:creationId xmlns:a16="http://schemas.microsoft.com/office/drawing/2014/main" id="{6B8C8EC4-5C83-2599-BE4F-6B55FE36847E}"/>
                </a:ext>
              </a:extLst>
            </p:cNvPr>
            <p:cNvSpPr/>
            <p:nvPr/>
          </p:nvSpPr>
          <p:spPr>
            <a:xfrm>
              <a:off x="48863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5" name="Freeform 764">
              <a:extLst>
                <a:ext uri="{FF2B5EF4-FFF2-40B4-BE49-F238E27FC236}">
                  <a16:creationId xmlns:a16="http://schemas.microsoft.com/office/drawing/2014/main" id="{FA8B5608-89FB-78E0-CA00-9ADAD89D2232}"/>
                </a:ext>
              </a:extLst>
            </p:cNvPr>
            <p:cNvSpPr/>
            <p:nvPr/>
          </p:nvSpPr>
          <p:spPr>
            <a:xfrm>
              <a:off x="48863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6" name="Freeform 765">
              <a:extLst>
                <a:ext uri="{FF2B5EF4-FFF2-40B4-BE49-F238E27FC236}">
                  <a16:creationId xmlns:a16="http://schemas.microsoft.com/office/drawing/2014/main" id="{B0BBE2B2-5E7D-F98E-47C6-A9BB7E921372}"/>
                </a:ext>
              </a:extLst>
            </p:cNvPr>
            <p:cNvSpPr/>
            <p:nvPr/>
          </p:nvSpPr>
          <p:spPr>
            <a:xfrm>
              <a:off x="48863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7" name="Freeform 766">
              <a:extLst>
                <a:ext uri="{FF2B5EF4-FFF2-40B4-BE49-F238E27FC236}">
                  <a16:creationId xmlns:a16="http://schemas.microsoft.com/office/drawing/2014/main" id="{DF3BD7BC-3D95-6466-250B-7A57B50307F0}"/>
                </a:ext>
              </a:extLst>
            </p:cNvPr>
            <p:cNvSpPr/>
            <p:nvPr/>
          </p:nvSpPr>
          <p:spPr>
            <a:xfrm>
              <a:off x="48863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8" name="Freeform 767">
              <a:extLst>
                <a:ext uri="{FF2B5EF4-FFF2-40B4-BE49-F238E27FC236}">
                  <a16:creationId xmlns:a16="http://schemas.microsoft.com/office/drawing/2014/main" id="{FEE6D1DB-0F74-FB04-CF09-191184F1B6F3}"/>
                </a:ext>
              </a:extLst>
            </p:cNvPr>
            <p:cNvSpPr/>
            <p:nvPr/>
          </p:nvSpPr>
          <p:spPr>
            <a:xfrm>
              <a:off x="48863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69" name="Freeform 768">
              <a:extLst>
                <a:ext uri="{FF2B5EF4-FFF2-40B4-BE49-F238E27FC236}">
                  <a16:creationId xmlns:a16="http://schemas.microsoft.com/office/drawing/2014/main" id="{BEBADA9C-F30A-77C5-F7AA-77A5546D9871}"/>
                </a:ext>
              </a:extLst>
            </p:cNvPr>
            <p:cNvSpPr/>
            <p:nvPr/>
          </p:nvSpPr>
          <p:spPr>
            <a:xfrm>
              <a:off x="48863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0" name="Freeform 769">
              <a:extLst>
                <a:ext uri="{FF2B5EF4-FFF2-40B4-BE49-F238E27FC236}">
                  <a16:creationId xmlns:a16="http://schemas.microsoft.com/office/drawing/2014/main" id="{376CDBBE-8435-D4A3-DE77-0A2E9D6278E9}"/>
                </a:ext>
              </a:extLst>
            </p:cNvPr>
            <p:cNvSpPr/>
            <p:nvPr/>
          </p:nvSpPr>
          <p:spPr>
            <a:xfrm>
              <a:off x="48863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1" name="Freeform 770">
              <a:extLst>
                <a:ext uri="{FF2B5EF4-FFF2-40B4-BE49-F238E27FC236}">
                  <a16:creationId xmlns:a16="http://schemas.microsoft.com/office/drawing/2014/main" id="{6EF69567-91C0-67EE-F3BF-2B9AC3A0E0AC}"/>
                </a:ext>
              </a:extLst>
            </p:cNvPr>
            <p:cNvSpPr/>
            <p:nvPr/>
          </p:nvSpPr>
          <p:spPr>
            <a:xfrm>
              <a:off x="48863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2" name="Freeform 771">
              <a:extLst>
                <a:ext uri="{FF2B5EF4-FFF2-40B4-BE49-F238E27FC236}">
                  <a16:creationId xmlns:a16="http://schemas.microsoft.com/office/drawing/2014/main" id="{FF3E66BF-0D25-7C51-E071-8BDB144774BE}"/>
                </a:ext>
              </a:extLst>
            </p:cNvPr>
            <p:cNvSpPr/>
            <p:nvPr/>
          </p:nvSpPr>
          <p:spPr>
            <a:xfrm>
              <a:off x="48863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3" name="Freeform 772">
              <a:extLst>
                <a:ext uri="{FF2B5EF4-FFF2-40B4-BE49-F238E27FC236}">
                  <a16:creationId xmlns:a16="http://schemas.microsoft.com/office/drawing/2014/main" id="{078A74AA-DB47-52BD-4315-0CB5E7FC2EEC}"/>
                </a:ext>
              </a:extLst>
            </p:cNvPr>
            <p:cNvSpPr/>
            <p:nvPr/>
          </p:nvSpPr>
          <p:spPr>
            <a:xfrm>
              <a:off x="48863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4" name="Freeform 773">
              <a:extLst>
                <a:ext uri="{FF2B5EF4-FFF2-40B4-BE49-F238E27FC236}">
                  <a16:creationId xmlns:a16="http://schemas.microsoft.com/office/drawing/2014/main" id="{B1B1A529-9D1D-98C8-70CF-1052BC4441F8}"/>
                </a:ext>
              </a:extLst>
            </p:cNvPr>
            <p:cNvSpPr/>
            <p:nvPr/>
          </p:nvSpPr>
          <p:spPr>
            <a:xfrm>
              <a:off x="48863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5" name="Freeform 774">
              <a:extLst>
                <a:ext uri="{FF2B5EF4-FFF2-40B4-BE49-F238E27FC236}">
                  <a16:creationId xmlns:a16="http://schemas.microsoft.com/office/drawing/2014/main" id="{902E0C26-84D3-9FC7-54DA-A5DF2D861A9B}"/>
                </a:ext>
              </a:extLst>
            </p:cNvPr>
            <p:cNvSpPr/>
            <p:nvPr/>
          </p:nvSpPr>
          <p:spPr>
            <a:xfrm>
              <a:off x="48863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6" name="Freeform 775">
              <a:extLst>
                <a:ext uri="{FF2B5EF4-FFF2-40B4-BE49-F238E27FC236}">
                  <a16:creationId xmlns:a16="http://schemas.microsoft.com/office/drawing/2014/main" id="{B410903F-D8BF-9CF8-E8F0-15F7ECE1207B}"/>
                </a:ext>
              </a:extLst>
            </p:cNvPr>
            <p:cNvSpPr/>
            <p:nvPr/>
          </p:nvSpPr>
          <p:spPr>
            <a:xfrm>
              <a:off x="48863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7" name="Freeform 776">
              <a:extLst>
                <a:ext uri="{FF2B5EF4-FFF2-40B4-BE49-F238E27FC236}">
                  <a16:creationId xmlns:a16="http://schemas.microsoft.com/office/drawing/2014/main" id="{B130BB76-EE8D-36EC-8DA0-5BE8790EB799}"/>
                </a:ext>
              </a:extLst>
            </p:cNvPr>
            <p:cNvSpPr/>
            <p:nvPr/>
          </p:nvSpPr>
          <p:spPr>
            <a:xfrm>
              <a:off x="48863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8" name="Freeform 777">
              <a:extLst>
                <a:ext uri="{FF2B5EF4-FFF2-40B4-BE49-F238E27FC236}">
                  <a16:creationId xmlns:a16="http://schemas.microsoft.com/office/drawing/2014/main" id="{ACCA1B50-7258-FE92-0AF2-3C1B2768D66C}"/>
                </a:ext>
              </a:extLst>
            </p:cNvPr>
            <p:cNvSpPr/>
            <p:nvPr/>
          </p:nvSpPr>
          <p:spPr>
            <a:xfrm>
              <a:off x="48863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79" name="Freeform 778">
              <a:extLst>
                <a:ext uri="{FF2B5EF4-FFF2-40B4-BE49-F238E27FC236}">
                  <a16:creationId xmlns:a16="http://schemas.microsoft.com/office/drawing/2014/main" id="{F6D75955-7E69-3168-6617-18B985D4F997}"/>
                </a:ext>
              </a:extLst>
            </p:cNvPr>
            <p:cNvSpPr/>
            <p:nvPr/>
          </p:nvSpPr>
          <p:spPr>
            <a:xfrm>
              <a:off x="48863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0" name="Freeform 779">
              <a:extLst>
                <a:ext uri="{FF2B5EF4-FFF2-40B4-BE49-F238E27FC236}">
                  <a16:creationId xmlns:a16="http://schemas.microsoft.com/office/drawing/2014/main" id="{76AF10BE-9673-82A8-B608-6A519F37BDFB}"/>
                </a:ext>
              </a:extLst>
            </p:cNvPr>
            <p:cNvSpPr/>
            <p:nvPr/>
          </p:nvSpPr>
          <p:spPr>
            <a:xfrm>
              <a:off x="48863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1" name="Freeform 780">
              <a:extLst>
                <a:ext uri="{FF2B5EF4-FFF2-40B4-BE49-F238E27FC236}">
                  <a16:creationId xmlns:a16="http://schemas.microsoft.com/office/drawing/2014/main" id="{8AB48B41-AB04-0E43-E6CA-CB2B6250841E}"/>
                </a:ext>
              </a:extLst>
            </p:cNvPr>
            <p:cNvSpPr/>
            <p:nvPr/>
          </p:nvSpPr>
          <p:spPr>
            <a:xfrm>
              <a:off x="499110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2" name="Freeform 781">
              <a:extLst>
                <a:ext uri="{FF2B5EF4-FFF2-40B4-BE49-F238E27FC236}">
                  <a16:creationId xmlns:a16="http://schemas.microsoft.com/office/drawing/2014/main" id="{BAC36589-B020-BE68-BFE3-9C1C24FD087B}"/>
                </a:ext>
              </a:extLst>
            </p:cNvPr>
            <p:cNvSpPr/>
            <p:nvPr/>
          </p:nvSpPr>
          <p:spPr>
            <a:xfrm>
              <a:off x="49911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3" name="Freeform 782">
              <a:extLst>
                <a:ext uri="{FF2B5EF4-FFF2-40B4-BE49-F238E27FC236}">
                  <a16:creationId xmlns:a16="http://schemas.microsoft.com/office/drawing/2014/main" id="{3D5B0532-F3A3-416E-2176-933C5DE83DA3}"/>
                </a:ext>
              </a:extLst>
            </p:cNvPr>
            <p:cNvSpPr/>
            <p:nvPr/>
          </p:nvSpPr>
          <p:spPr>
            <a:xfrm>
              <a:off x="49911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4" name="Freeform 783">
              <a:extLst>
                <a:ext uri="{FF2B5EF4-FFF2-40B4-BE49-F238E27FC236}">
                  <a16:creationId xmlns:a16="http://schemas.microsoft.com/office/drawing/2014/main" id="{43DCCCF9-B64B-ABD6-4C28-74D19348D874}"/>
                </a:ext>
              </a:extLst>
            </p:cNvPr>
            <p:cNvSpPr/>
            <p:nvPr/>
          </p:nvSpPr>
          <p:spPr>
            <a:xfrm>
              <a:off x="499110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5" name="Freeform 784">
              <a:extLst>
                <a:ext uri="{FF2B5EF4-FFF2-40B4-BE49-F238E27FC236}">
                  <a16:creationId xmlns:a16="http://schemas.microsoft.com/office/drawing/2014/main" id="{2A9E0822-0105-E72B-F2FF-6298A9BF5417}"/>
                </a:ext>
              </a:extLst>
            </p:cNvPr>
            <p:cNvSpPr/>
            <p:nvPr/>
          </p:nvSpPr>
          <p:spPr>
            <a:xfrm>
              <a:off x="49911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6" name="Freeform 785">
              <a:extLst>
                <a:ext uri="{FF2B5EF4-FFF2-40B4-BE49-F238E27FC236}">
                  <a16:creationId xmlns:a16="http://schemas.microsoft.com/office/drawing/2014/main" id="{AC494034-B84D-5A67-FEF2-4C574321AF89}"/>
                </a:ext>
              </a:extLst>
            </p:cNvPr>
            <p:cNvSpPr/>
            <p:nvPr/>
          </p:nvSpPr>
          <p:spPr>
            <a:xfrm>
              <a:off x="49911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7" name="Freeform 786">
              <a:extLst>
                <a:ext uri="{FF2B5EF4-FFF2-40B4-BE49-F238E27FC236}">
                  <a16:creationId xmlns:a16="http://schemas.microsoft.com/office/drawing/2014/main" id="{C879BBB4-9CCB-FBE1-DF33-B35E77E82A63}"/>
                </a:ext>
              </a:extLst>
            </p:cNvPr>
            <p:cNvSpPr/>
            <p:nvPr/>
          </p:nvSpPr>
          <p:spPr>
            <a:xfrm>
              <a:off x="49911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8" name="Freeform 787">
              <a:extLst>
                <a:ext uri="{FF2B5EF4-FFF2-40B4-BE49-F238E27FC236}">
                  <a16:creationId xmlns:a16="http://schemas.microsoft.com/office/drawing/2014/main" id="{4827EF4F-D80A-6D2D-DACA-01344B172E46}"/>
                </a:ext>
              </a:extLst>
            </p:cNvPr>
            <p:cNvSpPr/>
            <p:nvPr/>
          </p:nvSpPr>
          <p:spPr>
            <a:xfrm>
              <a:off x="49911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89" name="Freeform 788">
              <a:extLst>
                <a:ext uri="{FF2B5EF4-FFF2-40B4-BE49-F238E27FC236}">
                  <a16:creationId xmlns:a16="http://schemas.microsoft.com/office/drawing/2014/main" id="{EAA282BE-5CDF-2FA4-DE49-F8E855E1135F}"/>
                </a:ext>
              </a:extLst>
            </p:cNvPr>
            <p:cNvSpPr/>
            <p:nvPr/>
          </p:nvSpPr>
          <p:spPr>
            <a:xfrm>
              <a:off x="49911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0" name="Freeform 789">
              <a:extLst>
                <a:ext uri="{FF2B5EF4-FFF2-40B4-BE49-F238E27FC236}">
                  <a16:creationId xmlns:a16="http://schemas.microsoft.com/office/drawing/2014/main" id="{16EB3902-6A3A-338C-AC75-CF206317B55D}"/>
                </a:ext>
              </a:extLst>
            </p:cNvPr>
            <p:cNvSpPr/>
            <p:nvPr/>
          </p:nvSpPr>
          <p:spPr>
            <a:xfrm>
              <a:off x="49911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1" name="Freeform 790">
              <a:extLst>
                <a:ext uri="{FF2B5EF4-FFF2-40B4-BE49-F238E27FC236}">
                  <a16:creationId xmlns:a16="http://schemas.microsoft.com/office/drawing/2014/main" id="{F0062020-69B2-2060-6DB6-32BEE06B0F07}"/>
                </a:ext>
              </a:extLst>
            </p:cNvPr>
            <p:cNvSpPr/>
            <p:nvPr/>
          </p:nvSpPr>
          <p:spPr>
            <a:xfrm>
              <a:off x="49911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2" name="Freeform 791">
              <a:extLst>
                <a:ext uri="{FF2B5EF4-FFF2-40B4-BE49-F238E27FC236}">
                  <a16:creationId xmlns:a16="http://schemas.microsoft.com/office/drawing/2014/main" id="{CB64AC29-1391-AAA4-CACF-FC43C25E3E99}"/>
                </a:ext>
              </a:extLst>
            </p:cNvPr>
            <p:cNvSpPr/>
            <p:nvPr/>
          </p:nvSpPr>
          <p:spPr>
            <a:xfrm>
              <a:off x="49911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3" name="Freeform 792">
              <a:extLst>
                <a:ext uri="{FF2B5EF4-FFF2-40B4-BE49-F238E27FC236}">
                  <a16:creationId xmlns:a16="http://schemas.microsoft.com/office/drawing/2014/main" id="{8F59EFD6-3762-6BDF-5C62-962F7BE29957}"/>
                </a:ext>
              </a:extLst>
            </p:cNvPr>
            <p:cNvSpPr/>
            <p:nvPr/>
          </p:nvSpPr>
          <p:spPr>
            <a:xfrm>
              <a:off x="49911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4" name="Freeform 793">
              <a:extLst>
                <a:ext uri="{FF2B5EF4-FFF2-40B4-BE49-F238E27FC236}">
                  <a16:creationId xmlns:a16="http://schemas.microsoft.com/office/drawing/2014/main" id="{4B7665AD-F0E8-CFC3-9F41-802E42D6E106}"/>
                </a:ext>
              </a:extLst>
            </p:cNvPr>
            <p:cNvSpPr/>
            <p:nvPr/>
          </p:nvSpPr>
          <p:spPr>
            <a:xfrm>
              <a:off x="49911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5" name="Freeform 794">
              <a:extLst>
                <a:ext uri="{FF2B5EF4-FFF2-40B4-BE49-F238E27FC236}">
                  <a16:creationId xmlns:a16="http://schemas.microsoft.com/office/drawing/2014/main" id="{09E5E5F8-1C5C-B3C2-2BF6-48151B7AF23D}"/>
                </a:ext>
              </a:extLst>
            </p:cNvPr>
            <p:cNvSpPr/>
            <p:nvPr/>
          </p:nvSpPr>
          <p:spPr>
            <a:xfrm>
              <a:off x="49911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6" name="Freeform 795">
              <a:extLst>
                <a:ext uri="{FF2B5EF4-FFF2-40B4-BE49-F238E27FC236}">
                  <a16:creationId xmlns:a16="http://schemas.microsoft.com/office/drawing/2014/main" id="{9C2BC46D-2576-29D5-8596-343146BD3E43}"/>
                </a:ext>
              </a:extLst>
            </p:cNvPr>
            <p:cNvSpPr/>
            <p:nvPr/>
          </p:nvSpPr>
          <p:spPr>
            <a:xfrm>
              <a:off x="49911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7" name="Freeform 796">
              <a:extLst>
                <a:ext uri="{FF2B5EF4-FFF2-40B4-BE49-F238E27FC236}">
                  <a16:creationId xmlns:a16="http://schemas.microsoft.com/office/drawing/2014/main" id="{CB6324D1-7075-37E3-DB6B-6575E13F6F2F}"/>
                </a:ext>
              </a:extLst>
            </p:cNvPr>
            <p:cNvSpPr/>
            <p:nvPr/>
          </p:nvSpPr>
          <p:spPr>
            <a:xfrm>
              <a:off x="49911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8" name="Freeform 797">
              <a:extLst>
                <a:ext uri="{FF2B5EF4-FFF2-40B4-BE49-F238E27FC236}">
                  <a16:creationId xmlns:a16="http://schemas.microsoft.com/office/drawing/2014/main" id="{F4AF7FEA-F4EB-34BB-4873-41424DF99F93}"/>
                </a:ext>
              </a:extLst>
            </p:cNvPr>
            <p:cNvSpPr/>
            <p:nvPr/>
          </p:nvSpPr>
          <p:spPr>
            <a:xfrm>
              <a:off x="50958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799" name="Freeform 798">
              <a:extLst>
                <a:ext uri="{FF2B5EF4-FFF2-40B4-BE49-F238E27FC236}">
                  <a16:creationId xmlns:a16="http://schemas.microsoft.com/office/drawing/2014/main" id="{4BC0734C-0B68-745D-50CE-5608CADC3942}"/>
                </a:ext>
              </a:extLst>
            </p:cNvPr>
            <p:cNvSpPr/>
            <p:nvPr/>
          </p:nvSpPr>
          <p:spPr>
            <a:xfrm>
              <a:off x="50958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0" name="Freeform 799">
              <a:extLst>
                <a:ext uri="{FF2B5EF4-FFF2-40B4-BE49-F238E27FC236}">
                  <a16:creationId xmlns:a16="http://schemas.microsoft.com/office/drawing/2014/main" id="{6418C8CF-50B1-C85F-9C0D-58D1CD1EDA86}"/>
                </a:ext>
              </a:extLst>
            </p:cNvPr>
            <p:cNvSpPr/>
            <p:nvPr/>
          </p:nvSpPr>
          <p:spPr>
            <a:xfrm>
              <a:off x="50958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1" name="Freeform 800">
              <a:extLst>
                <a:ext uri="{FF2B5EF4-FFF2-40B4-BE49-F238E27FC236}">
                  <a16:creationId xmlns:a16="http://schemas.microsoft.com/office/drawing/2014/main" id="{BD4F5F33-966F-D626-AEDB-255D4FFDA49C}"/>
                </a:ext>
              </a:extLst>
            </p:cNvPr>
            <p:cNvSpPr/>
            <p:nvPr/>
          </p:nvSpPr>
          <p:spPr>
            <a:xfrm>
              <a:off x="50958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2" name="Freeform 801">
              <a:extLst>
                <a:ext uri="{FF2B5EF4-FFF2-40B4-BE49-F238E27FC236}">
                  <a16:creationId xmlns:a16="http://schemas.microsoft.com/office/drawing/2014/main" id="{CB847879-F912-631C-B3AA-586B36B77F53}"/>
                </a:ext>
              </a:extLst>
            </p:cNvPr>
            <p:cNvSpPr/>
            <p:nvPr/>
          </p:nvSpPr>
          <p:spPr>
            <a:xfrm>
              <a:off x="50958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3" name="Freeform 802">
              <a:extLst>
                <a:ext uri="{FF2B5EF4-FFF2-40B4-BE49-F238E27FC236}">
                  <a16:creationId xmlns:a16="http://schemas.microsoft.com/office/drawing/2014/main" id="{BC58660B-D0BA-A07B-75E5-18674C521494}"/>
                </a:ext>
              </a:extLst>
            </p:cNvPr>
            <p:cNvSpPr/>
            <p:nvPr/>
          </p:nvSpPr>
          <p:spPr>
            <a:xfrm>
              <a:off x="50958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4" name="Freeform 803">
              <a:extLst>
                <a:ext uri="{FF2B5EF4-FFF2-40B4-BE49-F238E27FC236}">
                  <a16:creationId xmlns:a16="http://schemas.microsoft.com/office/drawing/2014/main" id="{EAA07689-0490-21BE-2DD4-B3F3E1865FF7}"/>
                </a:ext>
              </a:extLst>
            </p:cNvPr>
            <p:cNvSpPr/>
            <p:nvPr/>
          </p:nvSpPr>
          <p:spPr>
            <a:xfrm>
              <a:off x="50958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5" name="Freeform 804">
              <a:extLst>
                <a:ext uri="{FF2B5EF4-FFF2-40B4-BE49-F238E27FC236}">
                  <a16:creationId xmlns:a16="http://schemas.microsoft.com/office/drawing/2014/main" id="{0AA164E9-EF33-2A7D-9FFA-05272560E557}"/>
                </a:ext>
              </a:extLst>
            </p:cNvPr>
            <p:cNvSpPr/>
            <p:nvPr/>
          </p:nvSpPr>
          <p:spPr>
            <a:xfrm>
              <a:off x="50958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6" name="Freeform 805">
              <a:extLst>
                <a:ext uri="{FF2B5EF4-FFF2-40B4-BE49-F238E27FC236}">
                  <a16:creationId xmlns:a16="http://schemas.microsoft.com/office/drawing/2014/main" id="{E19DFDA2-F05B-3C69-8F65-D783FDEEF323}"/>
                </a:ext>
              </a:extLst>
            </p:cNvPr>
            <p:cNvSpPr/>
            <p:nvPr/>
          </p:nvSpPr>
          <p:spPr>
            <a:xfrm>
              <a:off x="50958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7" name="Freeform 806">
              <a:extLst>
                <a:ext uri="{FF2B5EF4-FFF2-40B4-BE49-F238E27FC236}">
                  <a16:creationId xmlns:a16="http://schemas.microsoft.com/office/drawing/2014/main" id="{42314E2E-B3AF-8BDE-2E98-D222F44BEDC5}"/>
                </a:ext>
              </a:extLst>
            </p:cNvPr>
            <p:cNvSpPr/>
            <p:nvPr/>
          </p:nvSpPr>
          <p:spPr>
            <a:xfrm>
              <a:off x="50958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8" name="Freeform 807">
              <a:extLst>
                <a:ext uri="{FF2B5EF4-FFF2-40B4-BE49-F238E27FC236}">
                  <a16:creationId xmlns:a16="http://schemas.microsoft.com/office/drawing/2014/main" id="{9C9EB0AF-F87A-846F-E29E-63DDDE99581C}"/>
                </a:ext>
              </a:extLst>
            </p:cNvPr>
            <p:cNvSpPr/>
            <p:nvPr/>
          </p:nvSpPr>
          <p:spPr>
            <a:xfrm>
              <a:off x="50958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09" name="Freeform 808">
              <a:extLst>
                <a:ext uri="{FF2B5EF4-FFF2-40B4-BE49-F238E27FC236}">
                  <a16:creationId xmlns:a16="http://schemas.microsoft.com/office/drawing/2014/main" id="{29AEAE2E-B359-19EE-DC77-3161C613F18B}"/>
                </a:ext>
              </a:extLst>
            </p:cNvPr>
            <p:cNvSpPr/>
            <p:nvPr/>
          </p:nvSpPr>
          <p:spPr>
            <a:xfrm>
              <a:off x="50958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0" name="Freeform 809">
              <a:extLst>
                <a:ext uri="{FF2B5EF4-FFF2-40B4-BE49-F238E27FC236}">
                  <a16:creationId xmlns:a16="http://schemas.microsoft.com/office/drawing/2014/main" id="{1000CD44-477D-3706-D1D6-83BEEF1B02BE}"/>
                </a:ext>
              </a:extLst>
            </p:cNvPr>
            <p:cNvSpPr/>
            <p:nvPr/>
          </p:nvSpPr>
          <p:spPr>
            <a:xfrm>
              <a:off x="50958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1" name="Freeform 810">
              <a:extLst>
                <a:ext uri="{FF2B5EF4-FFF2-40B4-BE49-F238E27FC236}">
                  <a16:creationId xmlns:a16="http://schemas.microsoft.com/office/drawing/2014/main" id="{77B820EB-9FCE-25A6-0016-D9D062AF9A1B}"/>
                </a:ext>
              </a:extLst>
            </p:cNvPr>
            <p:cNvSpPr/>
            <p:nvPr/>
          </p:nvSpPr>
          <p:spPr>
            <a:xfrm>
              <a:off x="50958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2" name="Freeform 811">
              <a:extLst>
                <a:ext uri="{FF2B5EF4-FFF2-40B4-BE49-F238E27FC236}">
                  <a16:creationId xmlns:a16="http://schemas.microsoft.com/office/drawing/2014/main" id="{D6E034A6-9C1F-19BB-7DBA-2D28645E8BBA}"/>
                </a:ext>
              </a:extLst>
            </p:cNvPr>
            <p:cNvSpPr/>
            <p:nvPr/>
          </p:nvSpPr>
          <p:spPr>
            <a:xfrm>
              <a:off x="50958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3" name="Freeform 812">
              <a:extLst>
                <a:ext uri="{FF2B5EF4-FFF2-40B4-BE49-F238E27FC236}">
                  <a16:creationId xmlns:a16="http://schemas.microsoft.com/office/drawing/2014/main" id="{9715864C-344A-1D4A-F58F-CA5158CB7561}"/>
                </a:ext>
              </a:extLst>
            </p:cNvPr>
            <p:cNvSpPr/>
            <p:nvPr/>
          </p:nvSpPr>
          <p:spPr>
            <a:xfrm>
              <a:off x="50958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4" name="Freeform 813">
              <a:extLst>
                <a:ext uri="{FF2B5EF4-FFF2-40B4-BE49-F238E27FC236}">
                  <a16:creationId xmlns:a16="http://schemas.microsoft.com/office/drawing/2014/main" id="{C132EE26-B7DA-0D4F-494F-B84DE77B0783}"/>
                </a:ext>
              </a:extLst>
            </p:cNvPr>
            <p:cNvSpPr/>
            <p:nvPr/>
          </p:nvSpPr>
          <p:spPr>
            <a:xfrm>
              <a:off x="50958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5" name="Freeform 814">
              <a:extLst>
                <a:ext uri="{FF2B5EF4-FFF2-40B4-BE49-F238E27FC236}">
                  <a16:creationId xmlns:a16="http://schemas.microsoft.com/office/drawing/2014/main" id="{A22E1916-FEBC-6238-E71C-C64630D97F8F}"/>
                </a:ext>
              </a:extLst>
            </p:cNvPr>
            <p:cNvSpPr/>
            <p:nvPr/>
          </p:nvSpPr>
          <p:spPr>
            <a:xfrm>
              <a:off x="50958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6" name="Freeform 815">
              <a:extLst>
                <a:ext uri="{FF2B5EF4-FFF2-40B4-BE49-F238E27FC236}">
                  <a16:creationId xmlns:a16="http://schemas.microsoft.com/office/drawing/2014/main" id="{AA0C8E03-C2E3-5841-5F3C-3EFAA463CC49}"/>
                </a:ext>
              </a:extLst>
            </p:cNvPr>
            <p:cNvSpPr/>
            <p:nvPr/>
          </p:nvSpPr>
          <p:spPr>
            <a:xfrm>
              <a:off x="50958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7" name="Freeform 816">
              <a:extLst>
                <a:ext uri="{FF2B5EF4-FFF2-40B4-BE49-F238E27FC236}">
                  <a16:creationId xmlns:a16="http://schemas.microsoft.com/office/drawing/2014/main" id="{F119860D-B97E-3BAC-722B-35AAA681A0DF}"/>
                </a:ext>
              </a:extLst>
            </p:cNvPr>
            <p:cNvSpPr/>
            <p:nvPr/>
          </p:nvSpPr>
          <p:spPr>
            <a:xfrm>
              <a:off x="52006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8" name="Freeform 817">
              <a:extLst>
                <a:ext uri="{FF2B5EF4-FFF2-40B4-BE49-F238E27FC236}">
                  <a16:creationId xmlns:a16="http://schemas.microsoft.com/office/drawing/2014/main" id="{86754BA7-4787-00E5-DAF4-D712A1403BCB}"/>
                </a:ext>
              </a:extLst>
            </p:cNvPr>
            <p:cNvSpPr/>
            <p:nvPr/>
          </p:nvSpPr>
          <p:spPr>
            <a:xfrm>
              <a:off x="52006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19" name="Freeform 818">
              <a:extLst>
                <a:ext uri="{FF2B5EF4-FFF2-40B4-BE49-F238E27FC236}">
                  <a16:creationId xmlns:a16="http://schemas.microsoft.com/office/drawing/2014/main" id="{BD84D2F6-8D48-7575-32B1-DA6E6CD76259}"/>
                </a:ext>
              </a:extLst>
            </p:cNvPr>
            <p:cNvSpPr/>
            <p:nvPr/>
          </p:nvSpPr>
          <p:spPr>
            <a:xfrm>
              <a:off x="52006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0" name="Freeform 819">
              <a:extLst>
                <a:ext uri="{FF2B5EF4-FFF2-40B4-BE49-F238E27FC236}">
                  <a16:creationId xmlns:a16="http://schemas.microsoft.com/office/drawing/2014/main" id="{E292B861-4AFF-8097-57B6-836CC00D5837}"/>
                </a:ext>
              </a:extLst>
            </p:cNvPr>
            <p:cNvSpPr/>
            <p:nvPr/>
          </p:nvSpPr>
          <p:spPr>
            <a:xfrm>
              <a:off x="52006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1" name="Freeform 820">
              <a:extLst>
                <a:ext uri="{FF2B5EF4-FFF2-40B4-BE49-F238E27FC236}">
                  <a16:creationId xmlns:a16="http://schemas.microsoft.com/office/drawing/2014/main" id="{7D3D03CA-2653-E8A5-C35F-F370E84FE338}"/>
                </a:ext>
              </a:extLst>
            </p:cNvPr>
            <p:cNvSpPr/>
            <p:nvPr/>
          </p:nvSpPr>
          <p:spPr>
            <a:xfrm>
              <a:off x="52006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2" name="Freeform 821">
              <a:extLst>
                <a:ext uri="{FF2B5EF4-FFF2-40B4-BE49-F238E27FC236}">
                  <a16:creationId xmlns:a16="http://schemas.microsoft.com/office/drawing/2014/main" id="{87D5C620-A60E-80EE-00C3-6516FB6575A3}"/>
                </a:ext>
              </a:extLst>
            </p:cNvPr>
            <p:cNvSpPr/>
            <p:nvPr/>
          </p:nvSpPr>
          <p:spPr>
            <a:xfrm>
              <a:off x="52006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3" name="Freeform 822">
              <a:extLst>
                <a:ext uri="{FF2B5EF4-FFF2-40B4-BE49-F238E27FC236}">
                  <a16:creationId xmlns:a16="http://schemas.microsoft.com/office/drawing/2014/main" id="{926A8063-99CE-5C18-B348-C3ED04FDD28C}"/>
                </a:ext>
              </a:extLst>
            </p:cNvPr>
            <p:cNvSpPr/>
            <p:nvPr/>
          </p:nvSpPr>
          <p:spPr>
            <a:xfrm>
              <a:off x="52006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4" name="Freeform 823">
              <a:extLst>
                <a:ext uri="{FF2B5EF4-FFF2-40B4-BE49-F238E27FC236}">
                  <a16:creationId xmlns:a16="http://schemas.microsoft.com/office/drawing/2014/main" id="{DC1721C3-1EA2-E91A-3DED-BB1DAF9A3AD1}"/>
                </a:ext>
              </a:extLst>
            </p:cNvPr>
            <p:cNvSpPr/>
            <p:nvPr/>
          </p:nvSpPr>
          <p:spPr>
            <a:xfrm>
              <a:off x="52006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5" name="Freeform 824">
              <a:extLst>
                <a:ext uri="{FF2B5EF4-FFF2-40B4-BE49-F238E27FC236}">
                  <a16:creationId xmlns:a16="http://schemas.microsoft.com/office/drawing/2014/main" id="{855A3AE3-BE1E-B8A8-16BE-F65CE626C683}"/>
                </a:ext>
              </a:extLst>
            </p:cNvPr>
            <p:cNvSpPr/>
            <p:nvPr/>
          </p:nvSpPr>
          <p:spPr>
            <a:xfrm>
              <a:off x="52006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6" name="Freeform 825">
              <a:extLst>
                <a:ext uri="{FF2B5EF4-FFF2-40B4-BE49-F238E27FC236}">
                  <a16:creationId xmlns:a16="http://schemas.microsoft.com/office/drawing/2014/main" id="{60CEA00B-0751-5487-1209-0966355F9D26}"/>
                </a:ext>
              </a:extLst>
            </p:cNvPr>
            <p:cNvSpPr/>
            <p:nvPr/>
          </p:nvSpPr>
          <p:spPr>
            <a:xfrm>
              <a:off x="52006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7" name="Freeform 826">
              <a:extLst>
                <a:ext uri="{FF2B5EF4-FFF2-40B4-BE49-F238E27FC236}">
                  <a16:creationId xmlns:a16="http://schemas.microsoft.com/office/drawing/2014/main" id="{C1E6399A-A0D6-443D-8EEC-0551DC1F4129}"/>
                </a:ext>
              </a:extLst>
            </p:cNvPr>
            <p:cNvSpPr/>
            <p:nvPr/>
          </p:nvSpPr>
          <p:spPr>
            <a:xfrm>
              <a:off x="52006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8" name="Freeform 827">
              <a:extLst>
                <a:ext uri="{FF2B5EF4-FFF2-40B4-BE49-F238E27FC236}">
                  <a16:creationId xmlns:a16="http://schemas.microsoft.com/office/drawing/2014/main" id="{745741A4-7441-1150-91FB-8DAD03FCF7EE}"/>
                </a:ext>
              </a:extLst>
            </p:cNvPr>
            <p:cNvSpPr/>
            <p:nvPr/>
          </p:nvSpPr>
          <p:spPr>
            <a:xfrm>
              <a:off x="52006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29" name="Freeform 828">
              <a:extLst>
                <a:ext uri="{FF2B5EF4-FFF2-40B4-BE49-F238E27FC236}">
                  <a16:creationId xmlns:a16="http://schemas.microsoft.com/office/drawing/2014/main" id="{BDC4406D-AAB9-B62D-C528-983F761B7427}"/>
                </a:ext>
              </a:extLst>
            </p:cNvPr>
            <p:cNvSpPr/>
            <p:nvPr/>
          </p:nvSpPr>
          <p:spPr>
            <a:xfrm>
              <a:off x="52006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0" name="Freeform 829">
              <a:extLst>
                <a:ext uri="{FF2B5EF4-FFF2-40B4-BE49-F238E27FC236}">
                  <a16:creationId xmlns:a16="http://schemas.microsoft.com/office/drawing/2014/main" id="{A261A279-1C35-9666-AD2F-FB2FFD7AC01D}"/>
                </a:ext>
              </a:extLst>
            </p:cNvPr>
            <p:cNvSpPr/>
            <p:nvPr/>
          </p:nvSpPr>
          <p:spPr>
            <a:xfrm>
              <a:off x="52006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1" name="Freeform 830">
              <a:extLst>
                <a:ext uri="{FF2B5EF4-FFF2-40B4-BE49-F238E27FC236}">
                  <a16:creationId xmlns:a16="http://schemas.microsoft.com/office/drawing/2014/main" id="{36E43D9B-C6E2-63B3-E0F0-C05C80370453}"/>
                </a:ext>
              </a:extLst>
            </p:cNvPr>
            <p:cNvSpPr/>
            <p:nvPr/>
          </p:nvSpPr>
          <p:spPr>
            <a:xfrm>
              <a:off x="52006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2" name="Freeform 831">
              <a:extLst>
                <a:ext uri="{FF2B5EF4-FFF2-40B4-BE49-F238E27FC236}">
                  <a16:creationId xmlns:a16="http://schemas.microsoft.com/office/drawing/2014/main" id="{D71B0494-5B75-3F09-4B8F-73CA430F163E}"/>
                </a:ext>
              </a:extLst>
            </p:cNvPr>
            <p:cNvSpPr/>
            <p:nvPr/>
          </p:nvSpPr>
          <p:spPr>
            <a:xfrm>
              <a:off x="52006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3" name="Freeform 832">
              <a:extLst>
                <a:ext uri="{FF2B5EF4-FFF2-40B4-BE49-F238E27FC236}">
                  <a16:creationId xmlns:a16="http://schemas.microsoft.com/office/drawing/2014/main" id="{8D747668-6163-C4D9-0D48-87769086EA30}"/>
                </a:ext>
              </a:extLst>
            </p:cNvPr>
            <p:cNvSpPr/>
            <p:nvPr/>
          </p:nvSpPr>
          <p:spPr>
            <a:xfrm>
              <a:off x="53054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4" name="Freeform 833">
              <a:extLst>
                <a:ext uri="{FF2B5EF4-FFF2-40B4-BE49-F238E27FC236}">
                  <a16:creationId xmlns:a16="http://schemas.microsoft.com/office/drawing/2014/main" id="{F3ABCFD7-2754-EA97-FC63-7CAB91F97B46}"/>
                </a:ext>
              </a:extLst>
            </p:cNvPr>
            <p:cNvSpPr/>
            <p:nvPr/>
          </p:nvSpPr>
          <p:spPr>
            <a:xfrm>
              <a:off x="53054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5" name="Freeform 834">
              <a:extLst>
                <a:ext uri="{FF2B5EF4-FFF2-40B4-BE49-F238E27FC236}">
                  <a16:creationId xmlns:a16="http://schemas.microsoft.com/office/drawing/2014/main" id="{5872E9F0-7552-BF50-AF00-1FB02B4E28E6}"/>
                </a:ext>
              </a:extLst>
            </p:cNvPr>
            <p:cNvSpPr/>
            <p:nvPr/>
          </p:nvSpPr>
          <p:spPr>
            <a:xfrm>
              <a:off x="53054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6" name="Freeform 835">
              <a:extLst>
                <a:ext uri="{FF2B5EF4-FFF2-40B4-BE49-F238E27FC236}">
                  <a16:creationId xmlns:a16="http://schemas.microsoft.com/office/drawing/2014/main" id="{DA96358F-1A06-988C-4773-FE4B37983BFC}"/>
                </a:ext>
              </a:extLst>
            </p:cNvPr>
            <p:cNvSpPr/>
            <p:nvPr/>
          </p:nvSpPr>
          <p:spPr>
            <a:xfrm>
              <a:off x="53054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7" name="Freeform 836">
              <a:extLst>
                <a:ext uri="{FF2B5EF4-FFF2-40B4-BE49-F238E27FC236}">
                  <a16:creationId xmlns:a16="http://schemas.microsoft.com/office/drawing/2014/main" id="{A49DB2BD-BBF1-6E16-172B-A6DA1F0E767D}"/>
                </a:ext>
              </a:extLst>
            </p:cNvPr>
            <p:cNvSpPr/>
            <p:nvPr/>
          </p:nvSpPr>
          <p:spPr>
            <a:xfrm>
              <a:off x="53054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8" name="Freeform 837">
              <a:extLst>
                <a:ext uri="{FF2B5EF4-FFF2-40B4-BE49-F238E27FC236}">
                  <a16:creationId xmlns:a16="http://schemas.microsoft.com/office/drawing/2014/main" id="{3C9A7497-AD28-E599-2C64-6AF54EFA631F}"/>
                </a:ext>
              </a:extLst>
            </p:cNvPr>
            <p:cNvSpPr/>
            <p:nvPr/>
          </p:nvSpPr>
          <p:spPr>
            <a:xfrm>
              <a:off x="530542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39" name="Freeform 838">
              <a:extLst>
                <a:ext uri="{FF2B5EF4-FFF2-40B4-BE49-F238E27FC236}">
                  <a16:creationId xmlns:a16="http://schemas.microsoft.com/office/drawing/2014/main" id="{06C4FFF3-AEDF-2659-2612-36ADEC005C74}"/>
                </a:ext>
              </a:extLst>
            </p:cNvPr>
            <p:cNvSpPr/>
            <p:nvPr/>
          </p:nvSpPr>
          <p:spPr>
            <a:xfrm>
              <a:off x="53054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0" name="Freeform 839">
              <a:extLst>
                <a:ext uri="{FF2B5EF4-FFF2-40B4-BE49-F238E27FC236}">
                  <a16:creationId xmlns:a16="http://schemas.microsoft.com/office/drawing/2014/main" id="{783AA8B1-F52E-E9E7-B157-DCD23638C1E3}"/>
                </a:ext>
              </a:extLst>
            </p:cNvPr>
            <p:cNvSpPr/>
            <p:nvPr/>
          </p:nvSpPr>
          <p:spPr>
            <a:xfrm>
              <a:off x="53054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1" name="Freeform 840">
              <a:extLst>
                <a:ext uri="{FF2B5EF4-FFF2-40B4-BE49-F238E27FC236}">
                  <a16:creationId xmlns:a16="http://schemas.microsoft.com/office/drawing/2014/main" id="{B727D8D7-AE98-0C85-A8AA-6B2F5BC72727}"/>
                </a:ext>
              </a:extLst>
            </p:cNvPr>
            <p:cNvSpPr/>
            <p:nvPr/>
          </p:nvSpPr>
          <p:spPr>
            <a:xfrm>
              <a:off x="53054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2" name="Freeform 841">
              <a:extLst>
                <a:ext uri="{FF2B5EF4-FFF2-40B4-BE49-F238E27FC236}">
                  <a16:creationId xmlns:a16="http://schemas.microsoft.com/office/drawing/2014/main" id="{5B27CC32-64CA-6080-F0FA-D7D2C7FBC366}"/>
                </a:ext>
              </a:extLst>
            </p:cNvPr>
            <p:cNvSpPr/>
            <p:nvPr/>
          </p:nvSpPr>
          <p:spPr>
            <a:xfrm>
              <a:off x="53054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3" name="Freeform 842">
              <a:extLst>
                <a:ext uri="{FF2B5EF4-FFF2-40B4-BE49-F238E27FC236}">
                  <a16:creationId xmlns:a16="http://schemas.microsoft.com/office/drawing/2014/main" id="{6E0220B2-0300-9EE1-F6F0-4D2505F3E1CD}"/>
                </a:ext>
              </a:extLst>
            </p:cNvPr>
            <p:cNvSpPr/>
            <p:nvPr/>
          </p:nvSpPr>
          <p:spPr>
            <a:xfrm>
              <a:off x="53054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4" name="Freeform 843">
              <a:extLst>
                <a:ext uri="{FF2B5EF4-FFF2-40B4-BE49-F238E27FC236}">
                  <a16:creationId xmlns:a16="http://schemas.microsoft.com/office/drawing/2014/main" id="{F325CB65-E534-5C8E-3081-EDFF3FC3F1B6}"/>
                </a:ext>
              </a:extLst>
            </p:cNvPr>
            <p:cNvSpPr/>
            <p:nvPr/>
          </p:nvSpPr>
          <p:spPr>
            <a:xfrm>
              <a:off x="53054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5" name="Freeform 844">
              <a:extLst>
                <a:ext uri="{FF2B5EF4-FFF2-40B4-BE49-F238E27FC236}">
                  <a16:creationId xmlns:a16="http://schemas.microsoft.com/office/drawing/2014/main" id="{BC947065-7AAE-E907-C3D5-B3F18B149E4A}"/>
                </a:ext>
              </a:extLst>
            </p:cNvPr>
            <p:cNvSpPr/>
            <p:nvPr/>
          </p:nvSpPr>
          <p:spPr>
            <a:xfrm>
              <a:off x="53054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6" name="Freeform 845">
              <a:extLst>
                <a:ext uri="{FF2B5EF4-FFF2-40B4-BE49-F238E27FC236}">
                  <a16:creationId xmlns:a16="http://schemas.microsoft.com/office/drawing/2014/main" id="{1AC3C7FE-0EAF-2FCE-2FB2-7BBEE2DDB264}"/>
                </a:ext>
              </a:extLst>
            </p:cNvPr>
            <p:cNvSpPr/>
            <p:nvPr/>
          </p:nvSpPr>
          <p:spPr>
            <a:xfrm>
              <a:off x="53054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7" name="Freeform 846">
              <a:extLst>
                <a:ext uri="{FF2B5EF4-FFF2-40B4-BE49-F238E27FC236}">
                  <a16:creationId xmlns:a16="http://schemas.microsoft.com/office/drawing/2014/main" id="{4695951F-CB7F-B612-FA55-55831AF7B4E0}"/>
                </a:ext>
              </a:extLst>
            </p:cNvPr>
            <p:cNvSpPr/>
            <p:nvPr/>
          </p:nvSpPr>
          <p:spPr>
            <a:xfrm>
              <a:off x="53054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8" name="Freeform 847">
              <a:extLst>
                <a:ext uri="{FF2B5EF4-FFF2-40B4-BE49-F238E27FC236}">
                  <a16:creationId xmlns:a16="http://schemas.microsoft.com/office/drawing/2014/main" id="{074626C4-47C2-ADB8-5FA3-FC12F8129F56}"/>
                </a:ext>
              </a:extLst>
            </p:cNvPr>
            <p:cNvSpPr/>
            <p:nvPr/>
          </p:nvSpPr>
          <p:spPr>
            <a:xfrm>
              <a:off x="53054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49" name="Freeform 848">
              <a:extLst>
                <a:ext uri="{FF2B5EF4-FFF2-40B4-BE49-F238E27FC236}">
                  <a16:creationId xmlns:a16="http://schemas.microsoft.com/office/drawing/2014/main" id="{AA841262-C2A1-C463-32B5-1BED666D9961}"/>
                </a:ext>
              </a:extLst>
            </p:cNvPr>
            <p:cNvSpPr/>
            <p:nvPr/>
          </p:nvSpPr>
          <p:spPr>
            <a:xfrm>
              <a:off x="541020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0" name="Freeform 849">
              <a:extLst>
                <a:ext uri="{FF2B5EF4-FFF2-40B4-BE49-F238E27FC236}">
                  <a16:creationId xmlns:a16="http://schemas.microsoft.com/office/drawing/2014/main" id="{8B86586B-B3CE-0A86-D477-7E98698D534E}"/>
                </a:ext>
              </a:extLst>
            </p:cNvPr>
            <p:cNvSpPr/>
            <p:nvPr/>
          </p:nvSpPr>
          <p:spPr>
            <a:xfrm>
              <a:off x="54102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1" name="Freeform 850">
              <a:extLst>
                <a:ext uri="{FF2B5EF4-FFF2-40B4-BE49-F238E27FC236}">
                  <a16:creationId xmlns:a16="http://schemas.microsoft.com/office/drawing/2014/main" id="{CDCBB7E0-C8A5-5214-9823-E01A74165F4D}"/>
                </a:ext>
              </a:extLst>
            </p:cNvPr>
            <p:cNvSpPr/>
            <p:nvPr/>
          </p:nvSpPr>
          <p:spPr>
            <a:xfrm>
              <a:off x="54102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2" name="Freeform 851">
              <a:extLst>
                <a:ext uri="{FF2B5EF4-FFF2-40B4-BE49-F238E27FC236}">
                  <a16:creationId xmlns:a16="http://schemas.microsoft.com/office/drawing/2014/main" id="{7D69FF00-8F88-718E-08BD-13A53244A918}"/>
                </a:ext>
              </a:extLst>
            </p:cNvPr>
            <p:cNvSpPr/>
            <p:nvPr/>
          </p:nvSpPr>
          <p:spPr>
            <a:xfrm>
              <a:off x="54102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3" name="Freeform 852">
              <a:extLst>
                <a:ext uri="{FF2B5EF4-FFF2-40B4-BE49-F238E27FC236}">
                  <a16:creationId xmlns:a16="http://schemas.microsoft.com/office/drawing/2014/main" id="{92BBC300-C329-6196-3EBF-A63C3B07B5A0}"/>
                </a:ext>
              </a:extLst>
            </p:cNvPr>
            <p:cNvSpPr/>
            <p:nvPr/>
          </p:nvSpPr>
          <p:spPr>
            <a:xfrm>
              <a:off x="54102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4" name="Freeform 853">
              <a:extLst>
                <a:ext uri="{FF2B5EF4-FFF2-40B4-BE49-F238E27FC236}">
                  <a16:creationId xmlns:a16="http://schemas.microsoft.com/office/drawing/2014/main" id="{73F5DE3D-E8A0-D28E-E59C-F97EC074A3BD}"/>
                </a:ext>
              </a:extLst>
            </p:cNvPr>
            <p:cNvSpPr/>
            <p:nvPr/>
          </p:nvSpPr>
          <p:spPr>
            <a:xfrm>
              <a:off x="54102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5" name="Freeform 854">
              <a:extLst>
                <a:ext uri="{FF2B5EF4-FFF2-40B4-BE49-F238E27FC236}">
                  <a16:creationId xmlns:a16="http://schemas.microsoft.com/office/drawing/2014/main" id="{3914299D-A7B5-010B-0B2E-FF677D4C546E}"/>
                </a:ext>
              </a:extLst>
            </p:cNvPr>
            <p:cNvSpPr/>
            <p:nvPr/>
          </p:nvSpPr>
          <p:spPr>
            <a:xfrm>
              <a:off x="54102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6" name="Freeform 855">
              <a:extLst>
                <a:ext uri="{FF2B5EF4-FFF2-40B4-BE49-F238E27FC236}">
                  <a16:creationId xmlns:a16="http://schemas.microsoft.com/office/drawing/2014/main" id="{3F877999-9ABC-0B20-4B11-6EABD9406F0F}"/>
                </a:ext>
              </a:extLst>
            </p:cNvPr>
            <p:cNvSpPr/>
            <p:nvPr/>
          </p:nvSpPr>
          <p:spPr>
            <a:xfrm>
              <a:off x="54102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7" name="Freeform 856">
              <a:extLst>
                <a:ext uri="{FF2B5EF4-FFF2-40B4-BE49-F238E27FC236}">
                  <a16:creationId xmlns:a16="http://schemas.microsoft.com/office/drawing/2014/main" id="{8BAB7151-5BC9-A13A-BF66-41DA6CE95387}"/>
                </a:ext>
              </a:extLst>
            </p:cNvPr>
            <p:cNvSpPr/>
            <p:nvPr/>
          </p:nvSpPr>
          <p:spPr>
            <a:xfrm>
              <a:off x="54102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8" name="Freeform 857">
              <a:extLst>
                <a:ext uri="{FF2B5EF4-FFF2-40B4-BE49-F238E27FC236}">
                  <a16:creationId xmlns:a16="http://schemas.microsoft.com/office/drawing/2014/main" id="{AA2918B3-7F72-63DA-0578-82D41B259423}"/>
                </a:ext>
              </a:extLst>
            </p:cNvPr>
            <p:cNvSpPr/>
            <p:nvPr/>
          </p:nvSpPr>
          <p:spPr>
            <a:xfrm>
              <a:off x="54102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59" name="Freeform 858">
              <a:extLst>
                <a:ext uri="{FF2B5EF4-FFF2-40B4-BE49-F238E27FC236}">
                  <a16:creationId xmlns:a16="http://schemas.microsoft.com/office/drawing/2014/main" id="{FC0C11CE-43CA-07A5-2C20-038D88FACB9A}"/>
                </a:ext>
              </a:extLst>
            </p:cNvPr>
            <p:cNvSpPr/>
            <p:nvPr/>
          </p:nvSpPr>
          <p:spPr>
            <a:xfrm>
              <a:off x="54102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0" name="Freeform 859">
              <a:extLst>
                <a:ext uri="{FF2B5EF4-FFF2-40B4-BE49-F238E27FC236}">
                  <a16:creationId xmlns:a16="http://schemas.microsoft.com/office/drawing/2014/main" id="{F9371AC0-48AB-8267-666E-137D33761966}"/>
                </a:ext>
              </a:extLst>
            </p:cNvPr>
            <p:cNvSpPr/>
            <p:nvPr/>
          </p:nvSpPr>
          <p:spPr>
            <a:xfrm>
              <a:off x="54102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1" name="Freeform 860">
              <a:extLst>
                <a:ext uri="{FF2B5EF4-FFF2-40B4-BE49-F238E27FC236}">
                  <a16:creationId xmlns:a16="http://schemas.microsoft.com/office/drawing/2014/main" id="{90BB3117-5E15-73EC-0E87-B600AB25261C}"/>
                </a:ext>
              </a:extLst>
            </p:cNvPr>
            <p:cNvSpPr/>
            <p:nvPr/>
          </p:nvSpPr>
          <p:spPr>
            <a:xfrm>
              <a:off x="54102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2" name="Freeform 861">
              <a:extLst>
                <a:ext uri="{FF2B5EF4-FFF2-40B4-BE49-F238E27FC236}">
                  <a16:creationId xmlns:a16="http://schemas.microsoft.com/office/drawing/2014/main" id="{160857F1-21F7-634C-AFFF-7CD24EAA14DB}"/>
                </a:ext>
              </a:extLst>
            </p:cNvPr>
            <p:cNvSpPr/>
            <p:nvPr/>
          </p:nvSpPr>
          <p:spPr>
            <a:xfrm>
              <a:off x="54102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3" name="Freeform 862">
              <a:extLst>
                <a:ext uri="{FF2B5EF4-FFF2-40B4-BE49-F238E27FC236}">
                  <a16:creationId xmlns:a16="http://schemas.microsoft.com/office/drawing/2014/main" id="{C778F6BD-9495-0D29-61F1-1322BBEAE97D}"/>
                </a:ext>
              </a:extLst>
            </p:cNvPr>
            <p:cNvSpPr/>
            <p:nvPr/>
          </p:nvSpPr>
          <p:spPr>
            <a:xfrm>
              <a:off x="54102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4" name="Freeform 863">
              <a:extLst>
                <a:ext uri="{FF2B5EF4-FFF2-40B4-BE49-F238E27FC236}">
                  <a16:creationId xmlns:a16="http://schemas.microsoft.com/office/drawing/2014/main" id="{357B2204-AC60-3B1D-9823-190A3E712027}"/>
                </a:ext>
              </a:extLst>
            </p:cNvPr>
            <p:cNvSpPr/>
            <p:nvPr/>
          </p:nvSpPr>
          <p:spPr>
            <a:xfrm>
              <a:off x="54102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5" name="Freeform 864">
              <a:extLst>
                <a:ext uri="{FF2B5EF4-FFF2-40B4-BE49-F238E27FC236}">
                  <a16:creationId xmlns:a16="http://schemas.microsoft.com/office/drawing/2014/main" id="{924E733A-9DDF-562F-A62E-7298836F8CB1}"/>
                </a:ext>
              </a:extLst>
            </p:cNvPr>
            <p:cNvSpPr/>
            <p:nvPr/>
          </p:nvSpPr>
          <p:spPr>
            <a:xfrm>
              <a:off x="54102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6" name="Freeform 865">
              <a:extLst>
                <a:ext uri="{FF2B5EF4-FFF2-40B4-BE49-F238E27FC236}">
                  <a16:creationId xmlns:a16="http://schemas.microsoft.com/office/drawing/2014/main" id="{F2B5899A-8B85-B735-F50A-9849AFB65C67}"/>
                </a:ext>
              </a:extLst>
            </p:cNvPr>
            <p:cNvSpPr/>
            <p:nvPr/>
          </p:nvSpPr>
          <p:spPr>
            <a:xfrm>
              <a:off x="55149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7" name="Freeform 866">
              <a:extLst>
                <a:ext uri="{FF2B5EF4-FFF2-40B4-BE49-F238E27FC236}">
                  <a16:creationId xmlns:a16="http://schemas.microsoft.com/office/drawing/2014/main" id="{E8620C00-218E-2F5C-52DC-7B1618B6C346}"/>
                </a:ext>
              </a:extLst>
            </p:cNvPr>
            <p:cNvSpPr/>
            <p:nvPr/>
          </p:nvSpPr>
          <p:spPr>
            <a:xfrm>
              <a:off x="55149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8" name="Freeform 867">
              <a:extLst>
                <a:ext uri="{FF2B5EF4-FFF2-40B4-BE49-F238E27FC236}">
                  <a16:creationId xmlns:a16="http://schemas.microsoft.com/office/drawing/2014/main" id="{272C703F-784E-AA67-44C5-C01AE51DEEE4}"/>
                </a:ext>
              </a:extLst>
            </p:cNvPr>
            <p:cNvSpPr/>
            <p:nvPr/>
          </p:nvSpPr>
          <p:spPr>
            <a:xfrm>
              <a:off x="55149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69" name="Freeform 868">
              <a:extLst>
                <a:ext uri="{FF2B5EF4-FFF2-40B4-BE49-F238E27FC236}">
                  <a16:creationId xmlns:a16="http://schemas.microsoft.com/office/drawing/2014/main" id="{50EC0ABF-3071-BF23-B375-7D716C32EAA0}"/>
                </a:ext>
              </a:extLst>
            </p:cNvPr>
            <p:cNvSpPr/>
            <p:nvPr/>
          </p:nvSpPr>
          <p:spPr>
            <a:xfrm>
              <a:off x="55149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0" name="Freeform 869">
              <a:extLst>
                <a:ext uri="{FF2B5EF4-FFF2-40B4-BE49-F238E27FC236}">
                  <a16:creationId xmlns:a16="http://schemas.microsoft.com/office/drawing/2014/main" id="{7039024E-3876-0B61-8DB7-16CF64E9AAD9}"/>
                </a:ext>
              </a:extLst>
            </p:cNvPr>
            <p:cNvSpPr/>
            <p:nvPr/>
          </p:nvSpPr>
          <p:spPr>
            <a:xfrm>
              <a:off x="55149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1" name="Freeform 870">
              <a:extLst>
                <a:ext uri="{FF2B5EF4-FFF2-40B4-BE49-F238E27FC236}">
                  <a16:creationId xmlns:a16="http://schemas.microsoft.com/office/drawing/2014/main" id="{8ABE456D-392B-C60F-E1AB-A9BB3A3296BB}"/>
                </a:ext>
              </a:extLst>
            </p:cNvPr>
            <p:cNvSpPr/>
            <p:nvPr/>
          </p:nvSpPr>
          <p:spPr>
            <a:xfrm>
              <a:off x="55149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2" name="Freeform 871">
              <a:extLst>
                <a:ext uri="{FF2B5EF4-FFF2-40B4-BE49-F238E27FC236}">
                  <a16:creationId xmlns:a16="http://schemas.microsoft.com/office/drawing/2014/main" id="{45D5BC5C-84AA-1230-4B32-82B4D572F7C5}"/>
                </a:ext>
              </a:extLst>
            </p:cNvPr>
            <p:cNvSpPr/>
            <p:nvPr/>
          </p:nvSpPr>
          <p:spPr>
            <a:xfrm>
              <a:off x="55149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3" name="Freeform 872">
              <a:extLst>
                <a:ext uri="{FF2B5EF4-FFF2-40B4-BE49-F238E27FC236}">
                  <a16:creationId xmlns:a16="http://schemas.microsoft.com/office/drawing/2014/main" id="{3A3DB9F9-E721-16F8-5943-120D97229963}"/>
                </a:ext>
              </a:extLst>
            </p:cNvPr>
            <p:cNvSpPr/>
            <p:nvPr/>
          </p:nvSpPr>
          <p:spPr>
            <a:xfrm>
              <a:off x="55149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4" name="Freeform 873">
              <a:extLst>
                <a:ext uri="{FF2B5EF4-FFF2-40B4-BE49-F238E27FC236}">
                  <a16:creationId xmlns:a16="http://schemas.microsoft.com/office/drawing/2014/main" id="{DFBE4C38-9ADE-FD17-EF45-DCEE0ADB8078}"/>
                </a:ext>
              </a:extLst>
            </p:cNvPr>
            <p:cNvSpPr/>
            <p:nvPr/>
          </p:nvSpPr>
          <p:spPr>
            <a:xfrm>
              <a:off x="55149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5" name="Freeform 874">
              <a:extLst>
                <a:ext uri="{FF2B5EF4-FFF2-40B4-BE49-F238E27FC236}">
                  <a16:creationId xmlns:a16="http://schemas.microsoft.com/office/drawing/2014/main" id="{A2149A38-3CBB-E9F3-C9CA-1D315FD5B1C9}"/>
                </a:ext>
              </a:extLst>
            </p:cNvPr>
            <p:cNvSpPr/>
            <p:nvPr/>
          </p:nvSpPr>
          <p:spPr>
            <a:xfrm>
              <a:off x="55149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6" name="Freeform 875">
              <a:extLst>
                <a:ext uri="{FF2B5EF4-FFF2-40B4-BE49-F238E27FC236}">
                  <a16:creationId xmlns:a16="http://schemas.microsoft.com/office/drawing/2014/main" id="{0C7D4CDE-101F-80F6-236E-C14B276E1C95}"/>
                </a:ext>
              </a:extLst>
            </p:cNvPr>
            <p:cNvSpPr/>
            <p:nvPr/>
          </p:nvSpPr>
          <p:spPr>
            <a:xfrm>
              <a:off x="551497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7" name="Freeform 876">
              <a:extLst>
                <a:ext uri="{FF2B5EF4-FFF2-40B4-BE49-F238E27FC236}">
                  <a16:creationId xmlns:a16="http://schemas.microsoft.com/office/drawing/2014/main" id="{9E381829-BDD4-0731-6D1A-CE72897FC470}"/>
                </a:ext>
              </a:extLst>
            </p:cNvPr>
            <p:cNvSpPr/>
            <p:nvPr/>
          </p:nvSpPr>
          <p:spPr>
            <a:xfrm>
              <a:off x="55149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8" name="Freeform 877">
              <a:extLst>
                <a:ext uri="{FF2B5EF4-FFF2-40B4-BE49-F238E27FC236}">
                  <a16:creationId xmlns:a16="http://schemas.microsoft.com/office/drawing/2014/main" id="{36DA759E-9343-8CA6-5E77-F400519632F2}"/>
                </a:ext>
              </a:extLst>
            </p:cNvPr>
            <p:cNvSpPr/>
            <p:nvPr/>
          </p:nvSpPr>
          <p:spPr>
            <a:xfrm>
              <a:off x="55149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79" name="Freeform 878">
              <a:extLst>
                <a:ext uri="{FF2B5EF4-FFF2-40B4-BE49-F238E27FC236}">
                  <a16:creationId xmlns:a16="http://schemas.microsoft.com/office/drawing/2014/main" id="{3E999095-388F-1482-C771-04CF5D3F5BBB}"/>
                </a:ext>
              </a:extLst>
            </p:cNvPr>
            <p:cNvSpPr/>
            <p:nvPr/>
          </p:nvSpPr>
          <p:spPr>
            <a:xfrm>
              <a:off x="55149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0" name="Freeform 879">
              <a:extLst>
                <a:ext uri="{FF2B5EF4-FFF2-40B4-BE49-F238E27FC236}">
                  <a16:creationId xmlns:a16="http://schemas.microsoft.com/office/drawing/2014/main" id="{C1F1C604-BEAD-228C-B535-1C717C5963FA}"/>
                </a:ext>
              </a:extLst>
            </p:cNvPr>
            <p:cNvSpPr/>
            <p:nvPr/>
          </p:nvSpPr>
          <p:spPr>
            <a:xfrm>
              <a:off x="55149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1" name="Freeform 880">
              <a:extLst>
                <a:ext uri="{FF2B5EF4-FFF2-40B4-BE49-F238E27FC236}">
                  <a16:creationId xmlns:a16="http://schemas.microsoft.com/office/drawing/2014/main" id="{3B9DB681-A922-78DD-2B66-0E6A36F20E23}"/>
                </a:ext>
              </a:extLst>
            </p:cNvPr>
            <p:cNvSpPr/>
            <p:nvPr/>
          </p:nvSpPr>
          <p:spPr>
            <a:xfrm>
              <a:off x="55149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2" name="Freeform 881">
              <a:extLst>
                <a:ext uri="{FF2B5EF4-FFF2-40B4-BE49-F238E27FC236}">
                  <a16:creationId xmlns:a16="http://schemas.microsoft.com/office/drawing/2014/main" id="{F6D3F9A8-0400-B419-9BE1-37EE5AEE639D}"/>
                </a:ext>
              </a:extLst>
            </p:cNvPr>
            <p:cNvSpPr/>
            <p:nvPr/>
          </p:nvSpPr>
          <p:spPr>
            <a:xfrm>
              <a:off x="56197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3" name="Freeform 882">
              <a:extLst>
                <a:ext uri="{FF2B5EF4-FFF2-40B4-BE49-F238E27FC236}">
                  <a16:creationId xmlns:a16="http://schemas.microsoft.com/office/drawing/2014/main" id="{2455CA2B-BB94-F5DF-AAEE-630B8090E06F}"/>
                </a:ext>
              </a:extLst>
            </p:cNvPr>
            <p:cNvSpPr/>
            <p:nvPr/>
          </p:nvSpPr>
          <p:spPr>
            <a:xfrm>
              <a:off x="56197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4" name="Freeform 883">
              <a:extLst>
                <a:ext uri="{FF2B5EF4-FFF2-40B4-BE49-F238E27FC236}">
                  <a16:creationId xmlns:a16="http://schemas.microsoft.com/office/drawing/2014/main" id="{5E8ABF7D-DFAC-A74F-C256-275292D3C4D8}"/>
                </a:ext>
              </a:extLst>
            </p:cNvPr>
            <p:cNvSpPr/>
            <p:nvPr/>
          </p:nvSpPr>
          <p:spPr>
            <a:xfrm>
              <a:off x="56197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5" name="Freeform 884">
              <a:extLst>
                <a:ext uri="{FF2B5EF4-FFF2-40B4-BE49-F238E27FC236}">
                  <a16:creationId xmlns:a16="http://schemas.microsoft.com/office/drawing/2014/main" id="{564C05F2-D07C-6FD0-B39F-83409073C3EC}"/>
                </a:ext>
              </a:extLst>
            </p:cNvPr>
            <p:cNvSpPr/>
            <p:nvPr/>
          </p:nvSpPr>
          <p:spPr>
            <a:xfrm>
              <a:off x="56197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6" name="Freeform 885">
              <a:extLst>
                <a:ext uri="{FF2B5EF4-FFF2-40B4-BE49-F238E27FC236}">
                  <a16:creationId xmlns:a16="http://schemas.microsoft.com/office/drawing/2014/main" id="{7E0F06AD-70BD-234C-3536-8FE157A7B77C}"/>
                </a:ext>
              </a:extLst>
            </p:cNvPr>
            <p:cNvSpPr/>
            <p:nvPr/>
          </p:nvSpPr>
          <p:spPr>
            <a:xfrm>
              <a:off x="56197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7" name="Freeform 886">
              <a:extLst>
                <a:ext uri="{FF2B5EF4-FFF2-40B4-BE49-F238E27FC236}">
                  <a16:creationId xmlns:a16="http://schemas.microsoft.com/office/drawing/2014/main" id="{23A22A77-2F8A-451B-68D7-E9E34A270498}"/>
                </a:ext>
              </a:extLst>
            </p:cNvPr>
            <p:cNvSpPr/>
            <p:nvPr/>
          </p:nvSpPr>
          <p:spPr>
            <a:xfrm>
              <a:off x="56197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8" name="Freeform 887">
              <a:extLst>
                <a:ext uri="{FF2B5EF4-FFF2-40B4-BE49-F238E27FC236}">
                  <a16:creationId xmlns:a16="http://schemas.microsoft.com/office/drawing/2014/main" id="{7F38A030-B24E-5A92-78B0-BECBA1FD3895}"/>
                </a:ext>
              </a:extLst>
            </p:cNvPr>
            <p:cNvSpPr/>
            <p:nvPr/>
          </p:nvSpPr>
          <p:spPr>
            <a:xfrm>
              <a:off x="56197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89" name="Freeform 888">
              <a:extLst>
                <a:ext uri="{FF2B5EF4-FFF2-40B4-BE49-F238E27FC236}">
                  <a16:creationId xmlns:a16="http://schemas.microsoft.com/office/drawing/2014/main" id="{5FAA9D4F-7C32-3903-29EC-520EE08F2E22}"/>
                </a:ext>
              </a:extLst>
            </p:cNvPr>
            <p:cNvSpPr/>
            <p:nvPr/>
          </p:nvSpPr>
          <p:spPr>
            <a:xfrm>
              <a:off x="56197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0" name="Freeform 889">
              <a:extLst>
                <a:ext uri="{FF2B5EF4-FFF2-40B4-BE49-F238E27FC236}">
                  <a16:creationId xmlns:a16="http://schemas.microsoft.com/office/drawing/2014/main" id="{78F94511-3FAC-103D-B8C2-6971CDE4C9E3}"/>
                </a:ext>
              </a:extLst>
            </p:cNvPr>
            <p:cNvSpPr/>
            <p:nvPr/>
          </p:nvSpPr>
          <p:spPr>
            <a:xfrm>
              <a:off x="56197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1" name="Freeform 890">
              <a:extLst>
                <a:ext uri="{FF2B5EF4-FFF2-40B4-BE49-F238E27FC236}">
                  <a16:creationId xmlns:a16="http://schemas.microsoft.com/office/drawing/2014/main" id="{6165DC94-3994-F733-567D-BD11DFFBA688}"/>
                </a:ext>
              </a:extLst>
            </p:cNvPr>
            <p:cNvSpPr/>
            <p:nvPr/>
          </p:nvSpPr>
          <p:spPr>
            <a:xfrm>
              <a:off x="56197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2" name="Freeform 891">
              <a:extLst>
                <a:ext uri="{FF2B5EF4-FFF2-40B4-BE49-F238E27FC236}">
                  <a16:creationId xmlns:a16="http://schemas.microsoft.com/office/drawing/2014/main" id="{695BF36A-9193-5B62-50E7-CE88D4AF94AB}"/>
                </a:ext>
              </a:extLst>
            </p:cNvPr>
            <p:cNvSpPr/>
            <p:nvPr/>
          </p:nvSpPr>
          <p:spPr>
            <a:xfrm>
              <a:off x="56197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3" name="Freeform 892">
              <a:extLst>
                <a:ext uri="{FF2B5EF4-FFF2-40B4-BE49-F238E27FC236}">
                  <a16:creationId xmlns:a16="http://schemas.microsoft.com/office/drawing/2014/main" id="{45378400-E2BA-6EB9-EBF8-4E7AFC373F36}"/>
                </a:ext>
              </a:extLst>
            </p:cNvPr>
            <p:cNvSpPr/>
            <p:nvPr/>
          </p:nvSpPr>
          <p:spPr>
            <a:xfrm>
              <a:off x="56197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4" name="Freeform 893">
              <a:extLst>
                <a:ext uri="{FF2B5EF4-FFF2-40B4-BE49-F238E27FC236}">
                  <a16:creationId xmlns:a16="http://schemas.microsoft.com/office/drawing/2014/main" id="{7D01B654-9E17-6992-63DA-613F92D13FA8}"/>
                </a:ext>
              </a:extLst>
            </p:cNvPr>
            <p:cNvSpPr/>
            <p:nvPr/>
          </p:nvSpPr>
          <p:spPr>
            <a:xfrm>
              <a:off x="572452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5" name="Freeform 894">
              <a:extLst>
                <a:ext uri="{FF2B5EF4-FFF2-40B4-BE49-F238E27FC236}">
                  <a16:creationId xmlns:a16="http://schemas.microsoft.com/office/drawing/2014/main" id="{93A670CA-0DC6-4CD7-E977-C51B3CC2E8D2}"/>
                </a:ext>
              </a:extLst>
            </p:cNvPr>
            <p:cNvSpPr/>
            <p:nvPr/>
          </p:nvSpPr>
          <p:spPr>
            <a:xfrm>
              <a:off x="57245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6" name="Freeform 895">
              <a:extLst>
                <a:ext uri="{FF2B5EF4-FFF2-40B4-BE49-F238E27FC236}">
                  <a16:creationId xmlns:a16="http://schemas.microsoft.com/office/drawing/2014/main" id="{3EBC22F6-EA4B-8151-9E1E-3CF66B6FD380}"/>
                </a:ext>
              </a:extLst>
            </p:cNvPr>
            <p:cNvSpPr/>
            <p:nvPr/>
          </p:nvSpPr>
          <p:spPr>
            <a:xfrm>
              <a:off x="57245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7" name="Freeform 896">
              <a:extLst>
                <a:ext uri="{FF2B5EF4-FFF2-40B4-BE49-F238E27FC236}">
                  <a16:creationId xmlns:a16="http://schemas.microsoft.com/office/drawing/2014/main" id="{62CF7ED6-914C-706B-6BF8-82793271A619}"/>
                </a:ext>
              </a:extLst>
            </p:cNvPr>
            <p:cNvSpPr/>
            <p:nvPr/>
          </p:nvSpPr>
          <p:spPr>
            <a:xfrm>
              <a:off x="57245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8" name="Freeform 897">
              <a:extLst>
                <a:ext uri="{FF2B5EF4-FFF2-40B4-BE49-F238E27FC236}">
                  <a16:creationId xmlns:a16="http://schemas.microsoft.com/office/drawing/2014/main" id="{8DF3B933-45A3-258A-E593-231F2B068193}"/>
                </a:ext>
              </a:extLst>
            </p:cNvPr>
            <p:cNvSpPr/>
            <p:nvPr/>
          </p:nvSpPr>
          <p:spPr>
            <a:xfrm>
              <a:off x="57245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899" name="Freeform 898">
              <a:extLst>
                <a:ext uri="{FF2B5EF4-FFF2-40B4-BE49-F238E27FC236}">
                  <a16:creationId xmlns:a16="http://schemas.microsoft.com/office/drawing/2014/main" id="{A4BB5056-2C76-CE42-E102-643C910DDFD7}"/>
                </a:ext>
              </a:extLst>
            </p:cNvPr>
            <p:cNvSpPr/>
            <p:nvPr/>
          </p:nvSpPr>
          <p:spPr>
            <a:xfrm>
              <a:off x="57245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0" name="Freeform 899">
              <a:extLst>
                <a:ext uri="{FF2B5EF4-FFF2-40B4-BE49-F238E27FC236}">
                  <a16:creationId xmlns:a16="http://schemas.microsoft.com/office/drawing/2014/main" id="{C3FD8FB5-7088-E3FE-FE8D-25B7699AF80E}"/>
                </a:ext>
              </a:extLst>
            </p:cNvPr>
            <p:cNvSpPr/>
            <p:nvPr/>
          </p:nvSpPr>
          <p:spPr>
            <a:xfrm>
              <a:off x="57245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1" name="Freeform 900">
              <a:extLst>
                <a:ext uri="{FF2B5EF4-FFF2-40B4-BE49-F238E27FC236}">
                  <a16:creationId xmlns:a16="http://schemas.microsoft.com/office/drawing/2014/main" id="{0D48E209-6567-DE47-98C9-D198B3B94FF4}"/>
                </a:ext>
              </a:extLst>
            </p:cNvPr>
            <p:cNvSpPr/>
            <p:nvPr/>
          </p:nvSpPr>
          <p:spPr>
            <a:xfrm>
              <a:off x="57245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2" name="Freeform 901">
              <a:extLst>
                <a:ext uri="{FF2B5EF4-FFF2-40B4-BE49-F238E27FC236}">
                  <a16:creationId xmlns:a16="http://schemas.microsoft.com/office/drawing/2014/main" id="{0FE8E09A-191B-6E6C-6E22-9C47D598734A}"/>
                </a:ext>
              </a:extLst>
            </p:cNvPr>
            <p:cNvSpPr/>
            <p:nvPr/>
          </p:nvSpPr>
          <p:spPr>
            <a:xfrm>
              <a:off x="57245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3" name="Freeform 902">
              <a:extLst>
                <a:ext uri="{FF2B5EF4-FFF2-40B4-BE49-F238E27FC236}">
                  <a16:creationId xmlns:a16="http://schemas.microsoft.com/office/drawing/2014/main" id="{E4DFF14E-5FAA-39B4-30B2-7B28A42B9638}"/>
                </a:ext>
              </a:extLst>
            </p:cNvPr>
            <p:cNvSpPr/>
            <p:nvPr/>
          </p:nvSpPr>
          <p:spPr>
            <a:xfrm>
              <a:off x="57245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4" name="Freeform 903">
              <a:extLst>
                <a:ext uri="{FF2B5EF4-FFF2-40B4-BE49-F238E27FC236}">
                  <a16:creationId xmlns:a16="http://schemas.microsoft.com/office/drawing/2014/main" id="{F045BB19-B5C9-5C04-EE72-E059B64C78D7}"/>
                </a:ext>
              </a:extLst>
            </p:cNvPr>
            <p:cNvSpPr/>
            <p:nvPr/>
          </p:nvSpPr>
          <p:spPr>
            <a:xfrm>
              <a:off x="57245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5" name="Freeform 904">
              <a:extLst>
                <a:ext uri="{FF2B5EF4-FFF2-40B4-BE49-F238E27FC236}">
                  <a16:creationId xmlns:a16="http://schemas.microsoft.com/office/drawing/2014/main" id="{0B0F1E16-E416-DBB6-29D5-B1E055CA1015}"/>
                </a:ext>
              </a:extLst>
            </p:cNvPr>
            <p:cNvSpPr/>
            <p:nvPr/>
          </p:nvSpPr>
          <p:spPr>
            <a:xfrm>
              <a:off x="57245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6" name="Freeform 905">
              <a:extLst>
                <a:ext uri="{FF2B5EF4-FFF2-40B4-BE49-F238E27FC236}">
                  <a16:creationId xmlns:a16="http://schemas.microsoft.com/office/drawing/2014/main" id="{91ABAA11-01A3-7AFC-E39E-96757DCEF904}"/>
                </a:ext>
              </a:extLst>
            </p:cNvPr>
            <p:cNvSpPr/>
            <p:nvPr/>
          </p:nvSpPr>
          <p:spPr>
            <a:xfrm>
              <a:off x="57245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7" name="Freeform 906">
              <a:extLst>
                <a:ext uri="{FF2B5EF4-FFF2-40B4-BE49-F238E27FC236}">
                  <a16:creationId xmlns:a16="http://schemas.microsoft.com/office/drawing/2014/main" id="{DE155B71-6BEF-BBD6-B81A-5689905660D2}"/>
                </a:ext>
              </a:extLst>
            </p:cNvPr>
            <p:cNvSpPr/>
            <p:nvPr/>
          </p:nvSpPr>
          <p:spPr>
            <a:xfrm>
              <a:off x="57245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8" name="Freeform 907">
              <a:extLst>
                <a:ext uri="{FF2B5EF4-FFF2-40B4-BE49-F238E27FC236}">
                  <a16:creationId xmlns:a16="http://schemas.microsoft.com/office/drawing/2014/main" id="{465A501F-0636-27A2-5C33-9AE0E5DD614E}"/>
                </a:ext>
              </a:extLst>
            </p:cNvPr>
            <p:cNvSpPr/>
            <p:nvPr/>
          </p:nvSpPr>
          <p:spPr>
            <a:xfrm>
              <a:off x="57245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09" name="Freeform 908">
              <a:extLst>
                <a:ext uri="{FF2B5EF4-FFF2-40B4-BE49-F238E27FC236}">
                  <a16:creationId xmlns:a16="http://schemas.microsoft.com/office/drawing/2014/main" id="{845FB5F4-209F-5177-FDCF-316DF1EBD3D3}"/>
                </a:ext>
              </a:extLst>
            </p:cNvPr>
            <p:cNvSpPr/>
            <p:nvPr/>
          </p:nvSpPr>
          <p:spPr>
            <a:xfrm>
              <a:off x="57245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0" name="Freeform 909">
              <a:extLst>
                <a:ext uri="{FF2B5EF4-FFF2-40B4-BE49-F238E27FC236}">
                  <a16:creationId xmlns:a16="http://schemas.microsoft.com/office/drawing/2014/main" id="{DF090C35-850F-3D81-C184-EDACB8746CB8}"/>
                </a:ext>
              </a:extLst>
            </p:cNvPr>
            <p:cNvSpPr/>
            <p:nvPr/>
          </p:nvSpPr>
          <p:spPr>
            <a:xfrm>
              <a:off x="57245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1" name="Freeform 910">
              <a:extLst>
                <a:ext uri="{FF2B5EF4-FFF2-40B4-BE49-F238E27FC236}">
                  <a16:creationId xmlns:a16="http://schemas.microsoft.com/office/drawing/2014/main" id="{DE89A05E-B393-16A0-CFD3-CFFC3B7F919B}"/>
                </a:ext>
              </a:extLst>
            </p:cNvPr>
            <p:cNvSpPr/>
            <p:nvPr/>
          </p:nvSpPr>
          <p:spPr>
            <a:xfrm>
              <a:off x="57245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2" name="Freeform 911">
              <a:extLst>
                <a:ext uri="{FF2B5EF4-FFF2-40B4-BE49-F238E27FC236}">
                  <a16:creationId xmlns:a16="http://schemas.microsoft.com/office/drawing/2014/main" id="{5C12784C-5592-075E-3EFB-E2DFDD5EE4FD}"/>
                </a:ext>
              </a:extLst>
            </p:cNvPr>
            <p:cNvSpPr/>
            <p:nvPr/>
          </p:nvSpPr>
          <p:spPr>
            <a:xfrm>
              <a:off x="57245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3" name="Freeform 912">
              <a:extLst>
                <a:ext uri="{FF2B5EF4-FFF2-40B4-BE49-F238E27FC236}">
                  <a16:creationId xmlns:a16="http://schemas.microsoft.com/office/drawing/2014/main" id="{9290D37F-7359-3AF1-BF1A-5AF4B1829FBB}"/>
                </a:ext>
              </a:extLst>
            </p:cNvPr>
            <p:cNvSpPr/>
            <p:nvPr/>
          </p:nvSpPr>
          <p:spPr>
            <a:xfrm>
              <a:off x="58293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4" name="Freeform 913">
              <a:extLst>
                <a:ext uri="{FF2B5EF4-FFF2-40B4-BE49-F238E27FC236}">
                  <a16:creationId xmlns:a16="http://schemas.microsoft.com/office/drawing/2014/main" id="{CB4E721D-203F-904C-672E-CAA65E971856}"/>
                </a:ext>
              </a:extLst>
            </p:cNvPr>
            <p:cNvSpPr/>
            <p:nvPr/>
          </p:nvSpPr>
          <p:spPr>
            <a:xfrm>
              <a:off x="58293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5" name="Freeform 914">
              <a:extLst>
                <a:ext uri="{FF2B5EF4-FFF2-40B4-BE49-F238E27FC236}">
                  <a16:creationId xmlns:a16="http://schemas.microsoft.com/office/drawing/2014/main" id="{8330319D-82B8-02AC-53AC-3F5BB4237592}"/>
                </a:ext>
              </a:extLst>
            </p:cNvPr>
            <p:cNvSpPr/>
            <p:nvPr/>
          </p:nvSpPr>
          <p:spPr>
            <a:xfrm>
              <a:off x="58293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6" name="Freeform 915">
              <a:extLst>
                <a:ext uri="{FF2B5EF4-FFF2-40B4-BE49-F238E27FC236}">
                  <a16:creationId xmlns:a16="http://schemas.microsoft.com/office/drawing/2014/main" id="{9C956BDC-8646-A2C7-A357-9A5231167117}"/>
                </a:ext>
              </a:extLst>
            </p:cNvPr>
            <p:cNvSpPr/>
            <p:nvPr/>
          </p:nvSpPr>
          <p:spPr>
            <a:xfrm>
              <a:off x="58293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7" name="Freeform 916">
              <a:extLst>
                <a:ext uri="{FF2B5EF4-FFF2-40B4-BE49-F238E27FC236}">
                  <a16:creationId xmlns:a16="http://schemas.microsoft.com/office/drawing/2014/main" id="{00145613-6EA0-C704-3EBD-7B991816DBFD}"/>
                </a:ext>
              </a:extLst>
            </p:cNvPr>
            <p:cNvSpPr/>
            <p:nvPr/>
          </p:nvSpPr>
          <p:spPr>
            <a:xfrm>
              <a:off x="58293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8" name="Freeform 917">
              <a:extLst>
                <a:ext uri="{FF2B5EF4-FFF2-40B4-BE49-F238E27FC236}">
                  <a16:creationId xmlns:a16="http://schemas.microsoft.com/office/drawing/2014/main" id="{EE73CE0D-FCE0-F1FF-20BC-D41F218FED84}"/>
                </a:ext>
              </a:extLst>
            </p:cNvPr>
            <p:cNvSpPr/>
            <p:nvPr/>
          </p:nvSpPr>
          <p:spPr>
            <a:xfrm>
              <a:off x="58293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19" name="Freeform 918">
              <a:extLst>
                <a:ext uri="{FF2B5EF4-FFF2-40B4-BE49-F238E27FC236}">
                  <a16:creationId xmlns:a16="http://schemas.microsoft.com/office/drawing/2014/main" id="{9715D42A-787D-9713-0C1B-957F17173DE3}"/>
                </a:ext>
              </a:extLst>
            </p:cNvPr>
            <p:cNvSpPr/>
            <p:nvPr/>
          </p:nvSpPr>
          <p:spPr>
            <a:xfrm>
              <a:off x="58293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0" name="Freeform 919">
              <a:extLst>
                <a:ext uri="{FF2B5EF4-FFF2-40B4-BE49-F238E27FC236}">
                  <a16:creationId xmlns:a16="http://schemas.microsoft.com/office/drawing/2014/main" id="{F320E518-DA04-8D1C-3945-583840DDB78A}"/>
                </a:ext>
              </a:extLst>
            </p:cNvPr>
            <p:cNvSpPr/>
            <p:nvPr/>
          </p:nvSpPr>
          <p:spPr>
            <a:xfrm>
              <a:off x="58293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1" name="Freeform 920">
              <a:extLst>
                <a:ext uri="{FF2B5EF4-FFF2-40B4-BE49-F238E27FC236}">
                  <a16:creationId xmlns:a16="http://schemas.microsoft.com/office/drawing/2014/main" id="{93015692-75F2-BFFA-3D5E-67E7ED4CA023}"/>
                </a:ext>
              </a:extLst>
            </p:cNvPr>
            <p:cNvSpPr/>
            <p:nvPr/>
          </p:nvSpPr>
          <p:spPr>
            <a:xfrm>
              <a:off x="58293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2" name="Freeform 921">
              <a:extLst>
                <a:ext uri="{FF2B5EF4-FFF2-40B4-BE49-F238E27FC236}">
                  <a16:creationId xmlns:a16="http://schemas.microsoft.com/office/drawing/2014/main" id="{8FFE25CC-AFBC-4046-4508-FE0776709B43}"/>
                </a:ext>
              </a:extLst>
            </p:cNvPr>
            <p:cNvSpPr/>
            <p:nvPr/>
          </p:nvSpPr>
          <p:spPr>
            <a:xfrm>
              <a:off x="58293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3" name="Freeform 922">
              <a:extLst>
                <a:ext uri="{FF2B5EF4-FFF2-40B4-BE49-F238E27FC236}">
                  <a16:creationId xmlns:a16="http://schemas.microsoft.com/office/drawing/2014/main" id="{94F21E7C-BFC3-4B78-6125-90F2DA44EBBF}"/>
                </a:ext>
              </a:extLst>
            </p:cNvPr>
            <p:cNvSpPr/>
            <p:nvPr/>
          </p:nvSpPr>
          <p:spPr>
            <a:xfrm>
              <a:off x="58293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4" name="Freeform 923">
              <a:extLst>
                <a:ext uri="{FF2B5EF4-FFF2-40B4-BE49-F238E27FC236}">
                  <a16:creationId xmlns:a16="http://schemas.microsoft.com/office/drawing/2014/main" id="{4C643867-908C-0831-C85D-000F8F9AA8C7}"/>
                </a:ext>
              </a:extLst>
            </p:cNvPr>
            <p:cNvSpPr/>
            <p:nvPr/>
          </p:nvSpPr>
          <p:spPr>
            <a:xfrm>
              <a:off x="582930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5" name="Freeform 924">
              <a:extLst>
                <a:ext uri="{FF2B5EF4-FFF2-40B4-BE49-F238E27FC236}">
                  <a16:creationId xmlns:a16="http://schemas.microsoft.com/office/drawing/2014/main" id="{DF1C8176-4531-987B-9AFF-9CF4980BFE76}"/>
                </a:ext>
              </a:extLst>
            </p:cNvPr>
            <p:cNvSpPr/>
            <p:nvPr/>
          </p:nvSpPr>
          <p:spPr>
            <a:xfrm>
              <a:off x="58293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6" name="Freeform 925">
              <a:extLst>
                <a:ext uri="{FF2B5EF4-FFF2-40B4-BE49-F238E27FC236}">
                  <a16:creationId xmlns:a16="http://schemas.microsoft.com/office/drawing/2014/main" id="{6A0E7EF7-9B2F-9606-6C6A-D3A90DB76E84}"/>
                </a:ext>
              </a:extLst>
            </p:cNvPr>
            <p:cNvSpPr/>
            <p:nvPr/>
          </p:nvSpPr>
          <p:spPr>
            <a:xfrm>
              <a:off x="58293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7" name="Freeform 926">
              <a:extLst>
                <a:ext uri="{FF2B5EF4-FFF2-40B4-BE49-F238E27FC236}">
                  <a16:creationId xmlns:a16="http://schemas.microsoft.com/office/drawing/2014/main" id="{516F1C5E-FCDD-31B8-24DD-CF321F75E558}"/>
                </a:ext>
              </a:extLst>
            </p:cNvPr>
            <p:cNvSpPr/>
            <p:nvPr/>
          </p:nvSpPr>
          <p:spPr>
            <a:xfrm>
              <a:off x="58293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8" name="Freeform 927">
              <a:extLst>
                <a:ext uri="{FF2B5EF4-FFF2-40B4-BE49-F238E27FC236}">
                  <a16:creationId xmlns:a16="http://schemas.microsoft.com/office/drawing/2014/main" id="{BAE56831-FB94-6D8F-626D-6ABAAC3699A0}"/>
                </a:ext>
              </a:extLst>
            </p:cNvPr>
            <p:cNvSpPr/>
            <p:nvPr/>
          </p:nvSpPr>
          <p:spPr>
            <a:xfrm>
              <a:off x="59340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29" name="Freeform 928">
              <a:extLst>
                <a:ext uri="{FF2B5EF4-FFF2-40B4-BE49-F238E27FC236}">
                  <a16:creationId xmlns:a16="http://schemas.microsoft.com/office/drawing/2014/main" id="{C7A125AE-C425-7242-9A83-45A22EFBA783}"/>
                </a:ext>
              </a:extLst>
            </p:cNvPr>
            <p:cNvSpPr/>
            <p:nvPr/>
          </p:nvSpPr>
          <p:spPr>
            <a:xfrm>
              <a:off x="593407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0" name="Freeform 929">
              <a:extLst>
                <a:ext uri="{FF2B5EF4-FFF2-40B4-BE49-F238E27FC236}">
                  <a16:creationId xmlns:a16="http://schemas.microsoft.com/office/drawing/2014/main" id="{0CEAFE23-CA2A-EBC3-2395-BED7237F74FE}"/>
                </a:ext>
              </a:extLst>
            </p:cNvPr>
            <p:cNvSpPr/>
            <p:nvPr/>
          </p:nvSpPr>
          <p:spPr>
            <a:xfrm>
              <a:off x="59340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1" name="Freeform 930">
              <a:extLst>
                <a:ext uri="{FF2B5EF4-FFF2-40B4-BE49-F238E27FC236}">
                  <a16:creationId xmlns:a16="http://schemas.microsoft.com/office/drawing/2014/main" id="{3A50E48D-515A-1185-4E21-0DDB54F56D20}"/>
                </a:ext>
              </a:extLst>
            </p:cNvPr>
            <p:cNvSpPr/>
            <p:nvPr/>
          </p:nvSpPr>
          <p:spPr>
            <a:xfrm>
              <a:off x="59340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2" name="Freeform 931">
              <a:extLst>
                <a:ext uri="{FF2B5EF4-FFF2-40B4-BE49-F238E27FC236}">
                  <a16:creationId xmlns:a16="http://schemas.microsoft.com/office/drawing/2014/main" id="{8FA5333E-8AD4-0E75-52A8-2448B0641E24}"/>
                </a:ext>
              </a:extLst>
            </p:cNvPr>
            <p:cNvSpPr/>
            <p:nvPr/>
          </p:nvSpPr>
          <p:spPr>
            <a:xfrm>
              <a:off x="593407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3" name="Freeform 932">
              <a:extLst>
                <a:ext uri="{FF2B5EF4-FFF2-40B4-BE49-F238E27FC236}">
                  <a16:creationId xmlns:a16="http://schemas.microsoft.com/office/drawing/2014/main" id="{88FB2D5E-FF2B-D613-5EBD-4A8E6C2E1576}"/>
                </a:ext>
              </a:extLst>
            </p:cNvPr>
            <p:cNvSpPr/>
            <p:nvPr/>
          </p:nvSpPr>
          <p:spPr>
            <a:xfrm>
              <a:off x="59340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4" name="Freeform 933">
              <a:extLst>
                <a:ext uri="{FF2B5EF4-FFF2-40B4-BE49-F238E27FC236}">
                  <a16:creationId xmlns:a16="http://schemas.microsoft.com/office/drawing/2014/main" id="{987E7161-CDF2-3749-AA0D-BF1A954AD0F6}"/>
                </a:ext>
              </a:extLst>
            </p:cNvPr>
            <p:cNvSpPr/>
            <p:nvPr/>
          </p:nvSpPr>
          <p:spPr>
            <a:xfrm>
              <a:off x="59340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5" name="Freeform 934">
              <a:extLst>
                <a:ext uri="{FF2B5EF4-FFF2-40B4-BE49-F238E27FC236}">
                  <a16:creationId xmlns:a16="http://schemas.microsoft.com/office/drawing/2014/main" id="{4AE62DD4-589C-4E81-30DD-9D397AA26A7B}"/>
                </a:ext>
              </a:extLst>
            </p:cNvPr>
            <p:cNvSpPr/>
            <p:nvPr/>
          </p:nvSpPr>
          <p:spPr>
            <a:xfrm>
              <a:off x="59340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6" name="Freeform 935">
              <a:extLst>
                <a:ext uri="{FF2B5EF4-FFF2-40B4-BE49-F238E27FC236}">
                  <a16:creationId xmlns:a16="http://schemas.microsoft.com/office/drawing/2014/main" id="{63BCB899-7528-5CE6-F49F-B3C6EDDDE447}"/>
                </a:ext>
              </a:extLst>
            </p:cNvPr>
            <p:cNvSpPr/>
            <p:nvPr/>
          </p:nvSpPr>
          <p:spPr>
            <a:xfrm>
              <a:off x="59340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7" name="Freeform 936">
              <a:extLst>
                <a:ext uri="{FF2B5EF4-FFF2-40B4-BE49-F238E27FC236}">
                  <a16:creationId xmlns:a16="http://schemas.microsoft.com/office/drawing/2014/main" id="{6F02B149-598F-4F9D-BC8B-DD97BB2C66DE}"/>
                </a:ext>
              </a:extLst>
            </p:cNvPr>
            <p:cNvSpPr/>
            <p:nvPr/>
          </p:nvSpPr>
          <p:spPr>
            <a:xfrm>
              <a:off x="59340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8" name="Freeform 937">
              <a:extLst>
                <a:ext uri="{FF2B5EF4-FFF2-40B4-BE49-F238E27FC236}">
                  <a16:creationId xmlns:a16="http://schemas.microsoft.com/office/drawing/2014/main" id="{E406F487-354F-D05C-1FE1-ABCEC73EB6AF}"/>
                </a:ext>
              </a:extLst>
            </p:cNvPr>
            <p:cNvSpPr/>
            <p:nvPr/>
          </p:nvSpPr>
          <p:spPr>
            <a:xfrm>
              <a:off x="59340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39" name="Freeform 938">
              <a:extLst>
                <a:ext uri="{FF2B5EF4-FFF2-40B4-BE49-F238E27FC236}">
                  <a16:creationId xmlns:a16="http://schemas.microsoft.com/office/drawing/2014/main" id="{8D77C165-D4F6-ADD9-98C0-56E48C97EB0A}"/>
                </a:ext>
              </a:extLst>
            </p:cNvPr>
            <p:cNvSpPr/>
            <p:nvPr/>
          </p:nvSpPr>
          <p:spPr>
            <a:xfrm>
              <a:off x="59340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0" name="Freeform 939">
              <a:extLst>
                <a:ext uri="{FF2B5EF4-FFF2-40B4-BE49-F238E27FC236}">
                  <a16:creationId xmlns:a16="http://schemas.microsoft.com/office/drawing/2014/main" id="{561FA35B-CB4E-15BA-D500-87D2B158B6E8}"/>
                </a:ext>
              </a:extLst>
            </p:cNvPr>
            <p:cNvSpPr/>
            <p:nvPr/>
          </p:nvSpPr>
          <p:spPr>
            <a:xfrm>
              <a:off x="59340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1" name="Freeform 940">
              <a:extLst>
                <a:ext uri="{FF2B5EF4-FFF2-40B4-BE49-F238E27FC236}">
                  <a16:creationId xmlns:a16="http://schemas.microsoft.com/office/drawing/2014/main" id="{950157BD-051C-7660-E39B-0BACC14E767D}"/>
                </a:ext>
              </a:extLst>
            </p:cNvPr>
            <p:cNvSpPr/>
            <p:nvPr/>
          </p:nvSpPr>
          <p:spPr>
            <a:xfrm>
              <a:off x="59340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2" name="Freeform 941">
              <a:extLst>
                <a:ext uri="{FF2B5EF4-FFF2-40B4-BE49-F238E27FC236}">
                  <a16:creationId xmlns:a16="http://schemas.microsoft.com/office/drawing/2014/main" id="{8D9D3670-6EF6-BC5B-4B85-61D95B42C63E}"/>
                </a:ext>
              </a:extLst>
            </p:cNvPr>
            <p:cNvSpPr/>
            <p:nvPr/>
          </p:nvSpPr>
          <p:spPr>
            <a:xfrm>
              <a:off x="59340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3" name="Freeform 942">
              <a:extLst>
                <a:ext uri="{FF2B5EF4-FFF2-40B4-BE49-F238E27FC236}">
                  <a16:creationId xmlns:a16="http://schemas.microsoft.com/office/drawing/2014/main" id="{D2D049F7-8233-099E-FA95-24A0ECEFE1B1}"/>
                </a:ext>
              </a:extLst>
            </p:cNvPr>
            <p:cNvSpPr/>
            <p:nvPr/>
          </p:nvSpPr>
          <p:spPr>
            <a:xfrm>
              <a:off x="59340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4" name="Freeform 943">
              <a:extLst>
                <a:ext uri="{FF2B5EF4-FFF2-40B4-BE49-F238E27FC236}">
                  <a16:creationId xmlns:a16="http://schemas.microsoft.com/office/drawing/2014/main" id="{0395E307-B01F-9B90-2F47-11FB073D1678}"/>
                </a:ext>
              </a:extLst>
            </p:cNvPr>
            <p:cNvSpPr/>
            <p:nvPr/>
          </p:nvSpPr>
          <p:spPr>
            <a:xfrm>
              <a:off x="593407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5" name="Freeform 944">
              <a:extLst>
                <a:ext uri="{FF2B5EF4-FFF2-40B4-BE49-F238E27FC236}">
                  <a16:creationId xmlns:a16="http://schemas.microsoft.com/office/drawing/2014/main" id="{DA6E4C55-A245-EA22-8598-527C1C786D07}"/>
                </a:ext>
              </a:extLst>
            </p:cNvPr>
            <p:cNvSpPr/>
            <p:nvPr/>
          </p:nvSpPr>
          <p:spPr>
            <a:xfrm>
              <a:off x="60388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6" name="Freeform 945">
              <a:extLst>
                <a:ext uri="{FF2B5EF4-FFF2-40B4-BE49-F238E27FC236}">
                  <a16:creationId xmlns:a16="http://schemas.microsoft.com/office/drawing/2014/main" id="{044A6B7D-BB51-2465-9625-614675A6D914}"/>
                </a:ext>
              </a:extLst>
            </p:cNvPr>
            <p:cNvSpPr/>
            <p:nvPr/>
          </p:nvSpPr>
          <p:spPr>
            <a:xfrm>
              <a:off x="603885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7" name="Freeform 946">
              <a:extLst>
                <a:ext uri="{FF2B5EF4-FFF2-40B4-BE49-F238E27FC236}">
                  <a16:creationId xmlns:a16="http://schemas.microsoft.com/office/drawing/2014/main" id="{D7B13CD3-4EBD-99F8-2F75-3D4BA95EE948}"/>
                </a:ext>
              </a:extLst>
            </p:cNvPr>
            <p:cNvSpPr/>
            <p:nvPr/>
          </p:nvSpPr>
          <p:spPr>
            <a:xfrm>
              <a:off x="60388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8" name="Freeform 947">
              <a:extLst>
                <a:ext uri="{FF2B5EF4-FFF2-40B4-BE49-F238E27FC236}">
                  <a16:creationId xmlns:a16="http://schemas.microsoft.com/office/drawing/2014/main" id="{1CFE40EA-0EE5-3441-7646-04C832FBC644}"/>
                </a:ext>
              </a:extLst>
            </p:cNvPr>
            <p:cNvSpPr/>
            <p:nvPr/>
          </p:nvSpPr>
          <p:spPr>
            <a:xfrm>
              <a:off x="60388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49" name="Freeform 948">
              <a:extLst>
                <a:ext uri="{FF2B5EF4-FFF2-40B4-BE49-F238E27FC236}">
                  <a16:creationId xmlns:a16="http://schemas.microsoft.com/office/drawing/2014/main" id="{17870F45-C541-FB7C-E139-8E188F3188D5}"/>
                </a:ext>
              </a:extLst>
            </p:cNvPr>
            <p:cNvSpPr/>
            <p:nvPr/>
          </p:nvSpPr>
          <p:spPr>
            <a:xfrm>
              <a:off x="60388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0" name="Freeform 949">
              <a:extLst>
                <a:ext uri="{FF2B5EF4-FFF2-40B4-BE49-F238E27FC236}">
                  <a16:creationId xmlns:a16="http://schemas.microsoft.com/office/drawing/2014/main" id="{2BAEBCC9-541F-2F46-0E0B-03F31B46B094}"/>
                </a:ext>
              </a:extLst>
            </p:cNvPr>
            <p:cNvSpPr/>
            <p:nvPr/>
          </p:nvSpPr>
          <p:spPr>
            <a:xfrm>
              <a:off x="60388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1" name="Freeform 950">
              <a:extLst>
                <a:ext uri="{FF2B5EF4-FFF2-40B4-BE49-F238E27FC236}">
                  <a16:creationId xmlns:a16="http://schemas.microsoft.com/office/drawing/2014/main" id="{C9A82ADF-467C-3DCD-F4A5-F79391F5AB60}"/>
                </a:ext>
              </a:extLst>
            </p:cNvPr>
            <p:cNvSpPr/>
            <p:nvPr/>
          </p:nvSpPr>
          <p:spPr>
            <a:xfrm>
              <a:off x="60388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2" name="Freeform 951">
              <a:extLst>
                <a:ext uri="{FF2B5EF4-FFF2-40B4-BE49-F238E27FC236}">
                  <a16:creationId xmlns:a16="http://schemas.microsoft.com/office/drawing/2014/main" id="{3072EE11-6224-06AD-EC3D-B2BCF33B5D4D}"/>
                </a:ext>
              </a:extLst>
            </p:cNvPr>
            <p:cNvSpPr/>
            <p:nvPr/>
          </p:nvSpPr>
          <p:spPr>
            <a:xfrm>
              <a:off x="60388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3" name="Freeform 952">
              <a:extLst>
                <a:ext uri="{FF2B5EF4-FFF2-40B4-BE49-F238E27FC236}">
                  <a16:creationId xmlns:a16="http://schemas.microsoft.com/office/drawing/2014/main" id="{2696A7EC-9D5D-BF7E-DBAF-E847C175A477}"/>
                </a:ext>
              </a:extLst>
            </p:cNvPr>
            <p:cNvSpPr/>
            <p:nvPr/>
          </p:nvSpPr>
          <p:spPr>
            <a:xfrm>
              <a:off x="60388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4" name="Freeform 953">
              <a:extLst>
                <a:ext uri="{FF2B5EF4-FFF2-40B4-BE49-F238E27FC236}">
                  <a16:creationId xmlns:a16="http://schemas.microsoft.com/office/drawing/2014/main" id="{0FA39636-45EA-03C5-8629-EA89C621F11E}"/>
                </a:ext>
              </a:extLst>
            </p:cNvPr>
            <p:cNvSpPr/>
            <p:nvPr/>
          </p:nvSpPr>
          <p:spPr>
            <a:xfrm>
              <a:off x="60388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5" name="Freeform 954">
              <a:extLst>
                <a:ext uri="{FF2B5EF4-FFF2-40B4-BE49-F238E27FC236}">
                  <a16:creationId xmlns:a16="http://schemas.microsoft.com/office/drawing/2014/main" id="{4176C605-2F89-4027-26E9-F89BC891D590}"/>
                </a:ext>
              </a:extLst>
            </p:cNvPr>
            <p:cNvSpPr/>
            <p:nvPr/>
          </p:nvSpPr>
          <p:spPr>
            <a:xfrm>
              <a:off x="60388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6" name="Freeform 955">
              <a:extLst>
                <a:ext uri="{FF2B5EF4-FFF2-40B4-BE49-F238E27FC236}">
                  <a16:creationId xmlns:a16="http://schemas.microsoft.com/office/drawing/2014/main" id="{5D64EFFA-327C-7360-DFB2-AEC44730A422}"/>
                </a:ext>
              </a:extLst>
            </p:cNvPr>
            <p:cNvSpPr/>
            <p:nvPr/>
          </p:nvSpPr>
          <p:spPr>
            <a:xfrm>
              <a:off x="60388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7" name="Freeform 956">
              <a:extLst>
                <a:ext uri="{FF2B5EF4-FFF2-40B4-BE49-F238E27FC236}">
                  <a16:creationId xmlns:a16="http://schemas.microsoft.com/office/drawing/2014/main" id="{E13F021C-25F0-96D9-0C42-533852172B63}"/>
                </a:ext>
              </a:extLst>
            </p:cNvPr>
            <p:cNvSpPr/>
            <p:nvPr/>
          </p:nvSpPr>
          <p:spPr>
            <a:xfrm>
              <a:off x="60388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8" name="Freeform 957">
              <a:extLst>
                <a:ext uri="{FF2B5EF4-FFF2-40B4-BE49-F238E27FC236}">
                  <a16:creationId xmlns:a16="http://schemas.microsoft.com/office/drawing/2014/main" id="{71B541F6-83A0-6D23-716D-CBE667AE5D8B}"/>
                </a:ext>
              </a:extLst>
            </p:cNvPr>
            <p:cNvSpPr/>
            <p:nvPr/>
          </p:nvSpPr>
          <p:spPr>
            <a:xfrm>
              <a:off x="60388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59" name="Freeform 958">
              <a:extLst>
                <a:ext uri="{FF2B5EF4-FFF2-40B4-BE49-F238E27FC236}">
                  <a16:creationId xmlns:a16="http://schemas.microsoft.com/office/drawing/2014/main" id="{06742A6C-6000-5366-8B42-6B956BAAC7A4}"/>
                </a:ext>
              </a:extLst>
            </p:cNvPr>
            <p:cNvSpPr/>
            <p:nvPr/>
          </p:nvSpPr>
          <p:spPr>
            <a:xfrm>
              <a:off x="60388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0" name="Freeform 959">
              <a:extLst>
                <a:ext uri="{FF2B5EF4-FFF2-40B4-BE49-F238E27FC236}">
                  <a16:creationId xmlns:a16="http://schemas.microsoft.com/office/drawing/2014/main" id="{FDAAEF1D-8F57-7026-31CE-0BAAAA12DEF8}"/>
                </a:ext>
              </a:extLst>
            </p:cNvPr>
            <p:cNvSpPr/>
            <p:nvPr/>
          </p:nvSpPr>
          <p:spPr>
            <a:xfrm>
              <a:off x="61436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1" name="Freeform 960">
              <a:extLst>
                <a:ext uri="{FF2B5EF4-FFF2-40B4-BE49-F238E27FC236}">
                  <a16:creationId xmlns:a16="http://schemas.microsoft.com/office/drawing/2014/main" id="{FAFACFB4-ED02-5A20-5D3B-F81F701BC089}"/>
                </a:ext>
              </a:extLst>
            </p:cNvPr>
            <p:cNvSpPr/>
            <p:nvPr/>
          </p:nvSpPr>
          <p:spPr>
            <a:xfrm>
              <a:off x="61436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2" name="Freeform 961">
              <a:extLst>
                <a:ext uri="{FF2B5EF4-FFF2-40B4-BE49-F238E27FC236}">
                  <a16:creationId xmlns:a16="http://schemas.microsoft.com/office/drawing/2014/main" id="{1CCB432D-4302-5DF5-BF86-B486AB7EB10A}"/>
                </a:ext>
              </a:extLst>
            </p:cNvPr>
            <p:cNvSpPr/>
            <p:nvPr/>
          </p:nvSpPr>
          <p:spPr>
            <a:xfrm>
              <a:off x="614362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3" name="Freeform 962">
              <a:extLst>
                <a:ext uri="{FF2B5EF4-FFF2-40B4-BE49-F238E27FC236}">
                  <a16:creationId xmlns:a16="http://schemas.microsoft.com/office/drawing/2014/main" id="{ACFCD479-7C25-02EF-F1B2-B566714ABD70}"/>
                </a:ext>
              </a:extLst>
            </p:cNvPr>
            <p:cNvSpPr/>
            <p:nvPr/>
          </p:nvSpPr>
          <p:spPr>
            <a:xfrm>
              <a:off x="61436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4" name="Freeform 963">
              <a:extLst>
                <a:ext uri="{FF2B5EF4-FFF2-40B4-BE49-F238E27FC236}">
                  <a16:creationId xmlns:a16="http://schemas.microsoft.com/office/drawing/2014/main" id="{F930C788-BD15-C7A6-07D3-B029B6ED2096}"/>
                </a:ext>
              </a:extLst>
            </p:cNvPr>
            <p:cNvSpPr/>
            <p:nvPr/>
          </p:nvSpPr>
          <p:spPr>
            <a:xfrm>
              <a:off x="614362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5" name="Freeform 964">
              <a:extLst>
                <a:ext uri="{FF2B5EF4-FFF2-40B4-BE49-F238E27FC236}">
                  <a16:creationId xmlns:a16="http://schemas.microsoft.com/office/drawing/2014/main" id="{28F4194B-9FF2-73CB-EF9B-557405C4B161}"/>
                </a:ext>
              </a:extLst>
            </p:cNvPr>
            <p:cNvSpPr/>
            <p:nvPr/>
          </p:nvSpPr>
          <p:spPr>
            <a:xfrm>
              <a:off x="61436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6" name="Freeform 965">
              <a:extLst>
                <a:ext uri="{FF2B5EF4-FFF2-40B4-BE49-F238E27FC236}">
                  <a16:creationId xmlns:a16="http://schemas.microsoft.com/office/drawing/2014/main" id="{99D16DCA-F522-33FC-CEA9-D982C45F5498}"/>
                </a:ext>
              </a:extLst>
            </p:cNvPr>
            <p:cNvSpPr/>
            <p:nvPr/>
          </p:nvSpPr>
          <p:spPr>
            <a:xfrm>
              <a:off x="61436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7" name="Freeform 966">
              <a:extLst>
                <a:ext uri="{FF2B5EF4-FFF2-40B4-BE49-F238E27FC236}">
                  <a16:creationId xmlns:a16="http://schemas.microsoft.com/office/drawing/2014/main" id="{C43DDE2C-4BE6-5FEC-79C8-97D50D0BB661}"/>
                </a:ext>
              </a:extLst>
            </p:cNvPr>
            <p:cNvSpPr/>
            <p:nvPr/>
          </p:nvSpPr>
          <p:spPr>
            <a:xfrm>
              <a:off x="61436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8" name="Freeform 967">
              <a:extLst>
                <a:ext uri="{FF2B5EF4-FFF2-40B4-BE49-F238E27FC236}">
                  <a16:creationId xmlns:a16="http://schemas.microsoft.com/office/drawing/2014/main" id="{5A918F74-60B2-A349-3BD7-11425E1A79B5}"/>
                </a:ext>
              </a:extLst>
            </p:cNvPr>
            <p:cNvSpPr/>
            <p:nvPr/>
          </p:nvSpPr>
          <p:spPr>
            <a:xfrm>
              <a:off x="61436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69" name="Freeform 968">
              <a:extLst>
                <a:ext uri="{FF2B5EF4-FFF2-40B4-BE49-F238E27FC236}">
                  <a16:creationId xmlns:a16="http://schemas.microsoft.com/office/drawing/2014/main" id="{F2CCF8A0-BC91-281E-9FE4-9A24A5509559}"/>
                </a:ext>
              </a:extLst>
            </p:cNvPr>
            <p:cNvSpPr/>
            <p:nvPr/>
          </p:nvSpPr>
          <p:spPr>
            <a:xfrm>
              <a:off x="61436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0" name="Freeform 969">
              <a:extLst>
                <a:ext uri="{FF2B5EF4-FFF2-40B4-BE49-F238E27FC236}">
                  <a16:creationId xmlns:a16="http://schemas.microsoft.com/office/drawing/2014/main" id="{F6E3E137-E058-B87A-E712-71C5D44F4959}"/>
                </a:ext>
              </a:extLst>
            </p:cNvPr>
            <p:cNvSpPr/>
            <p:nvPr/>
          </p:nvSpPr>
          <p:spPr>
            <a:xfrm>
              <a:off x="61436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1" name="Freeform 970">
              <a:extLst>
                <a:ext uri="{FF2B5EF4-FFF2-40B4-BE49-F238E27FC236}">
                  <a16:creationId xmlns:a16="http://schemas.microsoft.com/office/drawing/2014/main" id="{06B854F0-20D3-B4DA-94ED-DDC0002E6C07}"/>
                </a:ext>
              </a:extLst>
            </p:cNvPr>
            <p:cNvSpPr/>
            <p:nvPr/>
          </p:nvSpPr>
          <p:spPr>
            <a:xfrm>
              <a:off x="61436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2" name="Freeform 971">
              <a:extLst>
                <a:ext uri="{FF2B5EF4-FFF2-40B4-BE49-F238E27FC236}">
                  <a16:creationId xmlns:a16="http://schemas.microsoft.com/office/drawing/2014/main" id="{4D14D12E-9322-A589-1C81-F4F289DE7594}"/>
                </a:ext>
              </a:extLst>
            </p:cNvPr>
            <p:cNvSpPr/>
            <p:nvPr/>
          </p:nvSpPr>
          <p:spPr>
            <a:xfrm>
              <a:off x="61436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3" name="Freeform 972">
              <a:extLst>
                <a:ext uri="{FF2B5EF4-FFF2-40B4-BE49-F238E27FC236}">
                  <a16:creationId xmlns:a16="http://schemas.microsoft.com/office/drawing/2014/main" id="{E4AD7064-5E05-2030-E7BC-6C53D2439E97}"/>
                </a:ext>
              </a:extLst>
            </p:cNvPr>
            <p:cNvSpPr/>
            <p:nvPr/>
          </p:nvSpPr>
          <p:spPr>
            <a:xfrm>
              <a:off x="61436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4" name="Freeform 973">
              <a:extLst>
                <a:ext uri="{FF2B5EF4-FFF2-40B4-BE49-F238E27FC236}">
                  <a16:creationId xmlns:a16="http://schemas.microsoft.com/office/drawing/2014/main" id="{39FE0E1E-4198-433C-92E0-BE733D4E484B}"/>
                </a:ext>
              </a:extLst>
            </p:cNvPr>
            <p:cNvSpPr/>
            <p:nvPr/>
          </p:nvSpPr>
          <p:spPr>
            <a:xfrm>
              <a:off x="61436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5" name="Freeform 974">
              <a:extLst>
                <a:ext uri="{FF2B5EF4-FFF2-40B4-BE49-F238E27FC236}">
                  <a16:creationId xmlns:a16="http://schemas.microsoft.com/office/drawing/2014/main" id="{DC12E8C6-9A57-4D4C-30A8-4F738BD336CA}"/>
                </a:ext>
              </a:extLst>
            </p:cNvPr>
            <p:cNvSpPr/>
            <p:nvPr/>
          </p:nvSpPr>
          <p:spPr>
            <a:xfrm>
              <a:off x="61436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6" name="Freeform 975">
              <a:extLst>
                <a:ext uri="{FF2B5EF4-FFF2-40B4-BE49-F238E27FC236}">
                  <a16:creationId xmlns:a16="http://schemas.microsoft.com/office/drawing/2014/main" id="{3EA3A4C9-303B-76C2-DE12-D75DBE106980}"/>
                </a:ext>
              </a:extLst>
            </p:cNvPr>
            <p:cNvSpPr/>
            <p:nvPr/>
          </p:nvSpPr>
          <p:spPr>
            <a:xfrm>
              <a:off x="61436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7" name="Freeform 976">
              <a:extLst>
                <a:ext uri="{FF2B5EF4-FFF2-40B4-BE49-F238E27FC236}">
                  <a16:creationId xmlns:a16="http://schemas.microsoft.com/office/drawing/2014/main" id="{9C3F1E90-4CA4-22F6-AC85-979B5CBCE1A4}"/>
                </a:ext>
              </a:extLst>
            </p:cNvPr>
            <p:cNvSpPr/>
            <p:nvPr/>
          </p:nvSpPr>
          <p:spPr>
            <a:xfrm>
              <a:off x="614362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8" name="Freeform 977">
              <a:extLst>
                <a:ext uri="{FF2B5EF4-FFF2-40B4-BE49-F238E27FC236}">
                  <a16:creationId xmlns:a16="http://schemas.microsoft.com/office/drawing/2014/main" id="{87D61EF9-F18B-4FCF-1C71-10235CC3736D}"/>
                </a:ext>
              </a:extLst>
            </p:cNvPr>
            <p:cNvSpPr/>
            <p:nvPr/>
          </p:nvSpPr>
          <p:spPr>
            <a:xfrm>
              <a:off x="61436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79" name="Freeform 978">
              <a:extLst>
                <a:ext uri="{FF2B5EF4-FFF2-40B4-BE49-F238E27FC236}">
                  <a16:creationId xmlns:a16="http://schemas.microsoft.com/office/drawing/2014/main" id="{132660BB-5FAC-7278-B301-823F8E0DFE5E}"/>
                </a:ext>
              </a:extLst>
            </p:cNvPr>
            <p:cNvSpPr/>
            <p:nvPr/>
          </p:nvSpPr>
          <p:spPr>
            <a:xfrm>
              <a:off x="61436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0" name="Freeform 979">
              <a:extLst>
                <a:ext uri="{FF2B5EF4-FFF2-40B4-BE49-F238E27FC236}">
                  <a16:creationId xmlns:a16="http://schemas.microsoft.com/office/drawing/2014/main" id="{4D64242E-087B-B962-A3D2-0FB8844230DA}"/>
                </a:ext>
              </a:extLst>
            </p:cNvPr>
            <p:cNvSpPr/>
            <p:nvPr/>
          </p:nvSpPr>
          <p:spPr>
            <a:xfrm>
              <a:off x="61436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1" name="Freeform 980">
              <a:extLst>
                <a:ext uri="{FF2B5EF4-FFF2-40B4-BE49-F238E27FC236}">
                  <a16:creationId xmlns:a16="http://schemas.microsoft.com/office/drawing/2014/main" id="{F497D59A-87F6-00D3-F256-EE9DDA609B32}"/>
                </a:ext>
              </a:extLst>
            </p:cNvPr>
            <p:cNvSpPr/>
            <p:nvPr/>
          </p:nvSpPr>
          <p:spPr>
            <a:xfrm>
              <a:off x="61436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2" name="Freeform 981">
              <a:extLst>
                <a:ext uri="{FF2B5EF4-FFF2-40B4-BE49-F238E27FC236}">
                  <a16:creationId xmlns:a16="http://schemas.microsoft.com/office/drawing/2014/main" id="{6C394ACA-D31E-80C6-15C8-022EEA147B9C}"/>
                </a:ext>
              </a:extLst>
            </p:cNvPr>
            <p:cNvSpPr/>
            <p:nvPr/>
          </p:nvSpPr>
          <p:spPr>
            <a:xfrm>
              <a:off x="61436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3" name="Freeform 982">
              <a:extLst>
                <a:ext uri="{FF2B5EF4-FFF2-40B4-BE49-F238E27FC236}">
                  <a16:creationId xmlns:a16="http://schemas.microsoft.com/office/drawing/2014/main" id="{F4453D38-6867-D5D5-9004-0E19B41EC105}"/>
                </a:ext>
              </a:extLst>
            </p:cNvPr>
            <p:cNvSpPr/>
            <p:nvPr/>
          </p:nvSpPr>
          <p:spPr>
            <a:xfrm>
              <a:off x="61436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4" name="Freeform 983">
              <a:extLst>
                <a:ext uri="{FF2B5EF4-FFF2-40B4-BE49-F238E27FC236}">
                  <a16:creationId xmlns:a16="http://schemas.microsoft.com/office/drawing/2014/main" id="{912034DE-127F-5F66-B368-9AB3075F45A4}"/>
                </a:ext>
              </a:extLst>
            </p:cNvPr>
            <p:cNvSpPr/>
            <p:nvPr/>
          </p:nvSpPr>
          <p:spPr>
            <a:xfrm>
              <a:off x="62484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5" name="Freeform 984">
              <a:extLst>
                <a:ext uri="{FF2B5EF4-FFF2-40B4-BE49-F238E27FC236}">
                  <a16:creationId xmlns:a16="http://schemas.microsoft.com/office/drawing/2014/main" id="{56E14938-E9AE-DD89-8E58-12374922D2E3}"/>
                </a:ext>
              </a:extLst>
            </p:cNvPr>
            <p:cNvSpPr/>
            <p:nvPr/>
          </p:nvSpPr>
          <p:spPr>
            <a:xfrm>
              <a:off x="62484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6" name="Freeform 985">
              <a:extLst>
                <a:ext uri="{FF2B5EF4-FFF2-40B4-BE49-F238E27FC236}">
                  <a16:creationId xmlns:a16="http://schemas.microsoft.com/office/drawing/2014/main" id="{98779C51-B5CB-A736-EFD1-5B0E47B914C6}"/>
                </a:ext>
              </a:extLst>
            </p:cNvPr>
            <p:cNvSpPr/>
            <p:nvPr/>
          </p:nvSpPr>
          <p:spPr>
            <a:xfrm>
              <a:off x="624840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7" name="Freeform 986">
              <a:extLst>
                <a:ext uri="{FF2B5EF4-FFF2-40B4-BE49-F238E27FC236}">
                  <a16:creationId xmlns:a16="http://schemas.microsoft.com/office/drawing/2014/main" id="{318C319E-CCF3-1A7C-12C2-DB7F05DEFA50}"/>
                </a:ext>
              </a:extLst>
            </p:cNvPr>
            <p:cNvSpPr/>
            <p:nvPr/>
          </p:nvSpPr>
          <p:spPr>
            <a:xfrm>
              <a:off x="62484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8" name="Freeform 987">
              <a:extLst>
                <a:ext uri="{FF2B5EF4-FFF2-40B4-BE49-F238E27FC236}">
                  <a16:creationId xmlns:a16="http://schemas.microsoft.com/office/drawing/2014/main" id="{0573C945-9171-3909-AFCB-CDBDAB790E80}"/>
                </a:ext>
              </a:extLst>
            </p:cNvPr>
            <p:cNvSpPr/>
            <p:nvPr/>
          </p:nvSpPr>
          <p:spPr>
            <a:xfrm>
              <a:off x="62484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89" name="Freeform 988">
              <a:extLst>
                <a:ext uri="{FF2B5EF4-FFF2-40B4-BE49-F238E27FC236}">
                  <a16:creationId xmlns:a16="http://schemas.microsoft.com/office/drawing/2014/main" id="{72FA9A2D-C462-8BCF-CB58-E89FEDF7D644}"/>
                </a:ext>
              </a:extLst>
            </p:cNvPr>
            <p:cNvSpPr/>
            <p:nvPr/>
          </p:nvSpPr>
          <p:spPr>
            <a:xfrm>
              <a:off x="62484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0" name="Freeform 989">
              <a:extLst>
                <a:ext uri="{FF2B5EF4-FFF2-40B4-BE49-F238E27FC236}">
                  <a16:creationId xmlns:a16="http://schemas.microsoft.com/office/drawing/2014/main" id="{950D8D0E-C159-E404-0850-76EDEF692B1D}"/>
                </a:ext>
              </a:extLst>
            </p:cNvPr>
            <p:cNvSpPr/>
            <p:nvPr/>
          </p:nvSpPr>
          <p:spPr>
            <a:xfrm>
              <a:off x="62484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1" name="Freeform 990">
              <a:extLst>
                <a:ext uri="{FF2B5EF4-FFF2-40B4-BE49-F238E27FC236}">
                  <a16:creationId xmlns:a16="http://schemas.microsoft.com/office/drawing/2014/main" id="{9757DE60-88DE-130E-FB01-11D13BB83458}"/>
                </a:ext>
              </a:extLst>
            </p:cNvPr>
            <p:cNvSpPr/>
            <p:nvPr/>
          </p:nvSpPr>
          <p:spPr>
            <a:xfrm>
              <a:off x="62484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2" name="Freeform 991">
              <a:extLst>
                <a:ext uri="{FF2B5EF4-FFF2-40B4-BE49-F238E27FC236}">
                  <a16:creationId xmlns:a16="http://schemas.microsoft.com/office/drawing/2014/main" id="{C194E360-BFC8-CC6E-1B0C-D5E5DCEC65B9}"/>
                </a:ext>
              </a:extLst>
            </p:cNvPr>
            <p:cNvSpPr/>
            <p:nvPr/>
          </p:nvSpPr>
          <p:spPr>
            <a:xfrm>
              <a:off x="62484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3" name="Freeform 992">
              <a:extLst>
                <a:ext uri="{FF2B5EF4-FFF2-40B4-BE49-F238E27FC236}">
                  <a16:creationId xmlns:a16="http://schemas.microsoft.com/office/drawing/2014/main" id="{8E1B6DC7-80DB-A436-8678-95F2F5F5BC75}"/>
                </a:ext>
              </a:extLst>
            </p:cNvPr>
            <p:cNvSpPr/>
            <p:nvPr/>
          </p:nvSpPr>
          <p:spPr>
            <a:xfrm>
              <a:off x="62484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4" name="Freeform 993">
              <a:extLst>
                <a:ext uri="{FF2B5EF4-FFF2-40B4-BE49-F238E27FC236}">
                  <a16:creationId xmlns:a16="http://schemas.microsoft.com/office/drawing/2014/main" id="{A9147B6D-C0C1-413C-F8A2-579FCF3F8DD1}"/>
                </a:ext>
              </a:extLst>
            </p:cNvPr>
            <p:cNvSpPr/>
            <p:nvPr/>
          </p:nvSpPr>
          <p:spPr>
            <a:xfrm>
              <a:off x="62484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5" name="Freeform 994">
              <a:extLst>
                <a:ext uri="{FF2B5EF4-FFF2-40B4-BE49-F238E27FC236}">
                  <a16:creationId xmlns:a16="http://schemas.microsoft.com/office/drawing/2014/main" id="{F3E15A4D-AE41-D6BA-7452-2B9617122E25}"/>
                </a:ext>
              </a:extLst>
            </p:cNvPr>
            <p:cNvSpPr/>
            <p:nvPr/>
          </p:nvSpPr>
          <p:spPr>
            <a:xfrm>
              <a:off x="62484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6" name="Freeform 995">
              <a:extLst>
                <a:ext uri="{FF2B5EF4-FFF2-40B4-BE49-F238E27FC236}">
                  <a16:creationId xmlns:a16="http://schemas.microsoft.com/office/drawing/2014/main" id="{3C68095C-FC3C-4D08-8FE0-F0584888F7A6}"/>
                </a:ext>
              </a:extLst>
            </p:cNvPr>
            <p:cNvSpPr/>
            <p:nvPr/>
          </p:nvSpPr>
          <p:spPr>
            <a:xfrm>
              <a:off x="62484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7" name="Freeform 996">
              <a:extLst>
                <a:ext uri="{FF2B5EF4-FFF2-40B4-BE49-F238E27FC236}">
                  <a16:creationId xmlns:a16="http://schemas.microsoft.com/office/drawing/2014/main" id="{AC54CB01-FECA-D281-8762-DE39BCADC3A7}"/>
                </a:ext>
              </a:extLst>
            </p:cNvPr>
            <p:cNvSpPr/>
            <p:nvPr/>
          </p:nvSpPr>
          <p:spPr>
            <a:xfrm>
              <a:off x="62484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8" name="Freeform 997">
              <a:extLst>
                <a:ext uri="{FF2B5EF4-FFF2-40B4-BE49-F238E27FC236}">
                  <a16:creationId xmlns:a16="http://schemas.microsoft.com/office/drawing/2014/main" id="{18FA9BC1-FD36-4164-483B-EF58D669F4E4}"/>
                </a:ext>
              </a:extLst>
            </p:cNvPr>
            <p:cNvSpPr/>
            <p:nvPr/>
          </p:nvSpPr>
          <p:spPr>
            <a:xfrm>
              <a:off x="62484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999" name="Freeform 998">
              <a:extLst>
                <a:ext uri="{FF2B5EF4-FFF2-40B4-BE49-F238E27FC236}">
                  <a16:creationId xmlns:a16="http://schemas.microsoft.com/office/drawing/2014/main" id="{58B84D8D-F7E9-6F8A-2BA4-BE7FDBC955D0}"/>
                </a:ext>
              </a:extLst>
            </p:cNvPr>
            <p:cNvSpPr/>
            <p:nvPr/>
          </p:nvSpPr>
          <p:spPr>
            <a:xfrm>
              <a:off x="62484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0" name="Freeform 999">
              <a:extLst>
                <a:ext uri="{FF2B5EF4-FFF2-40B4-BE49-F238E27FC236}">
                  <a16:creationId xmlns:a16="http://schemas.microsoft.com/office/drawing/2014/main" id="{1657F619-FC2E-38A2-B6F0-E2B8FD8D2C45}"/>
                </a:ext>
              </a:extLst>
            </p:cNvPr>
            <p:cNvSpPr/>
            <p:nvPr/>
          </p:nvSpPr>
          <p:spPr>
            <a:xfrm>
              <a:off x="62484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1" name="Freeform 1000">
              <a:extLst>
                <a:ext uri="{FF2B5EF4-FFF2-40B4-BE49-F238E27FC236}">
                  <a16:creationId xmlns:a16="http://schemas.microsoft.com/office/drawing/2014/main" id="{943E8284-E84A-CAC2-B1FA-DB292D4145BF}"/>
                </a:ext>
              </a:extLst>
            </p:cNvPr>
            <p:cNvSpPr/>
            <p:nvPr/>
          </p:nvSpPr>
          <p:spPr>
            <a:xfrm>
              <a:off x="62484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2" name="Freeform 1001">
              <a:extLst>
                <a:ext uri="{FF2B5EF4-FFF2-40B4-BE49-F238E27FC236}">
                  <a16:creationId xmlns:a16="http://schemas.microsoft.com/office/drawing/2014/main" id="{C929176E-6E93-FB13-424D-C5EAFFBA9041}"/>
                </a:ext>
              </a:extLst>
            </p:cNvPr>
            <p:cNvSpPr/>
            <p:nvPr/>
          </p:nvSpPr>
          <p:spPr>
            <a:xfrm>
              <a:off x="63531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3" name="Freeform 1002">
              <a:extLst>
                <a:ext uri="{FF2B5EF4-FFF2-40B4-BE49-F238E27FC236}">
                  <a16:creationId xmlns:a16="http://schemas.microsoft.com/office/drawing/2014/main" id="{4D5C6554-69A0-2603-5298-9D1CCE1C41CA}"/>
                </a:ext>
              </a:extLst>
            </p:cNvPr>
            <p:cNvSpPr/>
            <p:nvPr/>
          </p:nvSpPr>
          <p:spPr>
            <a:xfrm>
              <a:off x="63531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4" name="Freeform 1003">
              <a:extLst>
                <a:ext uri="{FF2B5EF4-FFF2-40B4-BE49-F238E27FC236}">
                  <a16:creationId xmlns:a16="http://schemas.microsoft.com/office/drawing/2014/main" id="{60AF92A2-A2C1-541E-D3FB-69A1384BB9C4}"/>
                </a:ext>
              </a:extLst>
            </p:cNvPr>
            <p:cNvSpPr/>
            <p:nvPr/>
          </p:nvSpPr>
          <p:spPr>
            <a:xfrm>
              <a:off x="6353175"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5" name="Freeform 1004">
              <a:extLst>
                <a:ext uri="{FF2B5EF4-FFF2-40B4-BE49-F238E27FC236}">
                  <a16:creationId xmlns:a16="http://schemas.microsoft.com/office/drawing/2014/main" id="{3FDB4322-B28A-CF69-950E-829FBBFD4CB1}"/>
                </a:ext>
              </a:extLst>
            </p:cNvPr>
            <p:cNvSpPr/>
            <p:nvPr/>
          </p:nvSpPr>
          <p:spPr>
            <a:xfrm>
              <a:off x="63531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6" name="Freeform 1005">
              <a:extLst>
                <a:ext uri="{FF2B5EF4-FFF2-40B4-BE49-F238E27FC236}">
                  <a16:creationId xmlns:a16="http://schemas.microsoft.com/office/drawing/2014/main" id="{32BDB78B-59C8-9A4B-5017-4935E0F27C24}"/>
                </a:ext>
              </a:extLst>
            </p:cNvPr>
            <p:cNvSpPr/>
            <p:nvPr/>
          </p:nvSpPr>
          <p:spPr>
            <a:xfrm>
              <a:off x="63531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7" name="Freeform 1006">
              <a:extLst>
                <a:ext uri="{FF2B5EF4-FFF2-40B4-BE49-F238E27FC236}">
                  <a16:creationId xmlns:a16="http://schemas.microsoft.com/office/drawing/2014/main" id="{31BD7144-380A-CCB6-4D73-8A8ED4ACBDBA}"/>
                </a:ext>
              </a:extLst>
            </p:cNvPr>
            <p:cNvSpPr/>
            <p:nvPr/>
          </p:nvSpPr>
          <p:spPr>
            <a:xfrm>
              <a:off x="63531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8" name="Freeform 1007">
              <a:extLst>
                <a:ext uri="{FF2B5EF4-FFF2-40B4-BE49-F238E27FC236}">
                  <a16:creationId xmlns:a16="http://schemas.microsoft.com/office/drawing/2014/main" id="{A6471D3A-F617-DDEE-65F3-F577AA7C10F5}"/>
                </a:ext>
              </a:extLst>
            </p:cNvPr>
            <p:cNvSpPr/>
            <p:nvPr/>
          </p:nvSpPr>
          <p:spPr>
            <a:xfrm>
              <a:off x="63531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09" name="Freeform 1008">
              <a:extLst>
                <a:ext uri="{FF2B5EF4-FFF2-40B4-BE49-F238E27FC236}">
                  <a16:creationId xmlns:a16="http://schemas.microsoft.com/office/drawing/2014/main" id="{A8A4FF0E-2958-E208-B09B-4DD2B36DEDB0}"/>
                </a:ext>
              </a:extLst>
            </p:cNvPr>
            <p:cNvSpPr/>
            <p:nvPr/>
          </p:nvSpPr>
          <p:spPr>
            <a:xfrm>
              <a:off x="63531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0" name="Freeform 1009">
              <a:extLst>
                <a:ext uri="{FF2B5EF4-FFF2-40B4-BE49-F238E27FC236}">
                  <a16:creationId xmlns:a16="http://schemas.microsoft.com/office/drawing/2014/main" id="{E21AC311-088E-39C2-CEE3-DC8DAB0C8BDC}"/>
                </a:ext>
              </a:extLst>
            </p:cNvPr>
            <p:cNvSpPr/>
            <p:nvPr/>
          </p:nvSpPr>
          <p:spPr>
            <a:xfrm>
              <a:off x="63531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1" name="Freeform 1010">
              <a:extLst>
                <a:ext uri="{FF2B5EF4-FFF2-40B4-BE49-F238E27FC236}">
                  <a16:creationId xmlns:a16="http://schemas.microsoft.com/office/drawing/2014/main" id="{3B74BFC6-E143-CDFA-F55E-09F1CC38354F}"/>
                </a:ext>
              </a:extLst>
            </p:cNvPr>
            <p:cNvSpPr/>
            <p:nvPr/>
          </p:nvSpPr>
          <p:spPr>
            <a:xfrm>
              <a:off x="63531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2" name="Freeform 1011">
              <a:extLst>
                <a:ext uri="{FF2B5EF4-FFF2-40B4-BE49-F238E27FC236}">
                  <a16:creationId xmlns:a16="http://schemas.microsoft.com/office/drawing/2014/main" id="{0A004CDD-F574-BE31-2545-315342902C36}"/>
                </a:ext>
              </a:extLst>
            </p:cNvPr>
            <p:cNvSpPr/>
            <p:nvPr/>
          </p:nvSpPr>
          <p:spPr>
            <a:xfrm>
              <a:off x="63531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3" name="Freeform 1012">
              <a:extLst>
                <a:ext uri="{FF2B5EF4-FFF2-40B4-BE49-F238E27FC236}">
                  <a16:creationId xmlns:a16="http://schemas.microsoft.com/office/drawing/2014/main" id="{C0477436-55DA-C523-A4E4-CEC8972F67C7}"/>
                </a:ext>
              </a:extLst>
            </p:cNvPr>
            <p:cNvSpPr/>
            <p:nvPr/>
          </p:nvSpPr>
          <p:spPr>
            <a:xfrm>
              <a:off x="635317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4" name="Freeform 1013">
              <a:extLst>
                <a:ext uri="{FF2B5EF4-FFF2-40B4-BE49-F238E27FC236}">
                  <a16:creationId xmlns:a16="http://schemas.microsoft.com/office/drawing/2014/main" id="{5A51FC6D-BDE7-D4C4-EC78-1297BFC4A420}"/>
                </a:ext>
              </a:extLst>
            </p:cNvPr>
            <p:cNvSpPr/>
            <p:nvPr/>
          </p:nvSpPr>
          <p:spPr>
            <a:xfrm>
              <a:off x="63531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5" name="Freeform 1014">
              <a:extLst>
                <a:ext uri="{FF2B5EF4-FFF2-40B4-BE49-F238E27FC236}">
                  <a16:creationId xmlns:a16="http://schemas.microsoft.com/office/drawing/2014/main" id="{A3E559E3-3AC6-60F2-3047-F99C7B278AC8}"/>
                </a:ext>
              </a:extLst>
            </p:cNvPr>
            <p:cNvSpPr/>
            <p:nvPr/>
          </p:nvSpPr>
          <p:spPr>
            <a:xfrm>
              <a:off x="63531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6" name="Freeform 1015">
              <a:extLst>
                <a:ext uri="{FF2B5EF4-FFF2-40B4-BE49-F238E27FC236}">
                  <a16:creationId xmlns:a16="http://schemas.microsoft.com/office/drawing/2014/main" id="{89A2DAEF-041E-9731-5D59-1880D3D0930A}"/>
                </a:ext>
              </a:extLst>
            </p:cNvPr>
            <p:cNvSpPr/>
            <p:nvPr/>
          </p:nvSpPr>
          <p:spPr>
            <a:xfrm>
              <a:off x="64579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7" name="Freeform 1016">
              <a:extLst>
                <a:ext uri="{FF2B5EF4-FFF2-40B4-BE49-F238E27FC236}">
                  <a16:creationId xmlns:a16="http://schemas.microsoft.com/office/drawing/2014/main" id="{36F578EC-DFAF-905A-73B0-1C2A17A6175C}"/>
                </a:ext>
              </a:extLst>
            </p:cNvPr>
            <p:cNvSpPr/>
            <p:nvPr/>
          </p:nvSpPr>
          <p:spPr>
            <a:xfrm>
              <a:off x="64579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8" name="Freeform 1017">
              <a:extLst>
                <a:ext uri="{FF2B5EF4-FFF2-40B4-BE49-F238E27FC236}">
                  <a16:creationId xmlns:a16="http://schemas.microsoft.com/office/drawing/2014/main" id="{E4780375-9D38-33DD-5EF6-E05A839805B5}"/>
                </a:ext>
              </a:extLst>
            </p:cNvPr>
            <p:cNvSpPr/>
            <p:nvPr/>
          </p:nvSpPr>
          <p:spPr>
            <a:xfrm>
              <a:off x="64579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19" name="Freeform 1018">
              <a:extLst>
                <a:ext uri="{FF2B5EF4-FFF2-40B4-BE49-F238E27FC236}">
                  <a16:creationId xmlns:a16="http://schemas.microsoft.com/office/drawing/2014/main" id="{DF164FD8-43AE-9D00-9967-5EC9B8BF5B04}"/>
                </a:ext>
              </a:extLst>
            </p:cNvPr>
            <p:cNvSpPr/>
            <p:nvPr/>
          </p:nvSpPr>
          <p:spPr>
            <a:xfrm>
              <a:off x="64579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0" name="Freeform 1019">
              <a:extLst>
                <a:ext uri="{FF2B5EF4-FFF2-40B4-BE49-F238E27FC236}">
                  <a16:creationId xmlns:a16="http://schemas.microsoft.com/office/drawing/2014/main" id="{CD09E3DF-39BC-CA14-573F-17E1ECDF22FB}"/>
                </a:ext>
              </a:extLst>
            </p:cNvPr>
            <p:cNvSpPr/>
            <p:nvPr/>
          </p:nvSpPr>
          <p:spPr>
            <a:xfrm>
              <a:off x="64579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1" name="Freeform 1020">
              <a:extLst>
                <a:ext uri="{FF2B5EF4-FFF2-40B4-BE49-F238E27FC236}">
                  <a16:creationId xmlns:a16="http://schemas.microsoft.com/office/drawing/2014/main" id="{9E4DC628-0773-D5AC-4D5C-4251BBFA0EB6}"/>
                </a:ext>
              </a:extLst>
            </p:cNvPr>
            <p:cNvSpPr/>
            <p:nvPr/>
          </p:nvSpPr>
          <p:spPr>
            <a:xfrm>
              <a:off x="645795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2" name="Freeform 1021">
              <a:extLst>
                <a:ext uri="{FF2B5EF4-FFF2-40B4-BE49-F238E27FC236}">
                  <a16:creationId xmlns:a16="http://schemas.microsoft.com/office/drawing/2014/main" id="{75296AB3-DC22-9633-99B4-7BA05F257043}"/>
                </a:ext>
              </a:extLst>
            </p:cNvPr>
            <p:cNvSpPr/>
            <p:nvPr/>
          </p:nvSpPr>
          <p:spPr>
            <a:xfrm>
              <a:off x="64579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3" name="Freeform 1022">
              <a:extLst>
                <a:ext uri="{FF2B5EF4-FFF2-40B4-BE49-F238E27FC236}">
                  <a16:creationId xmlns:a16="http://schemas.microsoft.com/office/drawing/2014/main" id="{6984EAA0-2F7E-386F-A56D-F1F0347D1558}"/>
                </a:ext>
              </a:extLst>
            </p:cNvPr>
            <p:cNvSpPr/>
            <p:nvPr/>
          </p:nvSpPr>
          <p:spPr>
            <a:xfrm>
              <a:off x="64579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4" name="Freeform 1023">
              <a:extLst>
                <a:ext uri="{FF2B5EF4-FFF2-40B4-BE49-F238E27FC236}">
                  <a16:creationId xmlns:a16="http://schemas.microsoft.com/office/drawing/2014/main" id="{473FE728-A65A-1691-E420-93D27C7294E1}"/>
                </a:ext>
              </a:extLst>
            </p:cNvPr>
            <p:cNvSpPr/>
            <p:nvPr/>
          </p:nvSpPr>
          <p:spPr>
            <a:xfrm>
              <a:off x="64579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5" name="Freeform 1024">
              <a:extLst>
                <a:ext uri="{FF2B5EF4-FFF2-40B4-BE49-F238E27FC236}">
                  <a16:creationId xmlns:a16="http://schemas.microsoft.com/office/drawing/2014/main" id="{1482FC48-98B3-3E45-DFB9-66B7E41EED4F}"/>
                </a:ext>
              </a:extLst>
            </p:cNvPr>
            <p:cNvSpPr/>
            <p:nvPr/>
          </p:nvSpPr>
          <p:spPr>
            <a:xfrm>
              <a:off x="64579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6" name="Freeform 1025">
              <a:extLst>
                <a:ext uri="{FF2B5EF4-FFF2-40B4-BE49-F238E27FC236}">
                  <a16:creationId xmlns:a16="http://schemas.microsoft.com/office/drawing/2014/main" id="{5748B350-E51F-DF24-D6FA-FF834D70E0F6}"/>
                </a:ext>
              </a:extLst>
            </p:cNvPr>
            <p:cNvSpPr/>
            <p:nvPr/>
          </p:nvSpPr>
          <p:spPr>
            <a:xfrm>
              <a:off x="64579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7" name="Freeform 1026">
              <a:extLst>
                <a:ext uri="{FF2B5EF4-FFF2-40B4-BE49-F238E27FC236}">
                  <a16:creationId xmlns:a16="http://schemas.microsoft.com/office/drawing/2014/main" id="{4D2E6174-F80A-29AE-30F7-744960901615}"/>
                </a:ext>
              </a:extLst>
            </p:cNvPr>
            <p:cNvSpPr/>
            <p:nvPr/>
          </p:nvSpPr>
          <p:spPr>
            <a:xfrm>
              <a:off x="64579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8" name="Freeform 1027">
              <a:extLst>
                <a:ext uri="{FF2B5EF4-FFF2-40B4-BE49-F238E27FC236}">
                  <a16:creationId xmlns:a16="http://schemas.microsoft.com/office/drawing/2014/main" id="{8DEA3857-CC14-CD8D-F019-D053693DFF22}"/>
                </a:ext>
              </a:extLst>
            </p:cNvPr>
            <p:cNvSpPr/>
            <p:nvPr/>
          </p:nvSpPr>
          <p:spPr>
            <a:xfrm>
              <a:off x="64579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29" name="Freeform 1028">
              <a:extLst>
                <a:ext uri="{FF2B5EF4-FFF2-40B4-BE49-F238E27FC236}">
                  <a16:creationId xmlns:a16="http://schemas.microsoft.com/office/drawing/2014/main" id="{F4E5681E-1F06-4CED-7B92-096D199E082E}"/>
                </a:ext>
              </a:extLst>
            </p:cNvPr>
            <p:cNvSpPr/>
            <p:nvPr/>
          </p:nvSpPr>
          <p:spPr>
            <a:xfrm>
              <a:off x="64579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0" name="Freeform 1029">
              <a:extLst>
                <a:ext uri="{FF2B5EF4-FFF2-40B4-BE49-F238E27FC236}">
                  <a16:creationId xmlns:a16="http://schemas.microsoft.com/office/drawing/2014/main" id="{A84206FA-287E-B3FE-394C-05F8E740FAF0}"/>
                </a:ext>
              </a:extLst>
            </p:cNvPr>
            <p:cNvSpPr/>
            <p:nvPr/>
          </p:nvSpPr>
          <p:spPr>
            <a:xfrm>
              <a:off x="64579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1" name="Freeform 1030">
              <a:extLst>
                <a:ext uri="{FF2B5EF4-FFF2-40B4-BE49-F238E27FC236}">
                  <a16:creationId xmlns:a16="http://schemas.microsoft.com/office/drawing/2014/main" id="{B1817DBE-5411-0ECC-7351-C1FABF1B0043}"/>
                </a:ext>
              </a:extLst>
            </p:cNvPr>
            <p:cNvSpPr/>
            <p:nvPr/>
          </p:nvSpPr>
          <p:spPr>
            <a:xfrm>
              <a:off x="64579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2" name="Freeform 1031">
              <a:extLst>
                <a:ext uri="{FF2B5EF4-FFF2-40B4-BE49-F238E27FC236}">
                  <a16:creationId xmlns:a16="http://schemas.microsoft.com/office/drawing/2014/main" id="{D249A277-1F84-DC3C-791D-F01A6D877655}"/>
                </a:ext>
              </a:extLst>
            </p:cNvPr>
            <p:cNvSpPr/>
            <p:nvPr/>
          </p:nvSpPr>
          <p:spPr>
            <a:xfrm>
              <a:off x="64579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3" name="Freeform 1032">
              <a:extLst>
                <a:ext uri="{FF2B5EF4-FFF2-40B4-BE49-F238E27FC236}">
                  <a16:creationId xmlns:a16="http://schemas.microsoft.com/office/drawing/2014/main" id="{7A49ABAD-887E-5B5A-88E6-A3388B6D120B}"/>
                </a:ext>
              </a:extLst>
            </p:cNvPr>
            <p:cNvSpPr/>
            <p:nvPr/>
          </p:nvSpPr>
          <p:spPr>
            <a:xfrm>
              <a:off x="656272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4" name="Freeform 1033">
              <a:extLst>
                <a:ext uri="{FF2B5EF4-FFF2-40B4-BE49-F238E27FC236}">
                  <a16:creationId xmlns:a16="http://schemas.microsoft.com/office/drawing/2014/main" id="{A992AADF-7034-1B98-50C2-66F34D49C0A7}"/>
                </a:ext>
              </a:extLst>
            </p:cNvPr>
            <p:cNvSpPr/>
            <p:nvPr/>
          </p:nvSpPr>
          <p:spPr>
            <a:xfrm>
              <a:off x="656272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5" name="Freeform 1034">
              <a:extLst>
                <a:ext uri="{FF2B5EF4-FFF2-40B4-BE49-F238E27FC236}">
                  <a16:creationId xmlns:a16="http://schemas.microsoft.com/office/drawing/2014/main" id="{D09482EA-BEE1-8910-DBE2-74DE1A54452A}"/>
                </a:ext>
              </a:extLst>
            </p:cNvPr>
            <p:cNvSpPr/>
            <p:nvPr/>
          </p:nvSpPr>
          <p:spPr>
            <a:xfrm>
              <a:off x="65627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6" name="Freeform 1035">
              <a:extLst>
                <a:ext uri="{FF2B5EF4-FFF2-40B4-BE49-F238E27FC236}">
                  <a16:creationId xmlns:a16="http://schemas.microsoft.com/office/drawing/2014/main" id="{7399423B-1917-6722-2BF5-8015774CA237}"/>
                </a:ext>
              </a:extLst>
            </p:cNvPr>
            <p:cNvSpPr/>
            <p:nvPr/>
          </p:nvSpPr>
          <p:spPr>
            <a:xfrm>
              <a:off x="65627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7" name="Freeform 1036">
              <a:extLst>
                <a:ext uri="{FF2B5EF4-FFF2-40B4-BE49-F238E27FC236}">
                  <a16:creationId xmlns:a16="http://schemas.microsoft.com/office/drawing/2014/main" id="{F881AB6C-2B8F-E686-C609-B97D6F80E897}"/>
                </a:ext>
              </a:extLst>
            </p:cNvPr>
            <p:cNvSpPr/>
            <p:nvPr/>
          </p:nvSpPr>
          <p:spPr>
            <a:xfrm>
              <a:off x="65627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8" name="Freeform 1037">
              <a:extLst>
                <a:ext uri="{FF2B5EF4-FFF2-40B4-BE49-F238E27FC236}">
                  <a16:creationId xmlns:a16="http://schemas.microsoft.com/office/drawing/2014/main" id="{1D042540-A7F6-4072-828C-3FC1178CF127}"/>
                </a:ext>
              </a:extLst>
            </p:cNvPr>
            <p:cNvSpPr/>
            <p:nvPr/>
          </p:nvSpPr>
          <p:spPr>
            <a:xfrm>
              <a:off x="65627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39" name="Freeform 1038">
              <a:extLst>
                <a:ext uri="{FF2B5EF4-FFF2-40B4-BE49-F238E27FC236}">
                  <a16:creationId xmlns:a16="http://schemas.microsoft.com/office/drawing/2014/main" id="{6CA8EF88-9C52-C626-92CA-D82CFD441E86}"/>
                </a:ext>
              </a:extLst>
            </p:cNvPr>
            <p:cNvSpPr/>
            <p:nvPr/>
          </p:nvSpPr>
          <p:spPr>
            <a:xfrm>
              <a:off x="65627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0" name="Freeform 1039">
              <a:extLst>
                <a:ext uri="{FF2B5EF4-FFF2-40B4-BE49-F238E27FC236}">
                  <a16:creationId xmlns:a16="http://schemas.microsoft.com/office/drawing/2014/main" id="{FCBD8CD1-1BD2-46ED-0504-0D1A597E6DEE}"/>
                </a:ext>
              </a:extLst>
            </p:cNvPr>
            <p:cNvSpPr/>
            <p:nvPr/>
          </p:nvSpPr>
          <p:spPr>
            <a:xfrm>
              <a:off x="65627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1" name="Freeform 1040">
              <a:extLst>
                <a:ext uri="{FF2B5EF4-FFF2-40B4-BE49-F238E27FC236}">
                  <a16:creationId xmlns:a16="http://schemas.microsoft.com/office/drawing/2014/main" id="{BC8B14F6-EFF4-0BFE-A1C6-EBF2A5A78B9C}"/>
                </a:ext>
              </a:extLst>
            </p:cNvPr>
            <p:cNvSpPr/>
            <p:nvPr/>
          </p:nvSpPr>
          <p:spPr>
            <a:xfrm>
              <a:off x="65627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2" name="Freeform 1041">
              <a:extLst>
                <a:ext uri="{FF2B5EF4-FFF2-40B4-BE49-F238E27FC236}">
                  <a16:creationId xmlns:a16="http://schemas.microsoft.com/office/drawing/2014/main" id="{8BB2DA16-B82E-D3DA-7525-31A68D367956}"/>
                </a:ext>
              </a:extLst>
            </p:cNvPr>
            <p:cNvSpPr/>
            <p:nvPr/>
          </p:nvSpPr>
          <p:spPr>
            <a:xfrm>
              <a:off x="65627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3" name="Freeform 1042">
              <a:extLst>
                <a:ext uri="{FF2B5EF4-FFF2-40B4-BE49-F238E27FC236}">
                  <a16:creationId xmlns:a16="http://schemas.microsoft.com/office/drawing/2014/main" id="{09B93266-EB58-C615-6C47-A5EE80C9DE3D}"/>
                </a:ext>
              </a:extLst>
            </p:cNvPr>
            <p:cNvSpPr/>
            <p:nvPr/>
          </p:nvSpPr>
          <p:spPr>
            <a:xfrm>
              <a:off x="65627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4" name="Freeform 1043">
              <a:extLst>
                <a:ext uri="{FF2B5EF4-FFF2-40B4-BE49-F238E27FC236}">
                  <a16:creationId xmlns:a16="http://schemas.microsoft.com/office/drawing/2014/main" id="{BA8D7DC1-74AB-D51E-7585-D7D3170A7F53}"/>
                </a:ext>
              </a:extLst>
            </p:cNvPr>
            <p:cNvSpPr/>
            <p:nvPr/>
          </p:nvSpPr>
          <p:spPr>
            <a:xfrm>
              <a:off x="65627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5" name="Freeform 1044">
              <a:extLst>
                <a:ext uri="{FF2B5EF4-FFF2-40B4-BE49-F238E27FC236}">
                  <a16:creationId xmlns:a16="http://schemas.microsoft.com/office/drawing/2014/main" id="{ABAE72B6-2031-9F8B-4AC1-4BB3E795A1D4}"/>
                </a:ext>
              </a:extLst>
            </p:cNvPr>
            <p:cNvSpPr/>
            <p:nvPr/>
          </p:nvSpPr>
          <p:spPr>
            <a:xfrm>
              <a:off x="65627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6" name="Freeform 1045">
              <a:extLst>
                <a:ext uri="{FF2B5EF4-FFF2-40B4-BE49-F238E27FC236}">
                  <a16:creationId xmlns:a16="http://schemas.microsoft.com/office/drawing/2014/main" id="{73B098AE-8C28-AC51-759D-634F1A43FF09}"/>
                </a:ext>
              </a:extLst>
            </p:cNvPr>
            <p:cNvSpPr/>
            <p:nvPr/>
          </p:nvSpPr>
          <p:spPr>
            <a:xfrm>
              <a:off x="666750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7" name="Freeform 1046">
              <a:extLst>
                <a:ext uri="{FF2B5EF4-FFF2-40B4-BE49-F238E27FC236}">
                  <a16:creationId xmlns:a16="http://schemas.microsoft.com/office/drawing/2014/main" id="{68D5FAE9-8886-D045-6401-25A72FFAF093}"/>
                </a:ext>
              </a:extLst>
            </p:cNvPr>
            <p:cNvSpPr/>
            <p:nvPr/>
          </p:nvSpPr>
          <p:spPr>
            <a:xfrm>
              <a:off x="66675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8" name="Freeform 1047">
              <a:extLst>
                <a:ext uri="{FF2B5EF4-FFF2-40B4-BE49-F238E27FC236}">
                  <a16:creationId xmlns:a16="http://schemas.microsoft.com/office/drawing/2014/main" id="{3034E8C2-A2B9-7998-4A6B-02CB8EAD73E4}"/>
                </a:ext>
              </a:extLst>
            </p:cNvPr>
            <p:cNvSpPr/>
            <p:nvPr/>
          </p:nvSpPr>
          <p:spPr>
            <a:xfrm>
              <a:off x="66675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49" name="Freeform 1048">
              <a:extLst>
                <a:ext uri="{FF2B5EF4-FFF2-40B4-BE49-F238E27FC236}">
                  <a16:creationId xmlns:a16="http://schemas.microsoft.com/office/drawing/2014/main" id="{8F402862-686F-581A-F501-073F5EF35653}"/>
                </a:ext>
              </a:extLst>
            </p:cNvPr>
            <p:cNvSpPr/>
            <p:nvPr/>
          </p:nvSpPr>
          <p:spPr>
            <a:xfrm>
              <a:off x="66675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0" name="Freeform 1049">
              <a:extLst>
                <a:ext uri="{FF2B5EF4-FFF2-40B4-BE49-F238E27FC236}">
                  <a16:creationId xmlns:a16="http://schemas.microsoft.com/office/drawing/2014/main" id="{0FF18FB8-68DB-9C28-1042-2A48622A2DE4}"/>
                </a:ext>
              </a:extLst>
            </p:cNvPr>
            <p:cNvSpPr/>
            <p:nvPr/>
          </p:nvSpPr>
          <p:spPr>
            <a:xfrm>
              <a:off x="66675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1" name="Freeform 1050">
              <a:extLst>
                <a:ext uri="{FF2B5EF4-FFF2-40B4-BE49-F238E27FC236}">
                  <a16:creationId xmlns:a16="http://schemas.microsoft.com/office/drawing/2014/main" id="{FA8C6846-55BE-2B38-6ED8-B5252084D58C}"/>
                </a:ext>
              </a:extLst>
            </p:cNvPr>
            <p:cNvSpPr/>
            <p:nvPr/>
          </p:nvSpPr>
          <p:spPr>
            <a:xfrm>
              <a:off x="666750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2" name="Freeform 1051">
              <a:extLst>
                <a:ext uri="{FF2B5EF4-FFF2-40B4-BE49-F238E27FC236}">
                  <a16:creationId xmlns:a16="http://schemas.microsoft.com/office/drawing/2014/main" id="{AAA914BC-96F5-9DEE-A3E6-F97BC6D3E44B}"/>
                </a:ext>
              </a:extLst>
            </p:cNvPr>
            <p:cNvSpPr/>
            <p:nvPr/>
          </p:nvSpPr>
          <p:spPr>
            <a:xfrm>
              <a:off x="66675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3" name="Freeform 1052">
              <a:extLst>
                <a:ext uri="{FF2B5EF4-FFF2-40B4-BE49-F238E27FC236}">
                  <a16:creationId xmlns:a16="http://schemas.microsoft.com/office/drawing/2014/main" id="{4B6CD53A-038A-97FD-75AA-852B9340D184}"/>
                </a:ext>
              </a:extLst>
            </p:cNvPr>
            <p:cNvSpPr/>
            <p:nvPr/>
          </p:nvSpPr>
          <p:spPr>
            <a:xfrm>
              <a:off x="66675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4" name="Freeform 1053">
              <a:extLst>
                <a:ext uri="{FF2B5EF4-FFF2-40B4-BE49-F238E27FC236}">
                  <a16:creationId xmlns:a16="http://schemas.microsoft.com/office/drawing/2014/main" id="{5800AEE8-C8A3-3A64-1915-EEF152050627}"/>
                </a:ext>
              </a:extLst>
            </p:cNvPr>
            <p:cNvSpPr/>
            <p:nvPr/>
          </p:nvSpPr>
          <p:spPr>
            <a:xfrm>
              <a:off x="66675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5" name="Freeform 1054">
              <a:extLst>
                <a:ext uri="{FF2B5EF4-FFF2-40B4-BE49-F238E27FC236}">
                  <a16:creationId xmlns:a16="http://schemas.microsoft.com/office/drawing/2014/main" id="{57B5F741-5F73-8E2D-A1B8-2E383D1D33DD}"/>
                </a:ext>
              </a:extLst>
            </p:cNvPr>
            <p:cNvSpPr/>
            <p:nvPr/>
          </p:nvSpPr>
          <p:spPr>
            <a:xfrm>
              <a:off x="66675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6" name="Freeform 1055">
              <a:extLst>
                <a:ext uri="{FF2B5EF4-FFF2-40B4-BE49-F238E27FC236}">
                  <a16:creationId xmlns:a16="http://schemas.microsoft.com/office/drawing/2014/main" id="{2ECE3AB1-EFFB-E904-50EC-C88BC3ED149E}"/>
                </a:ext>
              </a:extLst>
            </p:cNvPr>
            <p:cNvSpPr/>
            <p:nvPr/>
          </p:nvSpPr>
          <p:spPr>
            <a:xfrm>
              <a:off x="66675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7" name="Freeform 1056">
              <a:extLst>
                <a:ext uri="{FF2B5EF4-FFF2-40B4-BE49-F238E27FC236}">
                  <a16:creationId xmlns:a16="http://schemas.microsoft.com/office/drawing/2014/main" id="{B1D6FC69-497A-AA43-341C-6FB458F7580F}"/>
                </a:ext>
              </a:extLst>
            </p:cNvPr>
            <p:cNvSpPr/>
            <p:nvPr/>
          </p:nvSpPr>
          <p:spPr>
            <a:xfrm>
              <a:off x="66675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8" name="Freeform 1057">
              <a:extLst>
                <a:ext uri="{FF2B5EF4-FFF2-40B4-BE49-F238E27FC236}">
                  <a16:creationId xmlns:a16="http://schemas.microsoft.com/office/drawing/2014/main" id="{C65D8DD2-797D-1F9B-5FDD-0C3431BDE738}"/>
                </a:ext>
              </a:extLst>
            </p:cNvPr>
            <p:cNvSpPr/>
            <p:nvPr/>
          </p:nvSpPr>
          <p:spPr>
            <a:xfrm>
              <a:off x="66675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59" name="Freeform 1058">
              <a:extLst>
                <a:ext uri="{FF2B5EF4-FFF2-40B4-BE49-F238E27FC236}">
                  <a16:creationId xmlns:a16="http://schemas.microsoft.com/office/drawing/2014/main" id="{DBEEA8BD-AAC9-038B-E422-C288CC70FB47}"/>
                </a:ext>
              </a:extLst>
            </p:cNvPr>
            <p:cNvSpPr/>
            <p:nvPr/>
          </p:nvSpPr>
          <p:spPr>
            <a:xfrm>
              <a:off x="66675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0" name="Freeform 1059">
              <a:extLst>
                <a:ext uri="{FF2B5EF4-FFF2-40B4-BE49-F238E27FC236}">
                  <a16:creationId xmlns:a16="http://schemas.microsoft.com/office/drawing/2014/main" id="{9C0845B0-8838-1808-76D8-1C9972F91362}"/>
                </a:ext>
              </a:extLst>
            </p:cNvPr>
            <p:cNvSpPr/>
            <p:nvPr/>
          </p:nvSpPr>
          <p:spPr>
            <a:xfrm>
              <a:off x="66675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1" name="Freeform 1060">
              <a:extLst>
                <a:ext uri="{FF2B5EF4-FFF2-40B4-BE49-F238E27FC236}">
                  <a16:creationId xmlns:a16="http://schemas.microsoft.com/office/drawing/2014/main" id="{D75893E2-BBB2-16B5-F724-F7F8907C42EC}"/>
                </a:ext>
              </a:extLst>
            </p:cNvPr>
            <p:cNvSpPr/>
            <p:nvPr/>
          </p:nvSpPr>
          <p:spPr>
            <a:xfrm>
              <a:off x="66675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2" name="Freeform 1061">
              <a:extLst>
                <a:ext uri="{FF2B5EF4-FFF2-40B4-BE49-F238E27FC236}">
                  <a16:creationId xmlns:a16="http://schemas.microsoft.com/office/drawing/2014/main" id="{DE0D2E4B-5785-7F5E-7038-5E8498022979}"/>
                </a:ext>
              </a:extLst>
            </p:cNvPr>
            <p:cNvSpPr/>
            <p:nvPr/>
          </p:nvSpPr>
          <p:spPr>
            <a:xfrm>
              <a:off x="67722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3" name="Freeform 1062">
              <a:extLst>
                <a:ext uri="{FF2B5EF4-FFF2-40B4-BE49-F238E27FC236}">
                  <a16:creationId xmlns:a16="http://schemas.microsoft.com/office/drawing/2014/main" id="{4C4E45DD-FFB0-6D11-B57E-C13F128CA39F}"/>
                </a:ext>
              </a:extLst>
            </p:cNvPr>
            <p:cNvSpPr/>
            <p:nvPr/>
          </p:nvSpPr>
          <p:spPr>
            <a:xfrm>
              <a:off x="6772275"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4" name="Freeform 1063">
              <a:extLst>
                <a:ext uri="{FF2B5EF4-FFF2-40B4-BE49-F238E27FC236}">
                  <a16:creationId xmlns:a16="http://schemas.microsoft.com/office/drawing/2014/main" id="{093C84F7-4608-DB5B-0D55-3E373ACB0581}"/>
                </a:ext>
              </a:extLst>
            </p:cNvPr>
            <p:cNvSpPr/>
            <p:nvPr/>
          </p:nvSpPr>
          <p:spPr>
            <a:xfrm>
              <a:off x="67722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5" name="Freeform 1064">
              <a:extLst>
                <a:ext uri="{FF2B5EF4-FFF2-40B4-BE49-F238E27FC236}">
                  <a16:creationId xmlns:a16="http://schemas.microsoft.com/office/drawing/2014/main" id="{5B5C727E-F90A-A2D2-A32A-BD98EFBCBD57}"/>
                </a:ext>
              </a:extLst>
            </p:cNvPr>
            <p:cNvSpPr/>
            <p:nvPr/>
          </p:nvSpPr>
          <p:spPr>
            <a:xfrm>
              <a:off x="677227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6" name="Freeform 1065">
              <a:extLst>
                <a:ext uri="{FF2B5EF4-FFF2-40B4-BE49-F238E27FC236}">
                  <a16:creationId xmlns:a16="http://schemas.microsoft.com/office/drawing/2014/main" id="{4FD1AD9B-2D82-DB10-E05A-0678F41B37B5}"/>
                </a:ext>
              </a:extLst>
            </p:cNvPr>
            <p:cNvSpPr/>
            <p:nvPr/>
          </p:nvSpPr>
          <p:spPr>
            <a:xfrm>
              <a:off x="67722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7" name="Freeform 1066">
              <a:extLst>
                <a:ext uri="{FF2B5EF4-FFF2-40B4-BE49-F238E27FC236}">
                  <a16:creationId xmlns:a16="http://schemas.microsoft.com/office/drawing/2014/main" id="{1C8EBCAC-9511-40B3-AF78-6EF5B6D785C8}"/>
                </a:ext>
              </a:extLst>
            </p:cNvPr>
            <p:cNvSpPr/>
            <p:nvPr/>
          </p:nvSpPr>
          <p:spPr>
            <a:xfrm>
              <a:off x="67722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8" name="Freeform 1067">
              <a:extLst>
                <a:ext uri="{FF2B5EF4-FFF2-40B4-BE49-F238E27FC236}">
                  <a16:creationId xmlns:a16="http://schemas.microsoft.com/office/drawing/2014/main" id="{781A0F8A-D6B9-DA7D-A981-BDD249A01D29}"/>
                </a:ext>
              </a:extLst>
            </p:cNvPr>
            <p:cNvSpPr/>
            <p:nvPr/>
          </p:nvSpPr>
          <p:spPr>
            <a:xfrm>
              <a:off x="67722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69" name="Freeform 1068">
              <a:extLst>
                <a:ext uri="{FF2B5EF4-FFF2-40B4-BE49-F238E27FC236}">
                  <a16:creationId xmlns:a16="http://schemas.microsoft.com/office/drawing/2014/main" id="{BCE6397F-B20F-D5EA-6D8E-4D75939CF5EB}"/>
                </a:ext>
              </a:extLst>
            </p:cNvPr>
            <p:cNvSpPr/>
            <p:nvPr/>
          </p:nvSpPr>
          <p:spPr>
            <a:xfrm>
              <a:off x="67722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0" name="Freeform 1069">
              <a:extLst>
                <a:ext uri="{FF2B5EF4-FFF2-40B4-BE49-F238E27FC236}">
                  <a16:creationId xmlns:a16="http://schemas.microsoft.com/office/drawing/2014/main" id="{7762875D-1736-D641-6D9D-A607422045CC}"/>
                </a:ext>
              </a:extLst>
            </p:cNvPr>
            <p:cNvSpPr/>
            <p:nvPr/>
          </p:nvSpPr>
          <p:spPr>
            <a:xfrm>
              <a:off x="67722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1" name="Freeform 1070">
              <a:extLst>
                <a:ext uri="{FF2B5EF4-FFF2-40B4-BE49-F238E27FC236}">
                  <a16:creationId xmlns:a16="http://schemas.microsoft.com/office/drawing/2014/main" id="{95842B03-2B57-70F0-7432-E93620D16785}"/>
                </a:ext>
              </a:extLst>
            </p:cNvPr>
            <p:cNvSpPr/>
            <p:nvPr/>
          </p:nvSpPr>
          <p:spPr>
            <a:xfrm>
              <a:off x="67722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2" name="Freeform 1071">
              <a:extLst>
                <a:ext uri="{FF2B5EF4-FFF2-40B4-BE49-F238E27FC236}">
                  <a16:creationId xmlns:a16="http://schemas.microsoft.com/office/drawing/2014/main" id="{98A838DF-1DE5-BFF8-C5B1-7013DA9CEDCC}"/>
                </a:ext>
              </a:extLst>
            </p:cNvPr>
            <p:cNvSpPr/>
            <p:nvPr/>
          </p:nvSpPr>
          <p:spPr>
            <a:xfrm>
              <a:off x="67722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3" name="Freeform 1072">
              <a:extLst>
                <a:ext uri="{FF2B5EF4-FFF2-40B4-BE49-F238E27FC236}">
                  <a16:creationId xmlns:a16="http://schemas.microsoft.com/office/drawing/2014/main" id="{F5B2E783-D159-78E4-40EF-8D7F543A044C}"/>
                </a:ext>
              </a:extLst>
            </p:cNvPr>
            <p:cNvSpPr/>
            <p:nvPr/>
          </p:nvSpPr>
          <p:spPr>
            <a:xfrm>
              <a:off x="67722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4" name="Freeform 1073">
              <a:extLst>
                <a:ext uri="{FF2B5EF4-FFF2-40B4-BE49-F238E27FC236}">
                  <a16:creationId xmlns:a16="http://schemas.microsoft.com/office/drawing/2014/main" id="{3EBF7AB4-86BE-34FD-D3D6-372E51A59A60}"/>
                </a:ext>
              </a:extLst>
            </p:cNvPr>
            <p:cNvSpPr/>
            <p:nvPr/>
          </p:nvSpPr>
          <p:spPr>
            <a:xfrm>
              <a:off x="67722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5" name="Freeform 1074">
              <a:extLst>
                <a:ext uri="{FF2B5EF4-FFF2-40B4-BE49-F238E27FC236}">
                  <a16:creationId xmlns:a16="http://schemas.microsoft.com/office/drawing/2014/main" id="{015551E2-7C72-4382-3B91-11C8C3EDF43A}"/>
                </a:ext>
              </a:extLst>
            </p:cNvPr>
            <p:cNvSpPr/>
            <p:nvPr/>
          </p:nvSpPr>
          <p:spPr>
            <a:xfrm>
              <a:off x="6877050"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6" name="Freeform 1075">
              <a:extLst>
                <a:ext uri="{FF2B5EF4-FFF2-40B4-BE49-F238E27FC236}">
                  <a16:creationId xmlns:a16="http://schemas.microsoft.com/office/drawing/2014/main" id="{C27B3ED4-8E5D-0A62-69CD-24E76AE0F848}"/>
                </a:ext>
              </a:extLst>
            </p:cNvPr>
            <p:cNvSpPr/>
            <p:nvPr/>
          </p:nvSpPr>
          <p:spPr>
            <a:xfrm>
              <a:off x="68770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7" name="Freeform 1076">
              <a:extLst>
                <a:ext uri="{FF2B5EF4-FFF2-40B4-BE49-F238E27FC236}">
                  <a16:creationId xmlns:a16="http://schemas.microsoft.com/office/drawing/2014/main" id="{6FD0A9FC-05E4-582E-D091-7F7474D4B944}"/>
                </a:ext>
              </a:extLst>
            </p:cNvPr>
            <p:cNvSpPr/>
            <p:nvPr/>
          </p:nvSpPr>
          <p:spPr>
            <a:xfrm>
              <a:off x="687705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8" name="Freeform 1077">
              <a:extLst>
                <a:ext uri="{FF2B5EF4-FFF2-40B4-BE49-F238E27FC236}">
                  <a16:creationId xmlns:a16="http://schemas.microsoft.com/office/drawing/2014/main" id="{E34A14B6-4270-FF6D-1601-4E26A79713CB}"/>
                </a:ext>
              </a:extLst>
            </p:cNvPr>
            <p:cNvSpPr/>
            <p:nvPr/>
          </p:nvSpPr>
          <p:spPr>
            <a:xfrm>
              <a:off x="68770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79" name="Freeform 1078">
              <a:extLst>
                <a:ext uri="{FF2B5EF4-FFF2-40B4-BE49-F238E27FC236}">
                  <a16:creationId xmlns:a16="http://schemas.microsoft.com/office/drawing/2014/main" id="{2FF517AC-E0E2-C9EA-7C1E-EB4C5AEFE2C9}"/>
                </a:ext>
              </a:extLst>
            </p:cNvPr>
            <p:cNvSpPr/>
            <p:nvPr/>
          </p:nvSpPr>
          <p:spPr>
            <a:xfrm>
              <a:off x="68770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0" name="Freeform 1079">
              <a:extLst>
                <a:ext uri="{FF2B5EF4-FFF2-40B4-BE49-F238E27FC236}">
                  <a16:creationId xmlns:a16="http://schemas.microsoft.com/office/drawing/2014/main" id="{0E013C12-9F68-967F-F238-2CC70F7B2D90}"/>
                </a:ext>
              </a:extLst>
            </p:cNvPr>
            <p:cNvSpPr/>
            <p:nvPr/>
          </p:nvSpPr>
          <p:spPr>
            <a:xfrm>
              <a:off x="68770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1" name="Freeform 1080">
              <a:extLst>
                <a:ext uri="{FF2B5EF4-FFF2-40B4-BE49-F238E27FC236}">
                  <a16:creationId xmlns:a16="http://schemas.microsoft.com/office/drawing/2014/main" id="{EDEAB8AB-2BDB-618A-AA69-D77BE203F893}"/>
                </a:ext>
              </a:extLst>
            </p:cNvPr>
            <p:cNvSpPr/>
            <p:nvPr/>
          </p:nvSpPr>
          <p:spPr>
            <a:xfrm>
              <a:off x="68770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2" name="Freeform 1081">
              <a:extLst>
                <a:ext uri="{FF2B5EF4-FFF2-40B4-BE49-F238E27FC236}">
                  <a16:creationId xmlns:a16="http://schemas.microsoft.com/office/drawing/2014/main" id="{E9DE6489-0879-F33F-283E-F4A612DF93A0}"/>
                </a:ext>
              </a:extLst>
            </p:cNvPr>
            <p:cNvSpPr/>
            <p:nvPr/>
          </p:nvSpPr>
          <p:spPr>
            <a:xfrm>
              <a:off x="687705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3" name="Freeform 1082">
              <a:extLst>
                <a:ext uri="{FF2B5EF4-FFF2-40B4-BE49-F238E27FC236}">
                  <a16:creationId xmlns:a16="http://schemas.microsoft.com/office/drawing/2014/main" id="{452373F6-7225-63D9-C591-C990C244EF98}"/>
                </a:ext>
              </a:extLst>
            </p:cNvPr>
            <p:cNvSpPr/>
            <p:nvPr/>
          </p:nvSpPr>
          <p:spPr>
            <a:xfrm>
              <a:off x="68770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4" name="Freeform 1083">
              <a:extLst>
                <a:ext uri="{FF2B5EF4-FFF2-40B4-BE49-F238E27FC236}">
                  <a16:creationId xmlns:a16="http://schemas.microsoft.com/office/drawing/2014/main" id="{4A53B9F5-3037-5750-1BFD-2E0C2EAFD4BD}"/>
                </a:ext>
              </a:extLst>
            </p:cNvPr>
            <p:cNvSpPr/>
            <p:nvPr/>
          </p:nvSpPr>
          <p:spPr>
            <a:xfrm>
              <a:off x="68770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5" name="Freeform 1084">
              <a:extLst>
                <a:ext uri="{FF2B5EF4-FFF2-40B4-BE49-F238E27FC236}">
                  <a16:creationId xmlns:a16="http://schemas.microsoft.com/office/drawing/2014/main" id="{615B20B4-576F-52BD-1DA6-A1B803A957AB}"/>
                </a:ext>
              </a:extLst>
            </p:cNvPr>
            <p:cNvSpPr/>
            <p:nvPr/>
          </p:nvSpPr>
          <p:spPr>
            <a:xfrm>
              <a:off x="68770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6" name="Freeform 1085">
              <a:extLst>
                <a:ext uri="{FF2B5EF4-FFF2-40B4-BE49-F238E27FC236}">
                  <a16:creationId xmlns:a16="http://schemas.microsoft.com/office/drawing/2014/main" id="{E1AA752E-411B-CA06-EFA3-810DA82A2422}"/>
                </a:ext>
              </a:extLst>
            </p:cNvPr>
            <p:cNvSpPr/>
            <p:nvPr/>
          </p:nvSpPr>
          <p:spPr>
            <a:xfrm>
              <a:off x="68770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7" name="Freeform 1086">
              <a:extLst>
                <a:ext uri="{FF2B5EF4-FFF2-40B4-BE49-F238E27FC236}">
                  <a16:creationId xmlns:a16="http://schemas.microsoft.com/office/drawing/2014/main" id="{B84EFBEE-F656-2D47-62CB-BE2C40AA1A9C}"/>
                </a:ext>
              </a:extLst>
            </p:cNvPr>
            <p:cNvSpPr/>
            <p:nvPr/>
          </p:nvSpPr>
          <p:spPr>
            <a:xfrm>
              <a:off x="68770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8" name="Freeform 1087">
              <a:extLst>
                <a:ext uri="{FF2B5EF4-FFF2-40B4-BE49-F238E27FC236}">
                  <a16:creationId xmlns:a16="http://schemas.microsoft.com/office/drawing/2014/main" id="{E77B5AB6-2A1D-BFD9-82E1-C54EDCB6BEEC}"/>
                </a:ext>
              </a:extLst>
            </p:cNvPr>
            <p:cNvSpPr/>
            <p:nvPr/>
          </p:nvSpPr>
          <p:spPr>
            <a:xfrm>
              <a:off x="68770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89" name="Freeform 1088">
              <a:extLst>
                <a:ext uri="{FF2B5EF4-FFF2-40B4-BE49-F238E27FC236}">
                  <a16:creationId xmlns:a16="http://schemas.microsoft.com/office/drawing/2014/main" id="{E3907ED6-C006-4294-E3D3-467C69F22BD8}"/>
                </a:ext>
              </a:extLst>
            </p:cNvPr>
            <p:cNvSpPr/>
            <p:nvPr/>
          </p:nvSpPr>
          <p:spPr>
            <a:xfrm>
              <a:off x="68770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0" name="Freeform 1089">
              <a:extLst>
                <a:ext uri="{FF2B5EF4-FFF2-40B4-BE49-F238E27FC236}">
                  <a16:creationId xmlns:a16="http://schemas.microsoft.com/office/drawing/2014/main" id="{F3A97590-911C-3F91-0968-81D18C25E1EA}"/>
                </a:ext>
              </a:extLst>
            </p:cNvPr>
            <p:cNvSpPr/>
            <p:nvPr/>
          </p:nvSpPr>
          <p:spPr>
            <a:xfrm>
              <a:off x="68770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1" name="Freeform 1090">
              <a:extLst>
                <a:ext uri="{FF2B5EF4-FFF2-40B4-BE49-F238E27FC236}">
                  <a16:creationId xmlns:a16="http://schemas.microsoft.com/office/drawing/2014/main" id="{A24D5A5C-20CF-9EC2-C015-0A7A51B7AD3B}"/>
                </a:ext>
              </a:extLst>
            </p:cNvPr>
            <p:cNvSpPr/>
            <p:nvPr/>
          </p:nvSpPr>
          <p:spPr>
            <a:xfrm>
              <a:off x="698182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2" name="Freeform 1091">
              <a:extLst>
                <a:ext uri="{FF2B5EF4-FFF2-40B4-BE49-F238E27FC236}">
                  <a16:creationId xmlns:a16="http://schemas.microsoft.com/office/drawing/2014/main" id="{C47EC82C-4403-0591-AFED-4D161D4A180D}"/>
                </a:ext>
              </a:extLst>
            </p:cNvPr>
            <p:cNvSpPr/>
            <p:nvPr/>
          </p:nvSpPr>
          <p:spPr>
            <a:xfrm>
              <a:off x="6981825" y="13811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3" name="Freeform 1092">
              <a:extLst>
                <a:ext uri="{FF2B5EF4-FFF2-40B4-BE49-F238E27FC236}">
                  <a16:creationId xmlns:a16="http://schemas.microsoft.com/office/drawing/2014/main" id="{126FF0C7-9934-DDC1-DEB2-E572FC49FC23}"/>
                </a:ext>
              </a:extLst>
            </p:cNvPr>
            <p:cNvSpPr/>
            <p:nvPr/>
          </p:nvSpPr>
          <p:spPr>
            <a:xfrm>
              <a:off x="698182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4" name="Freeform 1093">
              <a:extLst>
                <a:ext uri="{FF2B5EF4-FFF2-40B4-BE49-F238E27FC236}">
                  <a16:creationId xmlns:a16="http://schemas.microsoft.com/office/drawing/2014/main" id="{8840550A-DDEC-3A78-7967-FB479033C49F}"/>
                </a:ext>
              </a:extLst>
            </p:cNvPr>
            <p:cNvSpPr/>
            <p:nvPr/>
          </p:nvSpPr>
          <p:spPr>
            <a:xfrm>
              <a:off x="6981825"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5" name="Freeform 1094">
              <a:extLst>
                <a:ext uri="{FF2B5EF4-FFF2-40B4-BE49-F238E27FC236}">
                  <a16:creationId xmlns:a16="http://schemas.microsoft.com/office/drawing/2014/main" id="{8434CBF8-1454-9738-D342-E2573A9799CE}"/>
                </a:ext>
              </a:extLst>
            </p:cNvPr>
            <p:cNvSpPr/>
            <p:nvPr/>
          </p:nvSpPr>
          <p:spPr>
            <a:xfrm>
              <a:off x="69818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6" name="Freeform 1095">
              <a:extLst>
                <a:ext uri="{FF2B5EF4-FFF2-40B4-BE49-F238E27FC236}">
                  <a16:creationId xmlns:a16="http://schemas.microsoft.com/office/drawing/2014/main" id="{6DC6B514-D6CA-A351-A814-4FDD207EE369}"/>
                </a:ext>
              </a:extLst>
            </p:cNvPr>
            <p:cNvSpPr/>
            <p:nvPr/>
          </p:nvSpPr>
          <p:spPr>
            <a:xfrm>
              <a:off x="69818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7" name="Freeform 1096">
              <a:extLst>
                <a:ext uri="{FF2B5EF4-FFF2-40B4-BE49-F238E27FC236}">
                  <a16:creationId xmlns:a16="http://schemas.microsoft.com/office/drawing/2014/main" id="{4C3B13E3-F870-B6B0-0FBC-D6A32E5B5EBB}"/>
                </a:ext>
              </a:extLst>
            </p:cNvPr>
            <p:cNvSpPr/>
            <p:nvPr/>
          </p:nvSpPr>
          <p:spPr>
            <a:xfrm>
              <a:off x="69818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8" name="Freeform 1097">
              <a:extLst>
                <a:ext uri="{FF2B5EF4-FFF2-40B4-BE49-F238E27FC236}">
                  <a16:creationId xmlns:a16="http://schemas.microsoft.com/office/drawing/2014/main" id="{932B0D9A-519C-C2BC-EF27-6213F37991A7}"/>
                </a:ext>
              </a:extLst>
            </p:cNvPr>
            <p:cNvSpPr/>
            <p:nvPr/>
          </p:nvSpPr>
          <p:spPr>
            <a:xfrm>
              <a:off x="69818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099" name="Freeform 1098">
              <a:extLst>
                <a:ext uri="{FF2B5EF4-FFF2-40B4-BE49-F238E27FC236}">
                  <a16:creationId xmlns:a16="http://schemas.microsoft.com/office/drawing/2014/main" id="{DEAAFBC6-EA67-5A84-824B-4E928676B526}"/>
                </a:ext>
              </a:extLst>
            </p:cNvPr>
            <p:cNvSpPr/>
            <p:nvPr/>
          </p:nvSpPr>
          <p:spPr>
            <a:xfrm>
              <a:off x="69818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0" name="Freeform 1099">
              <a:extLst>
                <a:ext uri="{FF2B5EF4-FFF2-40B4-BE49-F238E27FC236}">
                  <a16:creationId xmlns:a16="http://schemas.microsoft.com/office/drawing/2014/main" id="{D3E0127C-4001-D12E-18D6-79425B3BBBFC}"/>
                </a:ext>
              </a:extLst>
            </p:cNvPr>
            <p:cNvSpPr/>
            <p:nvPr/>
          </p:nvSpPr>
          <p:spPr>
            <a:xfrm>
              <a:off x="69818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1" name="Freeform 1100">
              <a:extLst>
                <a:ext uri="{FF2B5EF4-FFF2-40B4-BE49-F238E27FC236}">
                  <a16:creationId xmlns:a16="http://schemas.microsoft.com/office/drawing/2014/main" id="{A130F615-DC46-4748-7736-AE3D9A487C2A}"/>
                </a:ext>
              </a:extLst>
            </p:cNvPr>
            <p:cNvSpPr/>
            <p:nvPr/>
          </p:nvSpPr>
          <p:spPr>
            <a:xfrm>
              <a:off x="69818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2" name="Freeform 1101">
              <a:extLst>
                <a:ext uri="{FF2B5EF4-FFF2-40B4-BE49-F238E27FC236}">
                  <a16:creationId xmlns:a16="http://schemas.microsoft.com/office/drawing/2014/main" id="{26D79A12-4B7B-AFC6-BA49-0D28F85712CB}"/>
                </a:ext>
              </a:extLst>
            </p:cNvPr>
            <p:cNvSpPr/>
            <p:nvPr/>
          </p:nvSpPr>
          <p:spPr>
            <a:xfrm>
              <a:off x="69818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3" name="Freeform 1102">
              <a:extLst>
                <a:ext uri="{FF2B5EF4-FFF2-40B4-BE49-F238E27FC236}">
                  <a16:creationId xmlns:a16="http://schemas.microsoft.com/office/drawing/2014/main" id="{1C401BB0-438B-809A-D0F4-BA40C775AD61}"/>
                </a:ext>
              </a:extLst>
            </p:cNvPr>
            <p:cNvSpPr/>
            <p:nvPr/>
          </p:nvSpPr>
          <p:spPr>
            <a:xfrm>
              <a:off x="69818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4" name="Freeform 1103">
              <a:extLst>
                <a:ext uri="{FF2B5EF4-FFF2-40B4-BE49-F238E27FC236}">
                  <a16:creationId xmlns:a16="http://schemas.microsoft.com/office/drawing/2014/main" id="{3AD9A617-84AB-B2B9-F54F-5639E3749E0B}"/>
                </a:ext>
              </a:extLst>
            </p:cNvPr>
            <p:cNvSpPr/>
            <p:nvPr/>
          </p:nvSpPr>
          <p:spPr>
            <a:xfrm>
              <a:off x="698182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5" name="Freeform 1104">
              <a:extLst>
                <a:ext uri="{FF2B5EF4-FFF2-40B4-BE49-F238E27FC236}">
                  <a16:creationId xmlns:a16="http://schemas.microsoft.com/office/drawing/2014/main" id="{EE234F11-5D00-539A-7399-59C318A7839B}"/>
                </a:ext>
              </a:extLst>
            </p:cNvPr>
            <p:cNvSpPr/>
            <p:nvPr/>
          </p:nvSpPr>
          <p:spPr>
            <a:xfrm>
              <a:off x="69818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6" name="Freeform 1105">
              <a:extLst>
                <a:ext uri="{FF2B5EF4-FFF2-40B4-BE49-F238E27FC236}">
                  <a16:creationId xmlns:a16="http://schemas.microsoft.com/office/drawing/2014/main" id="{3A3CD2EE-1DE5-68F0-4B45-2DC395B34962}"/>
                </a:ext>
              </a:extLst>
            </p:cNvPr>
            <p:cNvSpPr/>
            <p:nvPr/>
          </p:nvSpPr>
          <p:spPr>
            <a:xfrm>
              <a:off x="69818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7" name="Freeform 1106">
              <a:extLst>
                <a:ext uri="{FF2B5EF4-FFF2-40B4-BE49-F238E27FC236}">
                  <a16:creationId xmlns:a16="http://schemas.microsoft.com/office/drawing/2014/main" id="{7C52D778-9049-4370-52CA-87918CEBDDDA}"/>
                </a:ext>
              </a:extLst>
            </p:cNvPr>
            <p:cNvSpPr/>
            <p:nvPr/>
          </p:nvSpPr>
          <p:spPr>
            <a:xfrm>
              <a:off x="69818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8" name="Freeform 1107">
              <a:extLst>
                <a:ext uri="{FF2B5EF4-FFF2-40B4-BE49-F238E27FC236}">
                  <a16:creationId xmlns:a16="http://schemas.microsoft.com/office/drawing/2014/main" id="{A1CFB350-E9B7-94CE-BF29-2655E6545289}"/>
                </a:ext>
              </a:extLst>
            </p:cNvPr>
            <p:cNvSpPr/>
            <p:nvPr/>
          </p:nvSpPr>
          <p:spPr>
            <a:xfrm>
              <a:off x="69818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09" name="Freeform 1108">
              <a:extLst>
                <a:ext uri="{FF2B5EF4-FFF2-40B4-BE49-F238E27FC236}">
                  <a16:creationId xmlns:a16="http://schemas.microsoft.com/office/drawing/2014/main" id="{EC730D16-01AE-B8AA-675B-15CE0C9B05E5}"/>
                </a:ext>
              </a:extLst>
            </p:cNvPr>
            <p:cNvSpPr/>
            <p:nvPr/>
          </p:nvSpPr>
          <p:spPr>
            <a:xfrm>
              <a:off x="69818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0" name="Freeform 1109">
              <a:extLst>
                <a:ext uri="{FF2B5EF4-FFF2-40B4-BE49-F238E27FC236}">
                  <a16:creationId xmlns:a16="http://schemas.microsoft.com/office/drawing/2014/main" id="{39B9A73F-4F98-C51C-5247-A722AAE70815}"/>
                </a:ext>
              </a:extLst>
            </p:cNvPr>
            <p:cNvSpPr/>
            <p:nvPr/>
          </p:nvSpPr>
          <p:spPr>
            <a:xfrm>
              <a:off x="708660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1" name="Freeform 1110">
              <a:extLst>
                <a:ext uri="{FF2B5EF4-FFF2-40B4-BE49-F238E27FC236}">
                  <a16:creationId xmlns:a16="http://schemas.microsoft.com/office/drawing/2014/main" id="{79BEB633-49A4-F22D-E5B6-B8A391D148CC}"/>
                </a:ext>
              </a:extLst>
            </p:cNvPr>
            <p:cNvSpPr/>
            <p:nvPr/>
          </p:nvSpPr>
          <p:spPr>
            <a:xfrm>
              <a:off x="7086600" y="14859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2" name="Freeform 1111">
              <a:extLst>
                <a:ext uri="{FF2B5EF4-FFF2-40B4-BE49-F238E27FC236}">
                  <a16:creationId xmlns:a16="http://schemas.microsoft.com/office/drawing/2014/main" id="{B75F7F14-29EA-4318-4ED1-EFFFBAF12180}"/>
                </a:ext>
              </a:extLst>
            </p:cNvPr>
            <p:cNvSpPr/>
            <p:nvPr/>
          </p:nvSpPr>
          <p:spPr>
            <a:xfrm>
              <a:off x="708660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3" name="Freeform 1112">
              <a:extLst>
                <a:ext uri="{FF2B5EF4-FFF2-40B4-BE49-F238E27FC236}">
                  <a16:creationId xmlns:a16="http://schemas.microsoft.com/office/drawing/2014/main" id="{8B0D36AA-45EC-9D77-18E3-BCF0D526680B}"/>
                </a:ext>
              </a:extLst>
            </p:cNvPr>
            <p:cNvSpPr/>
            <p:nvPr/>
          </p:nvSpPr>
          <p:spPr>
            <a:xfrm>
              <a:off x="7086600"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4" name="Freeform 1113">
              <a:extLst>
                <a:ext uri="{FF2B5EF4-FFF2-40B4-BE49-F238E27FC236}">
                  <a16:creationId xmlns:a16="http://schemas.microsoft.com/office/drawing/2014/main" id="{481C9B5F-B411-10F2-BF45-FB2007DC1F01}"/>
                </a:ext>
              </a:extLst>
            </p:cNvPr>
            <p:cNvSpPr/>
            <p:nvPr/>
          </p:nvSpPr>
          <p:spPr>
            <a:xfrm>
              <a:off x="708660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5" name="Freeform 1114">
              <a:extLst>
                <a:ext uri="{FF2B5EF4-FFF2-40B4-BE49-F238E27FC236}">
                  <a16:creationId xmlns:a16="http://schemas.microsoft.com/office/drawing/2014/main" id="{FF42532D-4B95-25B0-131A-3A62111ED6B5}"/>
                </a:ext>
              </a:extLst>
            </p:cNvPr>
            <p:cNvSpPr/>
            <p:nvPr/>
          </p:nvSpPr>
          <p:spPr>
            <a:xfrm>
              <a:off x="708660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6" name="Freeform 1115">
              <a:extLst>
                <a:ext uri="{FF2B5EF4-FFF2-40B4-BE49-F238E27FC236}">
                  <a16:creationId xmlns:a16="http://schemas.microsoft.com/office/drawing/2014/main" id="{B6021B17-EBB9-7E5A-BF0E-AF697F548137}"/>
                </a:ext>
              </a:extLst>
            </p:cNvPr>
            <p:cNvSpPr/>
            <p:nvPr/>
          </p:nvSpPr>
          <p:spPr>
            <a:xfrm>
              <a:off x="70866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7" name="Freeform 1116">
              <a:extLst>
                <a:ext uri="{FF2B5EF4-FFF2-40B4-BE49-F238E27FC236}">
                  <a16:creationId xmlns:a16="http://schemas.microsoft.com/office/drawing/2014/main" id="{01CD54BF-2B82-F4A6-12CB-59519DA9EADF}"/>
                </a:ext>
              </a:extLst>
            </p:cNvPr>
            <p:cNvSpPr/>
            <p:nvPr/>
          </p:nvSpPr>
          <p:spPr>
            <a:xfrm>
              <a:off x="708660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8" name="Freeform 1117">
              <a:extLst>
                <a:ext uri="{FF2B5EF4-FFF2-40B4-BE49-F238E27FC236}">
                  <a16:creationId xmlns:a16="http://schemas.microsoft.com/office/drawing/2014/main" id="{4C8133B2-7013-E06E-725C-DC7762C28B70}"/>
                </a:ext>
              </a:extLst>
            </p:cNvPr>
            <p:cNvSpPr/>
            <p:nvPr/>
          </p:nvSpPr>
          <p:spPr>
            <a:xfrm>
              <a:off x="708660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19" name="Freeform 1118">
              <a:extLst>
                <a:ext uri="{FF2B5EF4-FFF2-40B4-BE49-F238E27FC236}">
                  <a16:creationId xmlns:a16="http://schemas.microsoft.com/office/drawing/2014/main" id="{287C5E11-26A1-615D-EBA5-11B0DA144CDD}"/>
                </a:ext>
              </a:extLst>
            </p:cNvPr>
            <p:cNvSpPr/>
            <p:nvPr/>
          </p:nvSpPr>
          <p:spPr>
            <a:xfrm>
              <a:off x="70866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0" name="Freeform 1119">
              <a:extLst>
                <a:ext uri="{FF2B5EF4-FFF2-40B4-BE49-F238E27FC236}">
                  <a16:creationId xmlns:a16="http://schemas.microsoft.com/office/drawing/2014/main" id="{AF2D37B3-9D0A-990E-FEFC-63CB129E4239}"/>
                </a:ext>
              </a:extLst>
            </p:cNvPr>
            <p:cNvSpPr/>
            <p:nvPr/>
          </p:nvSpPr>
          <p:spPr>
            <a:xfrm>
              <a:off x="70866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1" name="Freeform 1120">
              <a:extLst>
                <a:ext uri="{FF2B5EF4-FFF2-40B4-BE49-F238E27FC236}">
                  <a16:creationId xmlns:a16="http://schemas.microsoft.com/office/drawing/2014/main" id="{61FAB459-5923-99D7-54C1-9B2040B9857D}"/>
                </a:ext>
              </a:extLst>
            </p:cNvPr>
            <p:cNvSpPr/>
            <p:nvPr/>
          </p:nvSpPr>
          <p:spPr>
            <a:xfrm>
              <a:off x="70866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2" name="Freeform 1121">
              <a:extLst>
                <a:ext uri="{FF2B5EF4-FFF2-40B4-BE49-F238E27FC236}">
                  <a16:creationId xmlns:a16="http://schemas.microsoft.com/office/drawing/2014/main" id="{B144ACBD-8417-C6EE-4A2E-EE4E3DCC8967}"/>
                </a:ext>
              </a:extLst>
            </p:cNvPr>
            <p:cNvSpPr/>
            <p:nvPr/>
          </p:nvSpPr>
          <p:spPr>
            <a:xfrm>
              <a:off x="70866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3" name="Freeform 1122">
              <a:extLst>
                <a:ext uri="{FF2B5EF4-FFF2-40B4-BE49-F238E27FC236}">
                  <a16:creationId xmlns:a16="http://schemas.microsoft.com/office/drawing/2014/main" id="{4C4D0E8D-314D-C417-E93F-126E61D8EDE8}"/>
                </a:ext>
              </a:extLst>
            </p:cNvPr>
            <p:cNvSpPr/>
            <p:nvPr/>
          </p:nvSpPr>
          <p:spPr>
            <a:xfrm>
              <a:off x="70866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4" name="Freeform 1123">
              <a:extLst>
                <a:ext uri="{FF2B5EF4-FFF2-40B4-BE49-F238E27FC236}">
                  <a16:creationId xmlns:a16="http://schemas.microsoft.com/office/drawing/2014/main" id="{0052742B-8DB0-36D7-0F65-183F8DF753D4}"/>
                </a:ext>
              </a:extLst>
            </p:cNvPr>
            <p:cNvSpPr/>
            <p:nvPr/>
          </p:nvSpPr>
          <p:spPr>
            <a:xfrm>
              <a:off x="70866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5" name="Freeform 1124">
              <a:extLst>
                <a:ext uri="{FF2B5EF4-FFF2-40B4-BE49-F238E27FC236}">
                  <a16:creationId xmlns:a16="http://schemas.microsoft.com/office/drawing/2014/main" id="{25A3E616-BFE6-715A-01CE-5986E0A95FC4}"/>
                </a:ext>
              </a:extLst>
            </p:cNvPr>
            <p:cNvSpPr/>
            <p:nvPr/>
          </p:nvSpPr>
          <p:spPr>
            <a:xfrm>
              <a:off x="70866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6" name="Freeform 1125">
              <a:extLst>
                <a:ext uri="{FF2B5EF4-FFF2-40B4-BE49-F238E27FC236}">
                  <a16:creationId xmlns:a16="http://schemas.microsoft.com/office/drawing/2014/main" id="{7D8786EA-1E6D-9852-22F4-E156CECE242D}"/>
                </a:ext>
              </a:extLst>
            </p:cNvPr>
            <p:cNvSpPr/>
            <p:nvPr/>
          </p:nvSpPr>
          <p:spPr>
            <a:xfrm>
              <a:off x="70866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7" name="Freeform 1126">
              <a:extLst>
                <a:ext uri="{FF2B5EF4-FFF2-40B4-BE49-F238E27FC236}">
                  <a16:creationId xmlns:a16="http://schemas.microsoft.com/office/drawing/2014/main" id="{EFBB1EDC-03D5-830A-B8F2-F1F01CDCA6D6}"/>
                </a:ext>
              </a:extLst>
            </p:cNvPr>
            <p:cNvSpPr/>
            <p:nvPr/>
          </p:nvSpPr>
          <p:spPr>
            <a:xfrm>
              <a:off x="70866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8" name="Freeform 1127">
              <a:extLst>
                <a:ext uri="{FF2B5EF4-FFF2-40B4-BE49-F238E27FC236}">
                  <a16:creationId xmlns:a16="http://schemas.microsoft.com/office/drawing/2014/main" id="{AB21F77B-C089-4D1C-6939-1E118949B03A}"/>
                </a:ext>
              </a:extLst>
            </p:cNvPr>
            <p:cNvSpPr/>
            <p:nvPr/>
          </p:nvSpPr>
          <p:spPr>
            <a:xfrm>
              <a:off x="70866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29" name="Freeform 1128">
              <a:extLst>
                <a:ext uri="{FF2B5EF4-FFF2-40B4-BE49-F238E27FC236}">
                  <a16:creationId xmlns:a16="http://schemas.microsoft.com/office/drawing/2014/main" id="{7FD82C17-82B4-F6C3-8071-BC0B4077BE88}"/>
                </a:ext>
              </a:extLst>
            </p:cNvPr>
            <p:cNvSpPr/>
            <p:nvPr/>
          </p:nvSpPr>
          <p:spPr>
            <a:xfrm>
              <a:off x="7191375"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0" name="Freeform 1129">
              <a:extLst>
                <a:ext uri="{FF2B5EF4-FFF2-40B4-BE49-F238E27FC236}">
                  <a16:creationId xmlns:a16="http://schemas.microsoft.com/office/drawing/2014/main" id="{A13B078A-82B7-F314-E108-8D8AEC598A3D}"/>
                </a:ext>
              </a:extLst>
            </p:cNvPr>
            <p:cNvSpPr/>
            <p:nvPr/>
          </p:nvSpPr>
          <p:spPr>
            <a:xfrm>
              <a:off x="7191375"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1" name="Freeform 1130">
              <a:extLst>
                <a:ext uri="{FF2B5EF4-FFF2-40B4-BE49-F238E27FC236}">
                  <a16:creationId xmlns:a16="http://schemas.microsoft.com/office/drawing/2014/main" id="{AD347BBA-08AF-2F7B-5502-B15AB09DC142}"/>
                </a:ext>
              </a:extLst>
            </p:cNvPr>
            <p:cNvSpPr/>
            <p:nvPr/>
          </p:nvSpPr>
          <p:spPr>
            <a:xfrm>
              <a:off x="7191375" y="16954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2" name="Freeform 1131">
              <a:extLst>
                <a:ext uri="{FF2B5EF4-FFF2-40B4-BE49-F238E27FC236}">
                  <a16:creationId xmlns:a16="http://schemas.microsoft.com/office/drawing/2014/main" id="{15665281-8DF4-33A1-594F-1644E4E90E1E}"/>
                </a:ext>
              </a:extLst>
            </p:cNvPr>
            <p:cNvSpPr/>
            <p:nvPr/>
          </p:nvSpPr>
          <p:spPr>
            <a:xfrm>
              <a:off x="7191375"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3" name="Freeform 1132">
              <a:extLst>
                <a:ext uri="{FF2B5EF4-FFF2-40B4-BE49-F238E27FC236}">
                  <a16:creationId xmlns:a16="http://schemas.microsoft.com/office/drawing/2014/main" id="{B68E7E8D-BBD7-4664-8AAF-D8C6F305E57F}"/>
                </a:ext>
              </a:extLst>
            </p:cNvPr>
            <p:cNvSpPr/>
            <p:nvPr/>
          </p:nvSpPr>
          <p:spPr>
            <a:xfrm>
              <a:off x="71913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4" name="Freeform 1133">
              <a:extLst>
                <a:ext uri="{FF2B5EF4-FFF2-40B4-BE49-F238E27FC236}">
                  <a16:creationId xmlns:a16="http://schemas.microsoft.com/office/drawing/2014/main" id="{223AE077-DC3E-FD40-D68E-B5C2F96CED0F}"/>
                </a:ext>
              </a:extLst>
            </p:cNvPr>
            <p:cNvSpPr/>
            <p:nvPr/>
          </p:nvSpPr>
          <p:spPr>
            <a:xfrm>
              <a:off x="719137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5" name="Freeform 1134">
              <a:extLst>
                <a:ext uri="{FF2B5EF4-FFF2-40B4-BE49-F238E27FC236}">
                  <a16:creationId xmlns:a16="http://schemas.microsoft.com/office/drawing/2014/main" id="{3018241E-917F-DB34-B71C-E6DA9924F6BF}"/>
                </a:ext>
              </a:extLst>
            </p:cNvPr>
            <p:cNvSpPr/>
            <p:nvPr/>
          </p:nvSpPr>
          <p:spPr>
            <a:xfrm>
              <a:off x="719137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6" name="Freeform 1135">
              <a:extLst>
                <a:ext uri="{FF2B5EF4-FFF2-40B4-BE49-F238E27FC236}">
                  <a16:creationId xmlns:a16="http://schemas.microsoft.com/office/drawing/2014/main" id="{64EB1230-1174-FB67-1D49-C7C3899B2A53}"/>
                </a:ext>
              </a:extLst>
            </p:cNvPr>
            <p:cNvSpPr/>
            <p:nvPr/>
          </p:nvSpPr>
          <p:spPr>
            <a:xfrm>
              <a:off x="719137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7" name="Freeform 1136">
              <a:extLst>
                <a:ext uri="{FF2B5EF4-FFF2-40B4-BE49-F238E27FC236}">
                  <a16:creationId xmlns:a16="http://schemas.microsoft.com/office/drawing/2014/main" id="{61FF2966-21BD-9D9A-700F-74B213CDA5CE}"/>
                </a:ext>
              </a:extLst>
            </p:cNvPr>
            <p:cNvSpPr/>
            <p:nvPr/>
          </p:nvSpPr>
          <p:spPr>
            <a:xfrm>
              <a:off x="71913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8" name="Freeform 1137">
              <a:extLst>
                <a:ext uri="{FF2B5EF4-FFF2-40B4-BE49-F238E27FC236}">
                  <a16:creationId xmlns:a16="http://schemas.microsoft.com/office/drawing/2014/main" id="{F54ACFFD-4A52-B9C8-BA85-8F2C19A393A9}"/>
                </a:ext>
              </a:extLst>
            </p:cNvPr>
            <p:cNvSpPr/>
            <p:nvPr/>
          </p:nvSpPr>
          <p:spPr>
            <a:xfrm>
              <a:off x="719137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39" name="Freeform 1138">
              <a:extLst>
                <a:ext uri="{FF2B5EF4-FFF2-40B4-BE49-F238E27FC236}">
                  <a16:creationId xmlns:a16="http://schemas.microsoft.com/office/drawing/2014/main" id="{F6C68E44-4AF7-EA01-A3E6-F798246610EB}"/>
                </a:ext>
              </a:extLst>
            </p:cNvPr>
            <p:cNvSpPr/>
            <p:nvPr/>
          </p:nvSpPr>
          <p:spPr>
            <a:xfrm>
              <a:off x="7191375"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0" name="Freeform 1139">
              <a:extLst>
                <a:ext uri="{FF2B5EF4-FFF2-40B4-BE49-F238E27FC236}">
                  <a16:creationId xmlns:a16="http://schemas.microsoft.com/office/drawing/2014/main" id="{44614F84-63D8-A7EC-E879-764B8BD6B64B}"/>
                </a:ext>
              </a:extLst>
            </p:cNvPr>
            <p:cNvSpPr/>
            <p:nvPr/>
          </p:nvSpPr>
          <p:spPr>
            <a:xfrm>
              <a:off x="719137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1" name="Freeform 1140">
              <a:extLst>
                <a:ext uri="{FF2B5EF4-FFF2-40B4-BE49-F238E27FC236}">
                  <a16:creationId xmlns:a16="http://schemas.microsoft.com/office/drawing/2014/main" id="{5B3A688F-94B8-C81F-9A1F-F5015F5DF6A1}"/>
                </a:ext>
              </a:extLst>
            </p:cNvPr>
            <p:cNvSpPr/>
            <p:nvPr/>
          </p:nvSpPr>
          <p:spPr>
            <a:xfrm>
              <a:off x="719137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2" name="Freeform 1141">
              <a:extLst>
                <a:ext uri="{FF2B5EF4-FFF2-40B4-BE49-F238E27FC236}">
                  <a16:creationId xmlns:a16="http://schemas.microsoft.com/office/drawing/2014/main" id="{33DA234E-BD6C-60C1-C49C-DABB2DD022BA}"/>
                </a:ext>
              </a:extLst>
            </p:cNvPr>
            <p:cNvSpPr/>
            <p:nvPr/>
          </p:nvSpPr>
          <p:spPr>
            <a:xfrm>
              <a:off x="7191375"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3" name="Freeform 1142">
              <a:extLst>
                <a:ext uri="{FF2B5EF4-FFF2-40B4-BE49-F238E27FC236}">
                  <a16:creationId xmlns:a16="http://schemas.microsoft.com/office/drawing/2014/main" id="{F6128E1D-2FE9-8D19-609E-25915A8CB957}"/>
                </a:ext>
              </a:extLst>
            </p:cNvPr>
            <p:cNvSpPr/>
            <p:nvPr/>
          </p:nvSpPr>
          <p:spPr>
            <a:xfrm>
              <a:off x="719137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4" name="Freeform 1143">
              <a:extLst>
                <a:ext uri="{FF2B5EF4-FFF2-40B4-BE49-F238E27FC236}">
                  <a16:creationId xmlns:a16="http://schemas.microsoft.com/office/drawing/2014/main" id="{54854967-D5BA-95EE-1B20-99690B29F746}"/>
                </a:ext>
              </a:extLst>
            </p:cNvPr>
            <p:cNvSpPr/>
            <p:nvPr/>
          </p:nvSpPr>
          <p:spPr>
            <a:xfrm>
              <a:off x="71913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5" name="Freeform 1144">
              <a:extLst>
                <a:ext uri="{FF2B5EF4-FFF2-40B4-BE49-F238E27FC236}">
                  <a16:creationId xmlns:a16="http://schemas.microsoft.com/office/drawing/2014/main" id="{4A0BB9EF-5C2C-9242-B752-8E9DDF840215}"/>
                </a:ext>
              </a:extLst>
            </p:cNvPr>
            <p:cNvSpPr/>
            <p:nvPr/>
          </p:nvSpPr>
          <p:spPr>
            <a:xfrm>
              <a:off x="71913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6" name="Freeform 1145">
              <a:extLst>
                <a:ext uri="{FF2B5EF4-FFF2-40B4-BE49-F238E27FC236}">
                  <a16:creationId xmlns:a16="http://schemas.microsoft.com/office/drawing/2014/main" id="{925158A5-A736-F766-9DD3-C2C79F3FD589}"/>
                </a:ext>
              </a:extLst>
            </p:cNvPr>
            <p:cNvSpPr/>
            <p:nvPr/>
          </p:nvSpPr>
          <p:spPr>
            <a:xfrm>
              <a:off x="7296150" y="1276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7" name="Freeform 1146">
              <a:extLst>
                <a:ext uri="{FF2B5EF4-FFF2-40B4-BE49-F238E27FC236}">
                  <a16:creationId xmlns:a16="http://schemas.microsoft.com/office/drawing/2014/main" id="{F0CF2893-9D45-38A8-B5CD-58619C4D079F}"/>
                </a:ext>
              </a:extLst>
            </p:cNvPr>
            <p:cNvSpPr/>
            <p:nvPr/>
          </p:nvSpPr>
          <p:spPr>
            <a:xfrm>
              <a:off x="7296150" y="15906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8" name="Freeform 1147">
              <a:extLst>
                <a:ext uri="{FF2B5EF4-FFF2-40B4-BE49-F238E27FC236}">
                  <a16:creationId xmlns:a16="http://schemas.microsoft.com/office/drawing/2014/main" id="{0E439F17-1BBF-795D-7348-DF48CC5E94B3}"/>
                </a:ext>
              </a:extLst>
            </p:cNvPr>
            <p:cNvSpPr/>
            <p:nvPr/>
          </p:nvSpPr>
          <p:spPr>
            <a:xfrm>
              <a:off x="7296150" y="18002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49" name="Freeform 1148">
              <a:extLst>
                <a:ext uri="{FF2B5EF4-FFF2-40B4-BE49-F238E27FC236}">
                  <a16:creationId xmlns:a16="http://schemas.microsoft.com/office/drawing/2014/main" id="{62A884CF-731E-6225-59AB-145E6FA4A3A4}"/>
                </a:ext>
              </a:extLst>
            </p:cNvPr>
            <p:cNvSpPr/>
            <p:nvPr/>
          </p:nvSpPr>
          <p:spPr>
            <a:xfrm>
              <a:off x="7296150" y="19050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0" name="Freeform 1149">
              <a:extLst>
                <a:ext uri="{FF2B5EF4-FFF2-40B4-BE49-F238E27FC236}">
                  <a16:creationId xmlns:a16="http://schemas.microsoft.com/office/drawing/2014/main" id="{DB09F7BF-0E1A-F200-54E9-4D742965E06F}"/>
                </a:ext>
              </a:extLst>
            </p:cNvPr>
            <p:cNvSpPr/>
            <p:nvPr/>
          </p:nvSpPr>
          <p:spPr>
            <a:xfrm>
              <a:off x="7296150" y="20097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1" name="Freeform 1150">
              <a:extLst>
                <a:ext uri="{FF2B5EF4-FFF2-40B4-BE49-F238E27FC236}">
                  <a16:creationId xmlns:a16="http://schemas.microsoft.com/office/drawing/2014/main" id="{C333A2B3-94FC-AB64-3525-51E90D12C8FF}"/>
                </a:ext>
              </a:extLst>
            </p:cNvPr>
            <p:cNvSpPr/>
            <p:nvPr/>
          </p:nvSpPr>
          <p:spPr>
            <a:xfrm>
              <a:off x="72961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2" name="Freeform 1151">
              <a:extLst>
                <a:ext uri="{FF2B5EF4-FFF2-40B4-BE49-F238E27FC236}">
                  <a16:creationId xmlns:a16="http://schemas.microsoft.com/office/drawing/2014/main" id="{BB1C8EA3-6DE3-CDFA-0FC3-67B288BEF0C5}"/>
                </a:ext>
              </a:extLst>
            </p:cNvPr>
            <p:cNvSpPr/>
            <p:nvPr/>
          </p:nvSpPr>
          <p:spPr>
            <a:xfrm>
              <a:off x="72961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3" name="Freeform 1152">
              <a:extLst>
                <a:ext uri="{FF2B5EF4-FFF2-40B4-BE49-F238E27FC236}">
                  <a16:creationId xmlns:a16="http://schemas.microsoft.com/office/drawing/2014/main" id="{B423AE77-F20E-6459-D7C9-B804685893C0}"/>
                </a:ext>
              </a:extLst>
            </p:cNvPr>
            <p:cNvSpPr/>
            <p:nvPr/>
          </p:nvSpPr>
          <p:spPr>
            <a:xfrm>
              <a:off x="72961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4" name="Freeform 1153">
              <a:extLst>
                <a:ext uri="{FF2B5EF4-FFF2-40B4-BE49-F238E27FC236}">
                  <a16:creationId xmlns:a16="http://schemas.microsoft.com/office/drawing/2014/main" id="{1505619B-40C0-71E6-C29A-6E17E42C5B55}"/>
                </a:ext>
              </a:extLst>
            </p:cNvPr>
            <p:cNvSpPr/>
            <p:nvPr/>
          </p:nvSpPr>
          <p:spPr>
            <a:xfrm>
              <a:off x="72961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5" name="Freeform 1154">
              <a:extLst>
                <a:ext uri="{FF2B5EF4-FFF2-40B4-BE49-F238E27FC236}">
                  <a16:creationId xmlns:a16="http://schemas.microsoft.com/office/drawing/2014/main" id="{F6E64CDB-3903-CD59-F3BB-33082422804B}"/>
                </a:ext>
              </a:extLst>
            </p:cNvPr>
            <p:cNvSpPr/>
            <p:nvPr/>
          </p:nvSpPr>
          <p:spPr>
            <a:xfrm>
              <a:off x="72961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6" name="Freeform 1155">
              <a:extLst>
                <a:ext uri="{FF2B5EF4-FFF2-40B4-BE49-F238E27FC236}">
                  <a16:creationId xmlns:a16="http://schemas.microsoft.com/office/drawing/2014/main" id="{AF1FA5A2-BA5D-3BA2-0658-D027E5771AC5}"/>
                </a:ext>
              </a:extLst>
            </p:cNvPr>
            <p:cNvSpPr/>
            <p:nvPr/>
          </p:nvSpPr>
          <p:spPr>
            <a:xfrm>
              <a:off x="72961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7" name="Freeform 1156">
              <a:extLst>
                <a:ext uri="{FF2B5EF4-FFF2-40B4-BE49-F238E27FC236}">
                  <a16:creationId xmlns:a16="http://schemas.microsoft.com/office/drawing/2014/main" id="{2A412BDB-5B36-CB61-A399-719041126462}"/>
                </a:ext>
              </a:extLst>
            </p:cNvPr>
            <p:cNvSpPr/>
            <p:nvPr/>
          </p:nvSpPr>
          <p:spPr>
            <a:xfrm>
              <a:off x="72961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8" name="Freeform 1157">
              <a:extLst>
                <a:ext uri="{FF2B5EF4-FFF2-40B4-BE49-F238E27FC236}">
                  <a16:creationId xmlns:a16="http://schemas.microsoft.com/office/drawing/2014/main" id="{2DD109D3-908C-6F9E-6981-951A0F9E043D}"/>
                </a:ext>
              </a:extLst>
            </p:cNvPr>
            <p:cNvSpPr/>
            <p:nvPr/>
          </p:nvSpPr>
          <p:spPr>
            <a:xfrm>
              <a:off x="72961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59" name="Freeform 1158">
              <a:extLst>
                <a:ext uri="{FF2B5EF4-FFF2-40B4-BE49-F238E27FC236}">
                  <a16:creationId xmlns:a16="http://schemas.microsoft.com/office/drawing/2014/main" id="{15606DF5-A7E9-DDF4-A9A3-51D91CB657A0}"/>
                </a:ext>
              </a:extLst>
            </p:cNvPr>
            <p:cNvSpPr/>
            <p:nvPr/>
          </p:nvSpPr>
          <p:spPr>
            <a:xfrm>
              <a:off x="72961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0" name="Freeform 1159">
              <a:extLst>
                <a:ext uri="{FF2B5EF4-FFF2-40B4-BE49-F238E27FC236}">
                  <a16:creationId xmlns:a16="http://schemas.microsoft.com/office/drawing/2014/main" id="{BFE4317E-5376-A3F6-62B4-92C240396F66}"/>
                </a:ext>
              </a:extLst>
            </p:cNvPr>
            <p:cNvSpPr/>
            <p:nvPr/>
          </p:nvSpPr>
          <p:spPr>
            <a:xfrm>
              <a:off x="72961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1" name="Freeform 1160">
              <a:extLst>
                <a:ext uri="{FF2B5EF4-FFF2-40B4-BE49-F238E27FC236}">
                  <a16:creationId xmlns:a16="http://schemas.microsoft.com/office/drawing/2014/main" id="{51FFD888-5692-FA1E-6B63-6E7DC4527DE8}"/>
                </a:ext>
              </a:extLst>
            </p:cNvPr>
            <p:cNvSpPr/>
            <p:nvPr/>
          </p:nvSpPr>
          <p:spPr>
            <a:xfrm>
              <a:off x="72961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2" name="Freeform 1161">
              <a:extLst>
                <a:ext uri="{FF2B5EF4-FFF2-40B4-BE49-F238E27FC236}">
                  <a16:creationId xmlns:a16="http://schemas.microsoft.com/office/drawing/2014/main" id="{4B81294E-D086-59FC-4CDD-C2C80D079254}"/>
                </a:ext>
              </a:extLst>
            </p:cNvPr>
            <p:cNvSpPr/>
            <p:nvPr/>
          </p:nvSpPr>
          <p:spPr>
            <a:xfrm>
              <a:off x="72961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3" name="Freeform 1162">
              <a:extLst>
                <a:ext uri="{FF2B5EF4-FFF2-40B4-BE49-F238E27FC236}">
                  <a16:creationId xmlns:a16="http://schemas.microsoft.com/office/drawing/2014/main" id="{3E1702EF-A9C2-EE7B-C958-5E7D06A5CD9B}"/>
                </a:ext>
              </a:extLst>
            </p:cNvPr>
            <p:cNvSpPr/>
            <p:nvPr/>
          </p:nvSpPr>
          <p:spPr>
            <a:xfrm>
              <a:off x="729615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4" name="Freeform 1163">
              <a:extLst>
                <a:ext uri="{FF2B5EF4-FFF2-40B4-BE49-F238E27FC236}">
                  <a16:creationId xmlns:a16="http://schemas.microsoft.com/office/drawing/2014/main" id="{862712E4-A099-9F35-9345-35A72A41DEDE}"/>
                </a:ext>
              </a:extLst>
            </p:cNvPr>
            <p:cNvSpPr/>
            <p:nvPr/>
          </p:nvSpPr>
          <p:spPr>
            <a:xfrm>
              <a:off x="72961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5" name="Freeform 1164">
              <a:extLst>
                <a:ext uri="{FF2B5EF4-FFF2-40B4-BE49-F238E27FC236}">
                  <a16:creationId xmlns:a16="http://schemas.microsoft.com/office/drawing/2014/main" id="{671B2F0E-65E7-4962-13C6-6489DA345B08}"/>
                </a:ext>
              </a:extLst>
            </p:cNvPr>
            <p:cNvSpPr/>
            <p:nvPr/>
          </p:nvSpPr>
          <p:spPr>
            <a:xfrm>
              <a:off x="72961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6" name="Freeform 1165">
              <a:extLst>
                <a:ext uri="{FF2B5EF4-FFF2-40B4-BE49-F238E27FC236}">
                  <a16:creationId xmlns:a16="http://schemas.microsoft.com/office/drawing/2014/main" id="{A69A15DB-A4B6-4028-8D28-9A39C21B8582}"/>
                </a:ext>
              </a:extLst>
            </p:cNvPr>
            <p:cNvSpPr/>
            <p:nvPr/>
          </p:nvSpPr>
          <p:spPr>
            <a:xfrm>
              <a:off x="729615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7" name="Freeform 1166">
              <a:extLst>
                <a:ext uri="{FF2B5EF4-FFF2-40B4-BE49-F238E27FC236}">
                  <a16:creationId xmlns:a16="http://schemas.microsoft.com/office/drawing/2014/main" id="{072BDDC8-115C-2CE2-70CA-5793220CD85A}"/>
                </a:ext>
              </a:extLst>
            </p:cNvPr>
            <p:cNvSpPr/>
            <p:nvPr/>
          </p:nvSpPr>
          <p:spPr>
            <a:xfrm>
              <a:off x="72961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8" name="Freeform 1167">
              <a:extLst>
                <a:ext uri="{FF2B5EF4-FFF2-40B4-BE49-F238E27FC236}">
                  <a16:creationId xmlns:a16="http://schemas.microsoft.com/office/drawing/2014/main" id="{A560BD94-9097-8514-3FAA-1D3209CEA306}"/>
                </a:ext>
              </a:extLst>
            </p:cNvPr>
            <p:cNvSpPr/>
            <p:nvPr/>
          </p:nvSpPr>
          <p:spPr>
            <a:xfrm>
              <a:off x="72961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69" name="Freeform 1168">
              <a:extLst>
                <a:ext uri="{FF2B5EF4-FFF2-40B4-BE49-F238E27FC236}">
                  <a16:creationId xmlns:a16="http://schemas.microsoft.com/office/drawing/2014/main" id="{01502907-FDB5-7D08-8C19-ADB1B6FED94F}"/>
                </a:ext>
              </a:extLst>
            </p:cNvPr>
            <p:cNvSpPr/>
            <p:nvPr/>
          </p:nvSpPr>
          <p:spPr>
            <a:xfrm>
              <a:off x="74009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0" name="Freeform 1169">
              <a:extLst>
                <a:ext uri="{FF2B5EF4-FFF2-40B4-BE49-F238E27FC236}">
                  <a16:creationId xmlns:a16="http://schemas.microsoft.com/office/drawing/2014/main" id="{E793B321-3242-398D-BF0F-328D8B23FEC1}"/>
                </a:ext>
              </a:extLst>
            </p:cNvPr>
            <p:cNvSpPr/>
            <p:nvPr/>
          </p:nvSpPr>
          <p:spPr>
            <a:xfrm>
              <a:off x="74009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1" name="Freeform 1170">
              <a:extLst>
                <a:ext uri="{FF2B5EF4-FFF2-40B4-BE49-F238E27FC236}">
                  <a16:creationId xmlns:a16="http://schemas.microsoft.com/office/drawing/2014/main" id="{114E0394-0CD2-0814-3F91-4D8D97199069}"/>
                </a:ext>
              </a:extLst>
            </p:cNvPr>
            <p:cNvSpPr/>
            <p:nvPr/>
          </p:nvSpPr>
          <p:spPr>
            <a:xfrm>
              <a:off x="7400925"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2" name="Freeform 1171">
              <a:extLst>
                <a:ext uri="{FF2B5EF4-FFF2-40B4-BE49-F238E27FC236}">
                  <a16:creationId xmlns:a16="http://schemas.microsoft.com/office/drawing/2014/main" id="{E1DC1C6A-3993-505F-7FA2-C11D856B747F}"/>
                </a:ext>
              </a:extLst>
            </p:cNvPr>
            <p:cNvSpPr/>
            <p:nvPr/>
          </p:nvSpPr>
          <p:spPr>
            <a:xfrm>
              <a:off x="74009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3" name="Freeform 1172">
              <a:extLst>
                <a:ext uri="{FF2B5EF4-FFF2-40B4-BE49-F238E27FC236}">
                  <a16:creationId xmlns:a16="http://schemas.microsoft.com/office/drawing/2014/main" id="{B0BC32F1-D797-0136-32BF-678B50886221}"/>
                </a:ext>
              </a:extLst>
            </p:cNvPr>
            <p:cNvSpPr/>
            <p:nvPr/>
          </p:nvSpPr>
          <p:spPr>
            <a:xfrm>
              <a:off x="7400925"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4" name="Freeform 1173">
              <a:extLst>
                <a:ext uri="{FF2B5EF4-FFF2-40B4-BE49-F238E27FC236}">
                  <a16:creationId xmlns:a16="http://schemas.microsoft.com/office/drawing/2014/main" id="{17612EB0-9053-6E80-FC5F-C5C46BAC5155}"/>
                </a:ext>
              </a:extLst>
            </p:cNvPr>
            <p:cNvSpPr/>
            <p:nvPr/>
          </p:nvSpPr>
          <p:spPr>
            <a:xfrm>
              <a:off x="740092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5" name="Freeform 1174">
              <a:extLst>
                <a:ext uri="{FF2B5EF4-FFF2-40B4-BE49-F238E27FC236}">
                  <a16:creationId xmlns:a16="http://schemas.microsoft.com/office/drawing/2014/main" id="{A46BE30D-3700-7BF9-BB74-0DF8EF564BEC}"/>
                </a:ext>
              </a:extLst>
            </p:cNvPr>
            <p:cNvSpPr/>
            <p:nvPr/>
          </p:nvSpPr>
          <p:spPr>
            <a:xfrm>
              <a:off x="740092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6" name="Freeform 1175">
              <a:extLst>
                <a:ext uri="{FF2B5EF4-FFF2-40B4-BE49-F238E27FC236}">
                  <a16:creationId xmlns:a16="http://schemas.microsoft.com/office/drawing/2014/main" id="{A5A45ACA-6E21-38C7-7870-68D4C25CF5AC}"/>
                </a:ext>
              </a:extLst>
            </p:cNvPr>
            <p:cNvSpPr/>
            <p:nvPr/>
          </p:nvSpPr>
          <p:spPr>
            <a:xfrm>
              <a:off x="74009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7" name="Freeform 1176">
              <a:extLst>
                <a:ext uri="{FF2B5EF4-FFF2-40B4-BE49-F238E27FC236}">
                  <a16:creationId xmlns:a16="http://schemas.microsoft.com/office/drawing/2014/main" id="{C2338294-67E7-4230-35D2-35ADC8D5C1A2}"/>
                </a:ext>
              </a:extLst>
            </p:cNvPr>
            <p:cNvSpPr/>
            <p:nvPr/>
          </p:nvSpPr>
          <p:spPr>
            <a:xfrm>
              <a:off x="7400925"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8" name="Freeform 1177">
              <a:extLst>
                <a:ext uri="{FF2B5EF4-FFF2-40B4-BE49-F238E27FC236}">
                  <a16:creationId xmlns:a16="http://schemas.microsoft.com/office/drawing/2014/main" id="{9CB9DE2A-E145-9E75-C52F-531441F11F55}"/>
                </a:ext>
              </a:extLst>
            </p:cNvPr>
            <p:cNvSpPr/>
            <p:nvPr/>
          </p:nvSpPr>
          <p:spPr>
            <a:xfrm>
              <a:off x="74009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79" name="Freeform 1178">
              <a:extLst>
                <a:ext uri="{FF2B5EF4-FFF2-40B4-BE49-F238E27FC236}">
                  <a16:creationId xmlns:a16="http://schemas.microsoft.com/office/drawing/2014/main" id="{69634A1B-85DD-267B-FEB9-8FB682C881BC}"/>
                </a:ext>
              </a:extLst>
            </p:cNvPr>
            <p:cNvSpPr/>
            <p:nvPr/>
          </p:nvSpPr>
          <p:spPr>
            <a:xfrm>
              <a:off x="7400925"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0" name="Freeform 1179">
              <a:extLst>
                <a:ext uri="{FF2B5EF4-FFF2-40B4-BE49-F238E27FC236}">
                  <a16:creationId xmlns:a16="http://schemas.microsoft.com/office/drawing/2014/main" id="{6471965D-6870-A72E-88E4-662C55726B6B}"/>
                </a:ext>
              </a:extLst>
            </p:cNvPr>
            <p:cNvSpPr/>
            <p:nvPr/>
          </p:nvSpPr>
          <p:spPr>
            <a:xfrm>
              <a:off x="74009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1" name="Freeform 1180">
              <a:extLst>
                <a:ext uri="{FF2B5EF4-FFF2-40B4-BE49-F238E27FC236}">
                  <a16:creationId xmlns:a16="http://schemas.microsoft.com/office/drawing/2014/main" id="{84A7904C-DF3A-4B9E-C766-1A758522504E}"/>
                </a:ext>
              </a:extLst>
            </p:cNvPr>
            <p:cNvSpPr/>
            <p:nvPr/>
          </p:nvSpPr>
          <p:spPr>
            <a:xfrm>
              <a:off x="74009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2" name="Freeform 1181">
              <a:extLst>
                <a:ext uri="{FF2B5EF4-FFF2-40B4-BE49-F238E27FC236}">
                  <a16:creationId xmlns:a16="http://schemas.microsoft.com/office/drawing/2014/main" id="{E89A9B29-DCBD-033B-6B15-599DF1E65C86}"/>
                </a:ext>
              </a:extLst>
            </p:cNvPr>
            <p:cNvSpPr/>
            <p:nvPr/>
          </p:nvSpPr>
          <p:spPr>
            <a:xfrm>
              <a:off x="740092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3" name="Freeform 1182">
              <a:extLst>
                <a:ext uri="{FF2B5EF4-FFF2-40B4-BE49-F238E27FC236}">
                  <a16:creationId xmlns:a16="http://schemas.microsoft.com/office/drawing/2014/main" id="{CE49ACC5-82D2-4E54-3ECC-8E6EECE07019}"/>
                </a:ext>
              </a:extLst>
            </p:cNvPr>
            <p:cNvSpPr/>
            <p:nvPr/>
          </p:nvSpPr>
          <p:spPr>
            <a:xfrm>
              <a:off x="740092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4" name="Freeform 1183">
              <a:extLst>
                <a:ext uri="{FF2B5EF4-FFF2-40B4-BE49-F238E27FC236}">
                  <a16:creationId xmlns:a16="http://schemas.microsoft.com/office/drawing/2014/main" id="{F56A9DE7-EEBB-62EA-5BD5-BC45E74099BB}"/>
                </a:ext>
              </a:extLst>
            </p:cNvPr>
            <p:cNvSpPr/>
            <p:nvPr/>
          </p:nvSpPr>
          <p:spPr>
            <a:xfrm>
              <a:off x="740092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5" name="Freeform 1184">
              <a:extLst>
                <a:ext uri="{FF2B5EF4-FFF2-40B4-BE49-F238E27FC236}">
                  <a16:creationId xmlns:a16="http://schemas.microsoft.com/office/drawing/2014/main" id="{0945FAE5-54D4-CDB4-69F8-E23A5EF0DF76}"/>
                </a:ext>
              </a:extLst>
            </p:cNvPr>
            <p:cNvSpPr/>
            <p:nvPr/>
          </p:nvSpPr>
          <p:spPr>
            <a:xfrm>
              <a:off x="74009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6" name="Freeform 1185">
              <a:extLst>
                <a:ext uri="{FF2B5EF4-FFF2-40B4-BE49-F238E27FC236}">
                  <a16:creationId xmlns:a16="http://schemas.microsoft.com/office/drawing/2014/main" id="{0D0F94AB-0991-3495-2584-2B72FEBA355F}"/>
                </a:ext>
              </a:extLst>
            </p:cNvPr>
            <p:cNvSpPr/>
            <p:nvPr/>
          </p:nvSpPr>
          <p:spPr>
            <a:xfrm>
              <a:off x="7400925"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7" name="Freeform 1186">
              <a:extLst>
                <a:ext uri="{FF2B5EF4-FFF2-40B4-BE49-F238E27FC236}">
                  <a16:creationId xmlns:a16="http://schemas.microsoft.com/office/drawing/2014/main" id="{BCC02E89-FAF5-036F-F4F3-CF4150B7B740}"/>
                </a:ext>
              </a:extLst>
            </p:cNvPr>
            <p:cNvSpPr/>
            <p:nvPr/>
          </p:nvSpPr>
          <p:spPr>
            <a:xfrm>
              <a:off x="75057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8" name="Freeform 1187">
              <a:extLst>
                <a:ext uri="{FF2B5EF4-FFF2-40B4-BE49-F238E27FC236}">
                  <a16:creationId xmlns:a16="http://schemas.microsoft.com/office/drawing/2014/main" id="{7ADE8C23-BB9F-1DCC-258A-94F7ABD85F6B}"/>
                </a:ext>
              </a:extLst>
            </p:cNvPr>
            <p:cNvSpPr/>
            <p:nvPr/>
          </p:nvSpPr>
          <p:spPr>
            <a:xfrm>
              <a:off x="75057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89" name="Freeform 1188">
              <a:extLst>
                <a:ext uri="{FF2B5EF4-FFF2-40B4-BE49-F238E27FC236}">
                  <a16:creationId xmlns:a16="http://schemas.microsoft.com/office/drawing/2014/main" id="{519228E1-5A62-4009-048F-875106EA6AB8}"/>
                </a:ext>
              </a:extLst>
            </p:cNvPr>
            <p:cNvSpPr/>
            <p:nvPr/>
          </p:nvSpPr>
          <p:spPr>
            <a:xfrm>
              <a:off x="75057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0" name="Freeform 1189">
              <a:extLst>
                <a:ext uri="{FF2B5EF4-FFF2-40B4-BE49-F238E27FC236}">
                  <a16:creationId xmlns:a16="http://schemas.microsoft.com/office/drawing/2014/main" id="{91FBA77D-AF1D-3862-BD2A-38C6E3E2E217}"/>
                </a:ext>
              </a:extLst>
            </p:cNvPr>
            <p:cNvSpPr/>
            <p:nvPr/>
          </p:nvSpPr>
          <p:spPr>
            <a:xfrm>
              <a:off x="75057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1" name="Freeform 1190">
              <a:extLst>
                <a:ext uri="{FF2B5EF4-FFF2-40B4-BE49-F238E27FC236}">
                  <a16:creationId xmlns:a16="http://schemas.microsoft.com/office/drawing/2014/main" id="{9F4A21AA-D8BF-3D77-1FCE-6F0EC4A961F2}"/>
                </a:ext>
              </a:extLst>
            </p:cNvPr>
            <p:cNvSpPr/>
            <p:nvPr/>
          </p:nvSpPr>
          <p:spPr>
            <a:xfrm>
              <a:off x="75057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2" name="Freeform 1191">
              <a:extLst>
                <a:ext uri="{FF2B5EF4-FFF2-40B4-BE49-F238E27FC236}">
                  <a16:creationId xmlns:a16="http://schemas.microsoft.com/office/drawing/2014/main" id="{B9AE20B8-1781-94E5-54E8-936EBA95ADD8}"/>
                </a:ext>
              </a:extLst>
            </p:cNvPr>
            <p:cNvSpPr/>
            <p:nvPr/>
          </p:nvSpPr>
          <p:spPr>
            <a:xfrm>
              <a:off x="750570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3" name="Freeform 1192">
              <a:extLst>
                <a:ext uri="{FF2B5EF4-FFF2-40B4-BE49-F238E27FC236}">
                  <a16:creationId xmlns:a16="http://schemas.microsoft.com/office/drawing/2014/main" id="{B8840F1E-616B-AA56-6960-983692269E61}"/>
                </a:ext>
              </a:extLst>
            </p:cNvPr>
            <p:cNvSpPr/>
            <p:nvPr/>
          </p:nvSpPr>
          <p:spPr>
            <a:xfrm>
              <a:off x="75057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4" name="Freeform 1193">
              <a:extLst>
                <a:ext uri="{FF2B5EF4-FFF2-40B4-BE49-F238E27FC236}">
                  <a16:creationId xmlns:a16="http://schemas.microsoft.com/office/drawing/2014/main" id="{F21A718A-94DF-5A5B-FB78-0976D719F492}"/>
                </a:ext>
              </a:extLst>
            </p:cNvPr>
            <p:cNvSpPr/>
            <p:nvPr/>
          </p:nvSpPr>
          <p:spPr>
            <a:xfrm>
              <a:off x="750570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5" name="Freeform 1194">
              <a:extLst>
                <a:ext uri="{FF2B5EF4-FFF2-40B4-BE49-F238E27FC236}">
                  <a16:creationId xmlns:a16="http://schemas.microsoft.com/office/drawing/2014/main" id="{9DE1B9D4-58A4-CB3B-2CF7-E78B1194573E}"/>
                </a:ext>
              </a:extLst>
            </p:cNvPr>
            <p:cNvSpPr/>
            <p:nvPr/>
          </p:nvSpPr>
          <p:spPr>
            <a:xfrm>
              <a:off x="75057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6" name="Freeform 1195">
              <a:extLst>
                <a:ext uri="{FF2B5EF4-FFF2-40B4-BE49-F238E27FC236}">
                  <a16:creationId xmlns:a16="http://schemas.microsoft.com/office/drawing/2014/main" id="{3BC2AF08-6C58-F71D-4905-375A787C7821}"/>
                </a:ext>
              </a:extLst>
            </p:cNvPr>
            <p:cNvSpPr/>
            <p:nvPr/>
          </p:nvSpPr>
          <p:spPr>
            <a:xfrm>
              <a:off x="7505700"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7" name="Freeform 1196">
              <a:extLst>
                <a:ext uri="{FF2B5EF4-FFF2-40B4-BE49-F238E27FC236}">
                  <a16:creationId xmlns:a16="http://schemas.microsoft.com/office/drawing/2014/main" id="{F914441B-A44A-CB3B-F9DE-0864F9EC2CB7}"/>
                </a:ext>
              </a:extLst>
            </p:cNvPr>
            <p:cNvSpPr/>
            <p:nvPr/>
          </p:nvSpPr>
          <p:spPr>
            <a:xfrm>
              <a:off x="750570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8" name="Freeform 1197">
              <a:extLst>
                <a:ext uri="{FF2B5EF4-FFF2-40B4-BE49-F238E27FC236}">
                  <a16:creationId xmlns:a16="http://schemas.microsoft.com/office/drawing/2014/main" id="{D644AD72-152F-ACCB-977F-ADE3401D3CA1}"/>
                </a:ext>
              </a:extLst>
            </p:cNvPr>
            <p:cNvSpPr/>
            <p:nvPr/>
          </p:nvSpPr>
          <p:spPr>
            <a:xfrm>
              <a:off x="750570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199" name="Freeform 1198">
              <a:extLst>
                <a:ext uri="{FF2B5EF4-FFF2-40B4-BE49-F238E27FC236}">
                  <a16:creationId xmlns:a16="http://schemas.microsoft.com/office/drawing/2014/main" id="{ABD08A41-DBAA-088A-2A5F-37A691DB3857}"/>
                </a:ext>
              </a:extLst>
            </p:cNvPr>
            <p:cNvSpPr/>
            <p:nvPr/>
          </p:nvSpPr>
          <p:spPr>
            <a:xfrm>
              <a:off x="75057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0" name="Freeform 1199">
              <a:extLst>
                <a:ext uri="{FF2B5EF4-FFF2-40B4-BE49-F238E27FC236}">
                  <a16:creationId xmlns:a16="http://schemas.microsoft.com/office/drawing/2014/main" id="{35392D1F-B157-BC54-F605-DB3F9ED09B54}"/>
                </a:ext>
              </a:extLst>
            </p:cNvPr>
            <p:cNvSpPr/>
            <p:nvPr/>
          </p:nvSpPr>
          <p:spPr>
            <a:xfrm>
              <a:off x="75057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1" name="Freeform 1200">
              <a:extLst>
                <a:ext uri="{FF2B5EF4-FFF2-40B4-BE49-F238E27FC236}">
                  <a16:creationId xmlns:a16="http://schemas.microsoft.com/office/drawing/2014/main" id="{91B2BA9A-63F7-7A26-A4D3-9AF8E39DE92F}"/>
                </a:ext>
              </a:extLst>
            </p:cNvPr>
            <p:cNvSpPr/>
            <p:nvPr/>
          </p:nvSpPr>
          <p:spPr>
            <a:xfrm>
              <a:off x="750570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2" name="Freeform 1201">
              <a:extLst>
                <a:ext uri="{FF2B5EF4-FFF2-40B4-BE49-F238E27FC236}">
                  <a16:creationId xmlns:a16="http://schemas.microsoft.com/office/drawing/2014/main" id="{132D6123-D4F2-9A56-D426-513BC743DDB2}"/>
                </a:ext>
              </a:extLst>
            </p:cNvPr>
            <p:cNvSpPr/>
            <p:nvPr/>
          </p:nvSpPr>
          <p:spPr>
            <a:xfrm>
              <a:off x="750570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3" name="Freeform 1202">
              <a:extLst>
                <a:ext uri="{FF2B5EF4-FFF2-40B4-BE49-F238E27FC236}">
                  <a16:creationId xmlns:a16="http://schemas.microsoft.com/office/drawing/2014/main" id="{FFB14AA9-0050-3BCD-DB09-7910F72A6CAA}"/>
                </a:ext>
              </a:extLst>
            </p:cNvPr>
            <p:cNvSpPr/>
            <p:nvPr/>
          </p:nvSpPr>
          <p:spPr>
            <a:xfrm>
              <a:off x="76104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4" name="Freeform 1203">
              <a:extLst>
                <a:ext uri="{FF2B5EF4-FFF2-40B4-BE49-F238E27FC236}">
                  <a16:creationId xmlns:a16="http://schemas.microsoft.com/office/drawing/2014/main" id="{7C74537E-5B35-D03A-5544-0FD70D89B2F2}"/>
                </a:ext>
              </a:extLst>
            </p:cNvPr>
            <p:cNvSpPr/>
            <p:nvPr/>
          </p:nvSpPr>
          <p:spPr>
            <a:xfrm>
              <a:off x="761047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5" name="Freeform 1204">
              <a:extLst>
                <a:ext uri="{FF2B5EF4-FFF2-40B4-BE49-F238E27FC236}">
                  <a16:creationId xmlns:a16="http://schemas.microsoft.com/office/drawing/2014/main" id="{62FF08E2-E470-9B4E-EF46-3743B41CAFE5}"/>
                </a:ext>
              </a:extLst>
            </p:cNvPr>
            <p:cNvSpPr/>
            <p:nvPr/>
          </p:nvSpPr>
          <p:spPr>
            <a:xfrm>
              <a:off x="76104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6" name="Freeform 1205">
              <a:extLst>
                <a:ext uri="{FF2B5EF4-FFF2-40B4-BE49-F238E27FC236}">
                  <a16:creationId xmlns:a16="http://schemas.microsoft.com/office/drawing/2014/main" id="{1B9358FF-3A56-86DC-19BB-1687D60FF7E4}"/>
                </a:ext>
              </a:extLst>
            </p:cNvPr>
            <p:cNvSpPr/>
            <p:nvPr/>
          </p:nvSpPr>
          <p:spPr>
            <a:xfrm>
              <a:off x="7610475"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7" name="Freeform 1206">
              <a:extLst>
                <a:ext uri="{FF2B5EF4-FFF2-40B4-BE49-F238E27FC236}">
                  <a16:creationId xmlns:a16="http://schemas.microsoft.com/office/drawing/2014/main" id="{A420857B-0CB1-C6BE-C053-F3DB954EA6FE}"/>
                </a:ext>
              </a:extLst>
            </p:cNvPr>
            <p:cNvSpPr/>
            <p:nvPr/>
          </p:nvSpPr>
          <p:spPr>
            <a:xfrm>
              <a:off x="761047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8" name="Freeform 1207">
              <a:extLst>
                <a:ext uri="{FF2B5EF4-FFF2-40B4-BE49-F238E27FC236}">
                  <a16:creationId xmlns:a16="http://schemas.microsoft.com/office/drawing/2014/main" id="{BBBA5EB5-7B95-CDC6-779A-91BB79812ECC}"/>
                </a:ext>
              </a:extLst>
            </p:cNvPr>
            <p:cNvSpPr/>
            <p:nvPr/>
          </p:nvSpPr>
          <p:spPr>
            <a:xfrm>
              <a:off x="7610475"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09" name="Freeform 1208">
              <a:extLst>
                <a:ext uri="{FF2B5EF4-FFF2-40B4-BE49-F238E27FC236}">
                  <a16:creationId xmlns:a16="http://schemas.microsoft.com/office/drawing/2014/main" id="{F10DBCDA-BDFA-AD8B-6C09-3B492D87A0A9}"/>
                </a:ext>
              </a:extLst>
            </p:cNvPr>
            <p:cNvSpPr/>
            <p:nvPr/>
          </p:nvSpPr>
          <p:spPr>
            <a:xfrm>
              <a:off x="76104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0" name="Freeform 1209">
              <a:extLst>
                <a:ext uri="{FF2B5EF4-FFF2-40B4-BE49-F238E27FC236}">
                  <a16:creationId xmlns:a16="http://schemas.microsoft.com/office/drawing/2014/main" id="{96C66E52-F1C1-5B8C-0DB1-26D5C28672C5}"/>
                </a:ext>
              </a:extLst>
            </p:cNvPr>
            <p:cNvSpPr/>
            <p:nvPr/>
          </p:nvSpPr>
          <p:spPr>
            <a:xfrm>
              <a:off x="7610475"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1" name="Freeform 1210">
              <a:extLst>
                <a:ext uri="{FF2B5EF4-FFF2-40B4-BE49-F238E27FC236}">
                  <a16:creationId xmlns:a16="http://schemas.microsoft.com/office/drawing/2014/main" id="{B6ED15F5-AC47-7C13-701B-C79B7175DEC0}"/>
                </a:ext>
              </a:extLst>
            </p:cNvPr>
            <p:cNvSpPr/>
            <p:nvPr/>
          </p:nvSpPr>
          <p:spPr>
            <a:xfrm>
              <a:off x="76104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2" name="Freeform 1211">
              <a:extLst>
                <a:ext uri="{FF2B5EF4-FFF2-40B4-BE49-F238E27FC236}">
                  <a16:creationId xmlns:a16="http://schemas.microsoft.com/office/drawing/2014/main" id="{54027A3A-F077-08D3-B2EF-EF6242A52B5B}"/>
                </a:ext>
              </a:extLst>
            </p:cNvPr>
            <p:cNvSpPr/>
            <p:nvPr/>
          </p:nvSpPr>
          <p:spPr>
            <a:xfrm>
              <a:off x="76104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3" name="Freeform 1212">
              <a:extLst>
                <a:ext uri="{FF2B5EF4-FFF2-40B4-BE49-F238E27FC236}">
                  <a16:creationId xmlns:a16="http://schemas.microsoft.com/office/drawing/2014/main" id="{103050DE-4993-6361-57D5-966373152C34}"/>
                </a:ext>
              </a:extLst>
            </p:cNvPr>
            <p:cNvSpPr/>
            <p:nvPr/>
          </p:nvSpPr>
          <p:spPr>
            <a:xfrm>
              <a:off x="76104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4" name="Freeform 1213">
              <a:extLst>
                <a:ext uri="{FF2B5EF4-FFF2-40B4-BE49-F238E27FC236}">
                  <a16:creationId xmlns:a16="http://schemas.microsoft.com/office/drawing/2014/main" id="{E46C48CD-75ED-F144-83CC-2F01E5FA6539}"/>
                </a:ext>
              </a:extLst>
            </p:cNvPr>
            <p:cNvSpPr/>
            <p:nvPr/>
          </p:nvSpPr>
          <p:spPr>
            <a:xfrm>
              <a:off x="76104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5" name="Freeform 1214">
              <a:extLst>
                <a:ext uri="{FF2B5EF4-FFF2-40B4-BE49-F238E27FC236}">
                  <a16:creationId xmlns:a16="http://schemas.microsoft.com/office/drawing/2014/main" id="{D4BC9D56-0568-20DF-4180-EC9BE23D2A2A}"/>
                </a:ext>
              </a:extLst>
            </p:cNvPr>
            <p:cNvSpPr/>
            <p:nvPr/>
          </p:nvSpPr>
          <p:spPr>
            <a:xfrm>
              <a:off x="7610475"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6" name="Freeform 1215">
              <a:extLst>
                <a:ext uri="{FF2B5EF4-FFF2-40B4-BE49-F238E27FC236}">
                  <a16:creationId xmlns:a16="http://schemas.microsoft.com/office/drawing/2014/main" id="{CA6A62BE-6B5F-C9E5-55BE-6902B6443750}"/>
                </a:ext>
              </a:extLst>
            </p:cNvPr>
            <p:cNvSpPr/>
            <p:nvPr/>
          </p:nvSpPr>
          <p:spPr>
            <a:xfrm>
              <a:off x="771525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7" name="Freeform 1216">
              <a:extLst>
                <a:ext uri="{FF2B5EF4-FFF2-40B4-BE49-F238E27FC236}">
                  <a16:creationId xmlns:a16="http://schemas.microsoft.com/office/drawing/2014/main" id="{AB08CD70-387C-2413-7B98-1C1997A6E825}"/>
                </a:ext>
              </a:extLst>
            </p:cNvPr>
            <p:cNvSpPr/>
            <p:nvPr/>
          </p:nvSpPr>
          <p:spPr>
            <a:xfrm>
              <a:off x="7715250" y="22193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8" name="Freeform 1217">
              <a:extLst>
                <a:ext uri="{FF2B5EF4-FFF2-40B4-BE49-F238E27FC236}">
                  <a16:creationId xmlns:a16="http://schemas.microsoft.com/office/drawing/2014/main" id="{773FF6BA-16E4-F940-C035-AC9C90D7F07A}"/>
                </a:ext>
              </a:extLst>
            </p:cNvPr>
            <p:cNvSpPr/>
            <p:nvPr/>
          </p:nvSpPr>
          <p:spPr>
            <a:xfrm>
              <a:off x="771525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19" name="Freeform 1218">
              <a:extLst>
                <a:ext uri="{FF2B5EF4-FFF2-40B4-BE49-F238E27FC236}">
                  <a16:creationId xmlns:a16="http://schemas.microsoft.com/office/drawing/2014/main" id="{09D39FC4-7F4F-9084-F20A-C96E6BF7D6E4}"/>
                </a:ext>
              </a:extLst>
            </p:cNvPr>
            <p:cNvSpPr/>
            <p:nvPr/>
          </p:nvSpPr>
          <p:spPr>
            <a:xfrm>
              <a:off x="77152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0" name="Freeform 1219">
              <a:extLst>
                <a:ext uri="{FF2B5EF4-FFF2-40B4-BE49-F238E27FC236}">
                  <a16:creationId xmlns:a16="http://schemas.microsoft.com/office/drawing/2014/main" id="{438D5384-6D86-613E-18A4-E733AEB97613}"/>
                </a:ext>
              </a:extLst>
            </p:cNvPr>
            <p:cNvSpPr/>
            <p:nvPr/>
          </p:nvSpPr>
          <p:spPr>
            <a:xfrm>
              <a:off x="771525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1" name="Freeform 1220">
              <a:extLst>
                <a:ext uri="{FF2B5EF4-FFF2-40B4-BE49-F238E27FC236}">
                  <a16:creationId xmlns:a16="http://schemas.microsoft.com/office/drawing/2014/main" id="{AFB07EEE-BAEF-1510-D6BE-856E2317E41A}"/>
                </a:ext>
              </a:extLst>
            </p:cNvPr>
            <p:cNvSpPr/>
            <p:nvPr/>
          </p:nvSpPr>
          <p:spPr>
            <a:xfrm>
              <a:off x="771525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2" name="Freeform 1221">
              <a:extLst>
                <a:ext uri="{FF2B5EF4-FFF2-40B4-BE49-F238E27FC236}">
                  <a16:creationId xmlns:a16="http://schemas.microsoft.com/office/drawing/2014/main" id="{27425224-C97B-751B-EE1D-4EDF39809F9B}"/>
                </a:ext>
              </a:extLst>
            </p:cNvPr>
            <p:cNvSpPr/>
            <p:nvPr/>
          </p:nvSpPr>
          <p:spPr>
            <a:xfrm>
              <a:off x="7715250"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3" name="Freeform 1222">
              <a:extLst>
                <a:ext uri="{FF2B5EF4-FFF2-40B4-BE49-F238E27FC236}">
                  <a16:creationId xmlns:a16="http://schemas.microsoft.com/office/drawing/2014/main" id="{4A3107A1-EE41-2A07-9C15-24B907F02CD7}"/>
                </a:ext>
              </a:extLst>
            </p:cNvPr>
            <p:cNvSpPr/>
            <p:nvPr/>
          </p:nvSpPr>
          <p:spPr>
            <a:xfrm>
              <a:off x="77152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4" name="Freeform 1223">
              <a:extLst>
                <a:ext uri="{FF2B5EF4-FFF2-40B4-BE49-F238E27FC236}">
                  <a16:creationId xmlns:a16="http://schemas.microsoft.com/office/drawing/2014/main" id="{6A417AA5-46BF-82FB-210F-70FF926F959C}"/>
                </a:ext>
              </a:extLst>
            </p:cNvPr>
            <p:cNvSpPr/>
            <p:nvPr/>
          </p:nvSpPr>
          <p:spPr>
            <a:xfrm>
              <a:off x="7715250"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5" name="Freeform 1224">
              <a:extLst>
                <a:ext uri="{FF2B5EF4-FFF2-40B4-BE49-F238E27FC236}">
                  <a16:creationId xmlns:a16="http://schemas.microsoft.com/office/drawing/2014/main" id="{35C0C7AB-804E-AE26-6D70-3854D9941491}"/>
                </a:ext>
              </a:extLst>
            </p:cNvPr>
            <p:cNvSpPr/>
            <p:nvPr/>
          </p:nvSpPr>
          <p:spPr>
            <a:xfrm>
              <a:off x="77152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6" name="Freeform 1225">
              <a:extLst>
                <a:ext uri="{FF2B5EF4-FFF2-40B4-BE49-F238E27FC236}">
                  <a16:creationId xmlns:a16="http://schemas.microsoft.com/office/drawing/2014/main" id="{D266D0F1-2852-5543-E6F6-A311F3D2FFD0}"/>
                </a:ext>
              </a:extLst>
            </p:cNvPr>
            <p:cNvSpPr/>
            <p:nvPr/>
          </p:nvSpPr>
          <p:spPr>
            <a:xfrm>
              <a:off x="77152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7" name="Freeform 1226">
              <a:extLst>
                <a:ext uri="{FF2B5EF4-FFF2-40B4-BE49-F238E27FC236}">
                  <a16:creationId xmlns:a16="http://schemas.microsoft.com/office/drawing/2014/main" id="{59741398-AFBB-B112-CB82-4A5B9AC64AF9}"/>
                </a:ext>
              </a:extLst>
            </p:cNvPr>
            <p:cNvSpPr/>
            <p:nvPr/>
          </p:nvSpPr>
          <p:spPr>
            <a:xfrm>
              <a:off x="77152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8" name="Freeform 1227">
              <a:extLst>
                <a:ext uri="{FF2B5EF4-FFF2-40B4-BE49-F238E27FC236}">
                  <a16:creationId xmlns:a16="http://schemas.microsoft.com/office/drawing/2014/main" id="{B959855E-053E-FDD0-9211-0ABD3A7F0370}"/>
                </a:ext>
              </a:extLst>
            </p:cNvPr>
            <p:cNvSpPr/>
            <p:nvPr/>
          </p:nvSpPr>
          <p:spPr>
            <a:xfrm>
              <a:off x="77152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29" name="Freeform 1228">
              <a:extLst>
                <a:ext uri="{FF2B5EF4-FFF2-40B4-BE49-F238E27FC236}">
                  <a16:creationId xmlns:a16="http://schemas.microsoft.com/office/drawing/2014/main" id="{1A455A18-427D-1B21-0E61-85A35322E634}"/>
                </a:ext>
              </a:extLst>
            </p:cNvPr>
            <p:cNvSpPr/>
            <p:nvPr/>
          </p:nvSpPr>
          <p:spPr>
            <a:xfrm>
              <a:off x="7715250"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0" name="Freeform 1229">
              <a:extLst>
                <a:ext uri="{FF2B5EF4-FFF2-40B4-BE49-F238E27FC236}">
                  <a16:creationId xmlns:a16="http://schemas.microsoft.com/office/drawing/2014/main" id="{E09EDE02-FA36-6117-8103-932CFECD9371}"/>
                </a:ext>
              </a:extLst>
            </p:cNvPr>
            <p:cNvSpPr/>
            <p:nvPr/>
          </p:nvSpPr>
          <p:spPr>
            <a:xfrm>
              <a:off x="771525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1" name="Freeform 1230">
              <a:extLst>
                <a:ext uri="{FF2B5EF4-FFF2-40B4-BE49-F238E27FC236}">
                  <a16:creationId xmlns:a16="http://schemas.microsoft.com/office/drawing/2014/main" id="{159D5E1D-77F8-6FE3-ADE4-E51267EAF767}"/>
                </a:ext>
              </a:extLst>
            </p:cNvPr>
            <p:cNvSpPr/>
            <p:nvPr/>
          </p:nvSpPr>
          <p:spPr>
            <a:xfrm>
              <a:off x="771525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2" name="Freeform 1231">
              <a:extLst>
                <a:ext uri="{FF2B5EF4-FFF2-40B4-BE49-F238E27FC236}">
                  <a16:creationId xmlns:a16="http://schemas.microsoft.com/office/drawing/2014/main" id="{87AE0532-20B3-B15E-59C4-25FD9A1D0280}"/>
                </a:ext>
              </a:extLst>
            </p:cNvPr>
            <p:cNvSpPr/>
            <p:nvPr/>
          </p:nvSpPr>
          <p:spPr>
            <a:xfrm>
              <a:off x="77152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3" name="Freeform 1232">
              <a:extLst>
                <a:ext uri="{FF2B5EF4-FFF2-40B4-BE49-F238E27FC236}">
                  <a16:creationId xmlns:a16="http://schemas.microsoft.com/office/drawing/2014/main" id="{3DF5B9EC-DB1C-CC56-F260-8CB36BEAE77F}"/>
                </a:ext>
              </a:extLst>
            </p:cNvPr>
            <p:cNvSpPr/>
            <p:nvPr/>
          </p:nvSpPr>
          <p:spPr>
            <a:xfrm>
              <a:off x="77152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4" name="Freeform 1233">
              <a:extLst>
                <a:ext uri="{FF2B5EF4-FFF2-40B4-BE49-F238E27FC236}">
                  <a16:creationId xmlns:a16="http://schemas.microsoft.com/office/drawing/2014/main" id="{78DD2A9C-73AB-38BC-34A6-399BD98279EF}"/>
                </a:ext>
              </a:extLst>
            </p:cNvPr>
            <p:cNvSpPr/>
            <p:nvPr/>
          </p:nvSpPr>
          <p:spPr>
            <a:xfrm>
              <a:off x="77152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5" name="Freeform 1234">
              <a:extLst>
                <a:ext uri="{FF2B5EF4-FFF2-40B4-BE49-F238E27FC236}">
                  <a16:creationId xmlns:a16="http://schemas.microsoft.com/office/drawing/2014/main" id="{64397C0A-693E-A783-D009-B29C1B9479FD}"/>
                </a:ext>
              </a:extLst>
            </p:cNvPr>
            <p:cNvSpPr/>
            <p:nvPr/>
          </p:nvSpPr>
          <p:spPr>
            <a:xfrm>
              <a:off x="7715250"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6" name="Freeform 1235">
              <a:extLst>
                <a:ext uri="{FF2B5EF4-FFF2-40B4-BE49-F238E27FC236}">
                  <a16:creationId xmlns:a16="http://schemas.microsoft.com/office/drawing/2014/main" id="{FC6716F3-706E-2DD8-8F09-BDA75DF2EF36}"/>
                </a:ext>
              </a:extLst>
            </p:cNvPr>
            <p:cNvSpPr/>
            <p:nvPr/>
          </p:nvSpPr>
          <p:spPr>
            <a:xfrm>
              <a:off x="7715250" y="54673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7" name="Freeform 1236">
              <a:extLst>
                <a:ext uri="{FF2B5EF4-FFF2-40B4-BE49-F238E27FC236}">
                  <a16:creationId xmlns:a16="http://schemas.microsoft.com/office/drawing/2014/main" id="{F8153B25-E569-A7A7-0C93-29F21E74E713}"/>
                </a:ext>
              </a:extLst>
            </p:cNvPr>
            <p:cNvSpPr/>
            <p:nvPr/>
          </p:nvSpPr>
          <p:spPr>
            <a:xfrm>
              <a:off x="782002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8" name="Freeform 1237">
              <a:extLst>
                <a:ext uri="{FF2B5EF4-FFF2-40B4-BE49-F238E27FC236}">
                  <a16:creationId xmlns:a16="http://schemas.microsoft.com/office/drawing/2014/main" id="{21A282FD-9ACA-0C9D-20BF-71DC15A2F19D}"/>
                </a:ext>
              </a:extLst>
            </p:cNvPr>
            <p:cNvSpPr/>
            <p:nvPr/>
          </p:nvSpPr>
          <p:spPr>
            <a:xfrm>
              <a:off x="7820025"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39" name="Freeform 1238">
              <a:extLst>
                <a:ext uri="{FF2B5EF4-FFF2-40B4-BE49-F238E27FC236}">
                  <a16:creationId xmlns:a16="http://schemas.microsoft.com/office/drawing/2014/main" id="{1FD369EA-149B-21D5-5A4A-671C65C40C93}"/>
                </a:ext>
              </a:extLst>
            </p:cNvPr>
            <p:cNvSpPr/>
            <p:nvPr/>
          </p:nvSpPr>
          <p:spPr>
            <a:xfrm>
              <a:off x="7820025"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0" name="Freeform 1239">
              <a:extLst>
                <a:ext uri="{FF2B5EF4-FFF2-40B4-BE49-F238E27FC236}">
                  <a16:creationId xmlns:a16="http://schemas.microsoft.com/office/drawing/2014/main" id="{E05B96A2-63E0-04B8-1EEA-C1F2407DF7E5}"/>
                </a:ext>
              </a:extLst>
            </p:cNvPr>
            <p:cNvSpPr/>
            <p:nvPr/>
          </p:nvSpPr>
          <p:spPr>
            <a:xfrm>
              <a:off x="782002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1" name="Freeform 1240">
              <a:extLst>
                <a:ext uri="{FF2B5EF4-FFF2-40B4-BE49-F238E27FC236}">
                  <a16:creationId xmlns:a16="http://schemas.microsoft.com/office/drawing/2014/main" id="{5B3E59E6-AB71-1AEC-DD8D-BA350F969F9B}"/>
                </a:ext>
              </a:extLst>
            </p:cNvPr>
            <p:cNvSpPr/>
            <p:nvPr/>
          </p:nvSpPr>
          <p:spPr>
            <a:xfrm>
              <a:off x="7820025"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2" name="Freeform 1241">
              <a:extLst>
                <a:ext uri="{FF2B5EF4-FFF2-40B4-BE49-F238E27FC236}">
                  <a16:creationId xmlns:a16="http://schemas.microsoft.com/office/drawing/2014/main" id="{1ACA16FC-97EB-F8FE-59F8-1CC1A7537D1B}"/>
                </a:ext>
              </a:extLst>
            </p:cNvPr>
            <p:cNvSpPr/>
            <p:nvPr/>
          </p:nvSpPr>
          <p:spPr>
            <a:xfrm>
              <a:off x="782002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3" name="Freeform 1242">
              <a:extLst>
                <a:ext uri="{FF2B5EF4-FFF2-40B4-BE49-F238E27FC236}">
                  <a16:creationId xmlns:a16="http://schemas.microsoft.com/office/drawing/2014/main" id="{76392286-CE05-429B-8DDD-FD0E969E772F}"/>
                </a:ext>
              </a:extLst>
            </p:cNvPr>
            <p:cNvSpPr/>
            <p:nvPr/>
          </p:nvSpPr>
          <p:spPr>
            <a:xfrm>
              <a:off x="782002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4" name="Freeform 1243">
              <a:extLst>
                <a:ext uri="{FF2B5EF4-FFF2-40B4-BE49-F238E27FC236}">
                  <a16:creationId xmlns:a16="http://schemas.microsoft.com/office/drawing/2014/main" id="{342CC27F-C355-55BE-B870-85C283DA508D}"/>
                </a:ext>
              </a:extLst>
            </p:cNvPr>
            <p:cNvSpPr/>
            <p:nvPr/>
          </p:nvSpPr>
          <p:spPr>
            <a:xfrm>
              <a:off x="7820025"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5" name="Freeform 1244">
              <a:extLst>
                <a:ext uri="{FF2B5EF4-FFF2-40B4-BE49-F238E27FC236}">
                  <a16:creationId xmlns:a16="http://schemas.microsoft.com/office/drawing/2014/main" id="{126282FF-6FA3-D406-8225-A440D48874B4}"/>
                </a:ext>
              </a:extLst>
            </p:cNvPr>
            <p:cNvSpPr/>
            <p:nvPr/>
          </p:nvSpPr>
          <p:spPr>
            <a:xfrm>
              <a:off x="7820025"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6" name="Freeform 1245">
              <a:extLst>
                <a:ext uri="{FF2B5EF4-FFF2-40B4-BE49-F238E27FC236}">
                  <a16:creationId xmlns:a16="http://schemas.microsoft.com/office/drawing/2014/main" id="{3CA1486B-D654-F52A-E823-A99D513DA621}"/>
                </a:ext>
              </a:extLst>
            </p:cNvPr>
            <p:cNvSpPr/>
            <p:nvPr/>
          </p:nvSpPr>
          <p:spPr>
            <a:xfrm>
              <a:off x="782002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7" name="Freeform 1246">
              <a:extLst>
                <a:ext uri="{FF2B5EF4-FFF2-40B4-BE49-F238E27FC236}">
                  <a16:creationId xmlns:a16="http://schemas.microsoft.com/office/drawing/2014/main" id="{57E91A08-A466-CD31-DA02-4970A3EB49AB}"/>
                </a:ext>
              </a:extLst>
            </p:cNvPr>
            <p:cNvSpPr/>
            <p:nvPr/>
          </p:nvSpPr>
          <p:spPr>
            <a:xfrm>
              <a:off x="7820025"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8" name="Freeform 1247">
              <a:extLst>
                <a:ext uri="{FF2B5EF4-FFF2-40B4-BE49-F238E27FC236}">
                  <a16:creationId xmlns:a16="http://schemas.microsoft.com/office/drawing/2014/main" id="{D2D73B81-323D-237B-0376-E7F34E5CC67F}"/>
                </a:ext>
              </a:extLst>
            </p:cNvPr>
            <p:cNvSpPr/>
            <p:nvPr/>
          </p:nvSpPr>
          <p:spPr>
            <a:xfrm>
              <a:off x="782002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49" name="Freeform 1248">
              <a:extLst>
                <a:ext uri="{FF2B5EF4-FFF2-40B4-BE49-F238E27FC236}">
                  <a16:creationId xmlns:a16="http://schemas.microsoft.com/office/drawing/2014/main" id="{92D03245-6363-83AE-E28E-DF98498044DA}"/>
                </a:ext>
              </a:extLst>
            </p:cNvPr>
            <p:cNvSpPr/>
            <p:nvPr/>
          </p:nvSpPr>
          <p:spPr>
            <a:xfrm>
              <a:off x="7820025"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0" name="Freeform 1249">
              <a:extLst>
                <a:ext uri="{FF2B5EF4-FFF2-40B4-BE49-F238E27FC236}">
                  <a16:creationId xmlns:a16="http://schemas.microsoft.com/office/drawing/2014/main" id="{6430ADD6-150C-0D8F-1DB0-2011CFBBD5AF}"/>
                </a:ext>
              </a:extLst>
            </p:cNvPr>
            <p:cNvSpPr/>
            <p:nvPr/>
          </p:nvSpPr>
          <p:spPr>
            <a:xfrm>
              <a:off x="7820025"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1" name="Freeform 1250">
              <a:extLst>
                <a:ext uri="{FF2B5EF4-FFF2-40B4-BE49-F238E27FC236}">
                  <a16:creationId xmlns:a16="http://schemas.microsoft.com/office/drawing/2014/main" id="{5C7B7198-FB23-56E9-8EAB-2285EEC3EC85}"/>
                </a:ext>
              </a:extLst>
            </p:cNvPr>
            <p:cNvSpPr/>
            <p:nvPr/>
          </p:nvSpPr>
          <p:spPr>
            <a:xfrm>
              <a:off x="7820025"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2" name="Freeform 1251">
              <a:extLst>
                <a:ext uri="{FF2B5EF4-FFF2-40B4-BE49-F238E27FC236}">
                  <a16:creationId xmlns:a16="http://schemas.microsoft.com/office/drawing/2014/main" id="{434EF52A-6102-29BB-E9F4-036F220AEE0E}"/>
                </a:ext>
              </a:extLst>
            </p:cNvPr>
            <p:cNvSpPr/>
            <p:nvPr/>
          </p:nvSpPr>
          <p:spPr>
            <a:xfrm>
              <a:off x="782002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3" name="Freeform 1252">
              <a:extLst>
                <a:ext uri="{FF2B5EF4-FFF2-40B4-BE49-F238E27FC236}">
                  <a16:creationId xmlns:a16="http://schemas.microsoft.com/office/drawing/2014/main" id="{D34FE013-C253-2F16-EC76-DC72D812BA53}"/>
                </a:ext>
              </a:extLst>
            </p:cNvPr>
            <p:cNvSpPr/>
            <p:nvPr/>
          </p:nvSpPr>
          <p:spPr>
            <a:xfrm>
              <a:off x="7924800"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4" name="Freeform 1253">
              <a:extLst>
                <a:ext uri="{FF2B5EF4-FFF2-40B4-BE49-F238E27FC236}">
                  <a16:creationId xmlns:a16="http://schemas.microsoft.com/office/drawing/2014/main" id="{7D02BE5E-E727-F59D-22BC-FE08C5B6F068}"/>
                </a:ext>
              </a:extLst>
            </p:cNvPr>
            <p:cNvSpPr/>
            <p:nvPr/>
          </p:nvSpPr>
          <p:spPr>
            <a:xfrm>
              <a:off x="7924800" y="23241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5" name="Freeform 1254">
              <a:extLst>
                <a:ext uri="{FF2B5EF4-FFF2-40B4-BE49-F238E27FC236}">
                  <a16:creationId xmlns:a16="http://schemas.microsoft.com/office/drawing/2014/main" id="{4CCAFFC9-348F-E7C1-DBEE-53D07DD7905E}"/>
                </a:ext>
              </a:extLst>
            </p:cNvPr>
            <p:cNvSpPr/>
            <p:nvPr/>
          </p:nvSpPr>
          <p:spPr>
            <a:xfrm>
              <a:off x="7924800" y="24288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6" name="Freeform 1255">
              <a:extLst>
                <a:ext uri="{FF2B5EF4-FFF2-40B4-BE49-F238E27FC236}">
                  <a16:creationId xmlns:a16="http://schemas.microsoft.com/office/drawing/2014/main" id="{C2CD95F8-515D-6D5C-26F2-4134C564C4B2}"/>
                </a:ext>
              </a:extLst>
            </p:cNvPr>
            <p:cNvSpPr/>
            <p:nvPr/>
          </p:nvSpPr>
          <p:spPr>
            <a:xfrm>
              <a:off x="7924800" y="25336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7" name="Freeform 1256">
              <a:extLst>
                <a:ext uri="{FF2B5EF4-FFF2-40B4-BE49-F238E27FC236}">
                  <a16:creationId xmlns:a16="http://schemas.microsoft.com/office/drawing/2014/main" id="{8B09BDA5-59F5-2705-C2F7-F66853241D69}"/>
                </a:ext>
              </a:extLst>
            </p:cNvPr>
            <p:cNvSpPr/>
            <p:nvPr/>
          </p:nvSpPr>
          <p:spPr>
            <a:xfrm>
              <a:off x="792480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8" name="Freeform 1257">
              <a:extLst>
                <a:ext uri="{FF2B5EF4-FFF2-40B4-BE49-F238E27FC236}">
                  <a16:creationId xmlns:a16="http://schemas.microsoft.com/office/drawing/2014/main" id="{6F9D8AB1-40E4-591E-B805-703C9B43B247}"/>
                </a:ext>
              </a:extLst>
            </p:cNvPr>
            <p:cNvSpPr/>
            <p:nvPr/>
          </p:nvSpPr>
          <p:spPr>
            <a:xfrm>
              <a:off x="7924800"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59" name="Freeform 1258">
              <a:extLst>
                <a:ext uri="{FF2B5EF4-FFF2-40B4-BE49-F238E27FC236}">
                  <a16:creationId xmlns:a16="http://schemas.microsoft.com/office/drawing/2014/main" id="{EB6DA5C4-A057-775B-C05C-2A6902D341EE}"/>
                </a:ext>
              </a:extLst>
            </p:cNvPr>
            <p:cNvSpPr/>
            <p:nvPr/>
          </p:nvSpPr>
          <p:spPr>
            <a:xfrm>
              <a:off x="7924800"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0" name="Freeform 1259">
              <a:extLst>
                <a:ext uri="{FF2B5EF4-FFF2-40B4-BE49-F238E27FC236}">
                  <a16:creationId xmlns:a16="http://schemas.microsoft.com/office/drawing/2014/main" id="{404251E4-7CE8-CD12-3835-0BCF3870BFAA}"/>
                </a:ext>
              </a:extLst>
            </p:cNvPr>
            <p:cNvSpPr/>
            <p:nvPr/>
          </p:nvSpPr>
          <p:spPr>
            <a:xfrm>
              <a:off x="7924800"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1" name="Freeform 1260">
              <a:extLst>
                <a:ext uri="{FF2B5EF4-FFF2-40B4-BE49-F238E27FC236}">
                  <a16:creationId xmlns:a16="http://schemas.microsoft.com/office/drawing/2014/main" id="{72807444-6C2C-B9C0-5A2C-7166289AB498}"/>
                </a:ext>
              </a:extLst>
            </p:cNvPr>
            <p:cNvSpPr/>
            <p:nvPr/>
          </p:nvSpPr>
          <p:spPr>
            <a:xfrm>
              <a:off x="792480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2" name="Freeform 1261">
              <a:extLst>
                <a:ext uri="{FF2B5EF4-FFF2-40B4-BE49-F238E27FC236}">
                  <a16:creationId xmlns:a16="http://schemas.microsoft.com/office/drawing/2014/main" id="{CF953F31-B816-479B-7BF7-3E9C5EEFABCF}"/>
                </a:ext>
              </a:extLst>
            </p:cNvPr>
            <p:cNvSpPr/>
            <p:nvPr/>
          </p:nvSpPr>
          <p:spPr>
            <a:xfrm>
              <a:off x="792480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3" name="Freeform 1262">
              <a:extLst>
                <a:ext uri="{FF2B5EF4-FFF2-40B4-BE49-F238E27FC236}">
                  <a16:creationId xmlns:a16="http://schemas.microsoft.com/office/drawing/2014/main" id="{855A5AAD-F4CC-4E67-B5BE-E4205D9CEA56}"/>
                </a:ext>
              </a:extLst>
            </p:cNvPr>
            <p:cNvSpPr/>
            <p:nvPr/>
          </p:nvSpPr>
          <p:spPr>
            <a:xfrm>
              <a:off x="792480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4" name="Freeform 1263">
              <a:extLst>
                <a:ext uri="{FF2B5EF4-FFF2-40B4-BE49-F238E27FC236}">
                  <a16:creationId xmlns:a16="http://schemas.microsoft.com/office/drawing/2014/main" id="{B6B47045-BAC1-92D4-72A9-3CAD5833D46C}"/>
                </a:ext>
              </a:extLst>
            </p:cNvPr>
            <p:cNvSpPr/>
            <p:nvPr/>
          </p:nvSpPr>
          <p:spPr>
            <a:xfrm>
              <a:off x="792480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5" name="Freeform 1264">
              <a:extLst>
                <a:ext uri="{FF2B5EF4-FFF2-40B4-BE49-F238E27FC236}">
                  <a16:creationId xmlns:a16="http://schemas.microsoft.com/office/drawing/2014/main" id="{60780F1A-7470-6F30-9051-A4B7741A4F37}"/>
                </a:ext>
              </a:extLst>
            </p:cNvPr>
            <p:cNvSpPr/>
            <p:nvPr/>
          </p:nvSpPr>
          <p:spPr>
            <a:xfrm>
              <a:off x="792480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6" name="Freeform 1265">
              <a:extLst>
                <a:ext uri="{FF2B5EF4-FFF2-40B4-BE49-F238E27FC236}">
                  <a16:creationId xmlns:a16="http://schemas.microsoft.com/office/drawing/2014/main" id="{00BCE13D-F858-A740-A469-38E8D2FCC48D}"/>
                </a:ext>
              </a:extLst>
            </p:cNvPr>
            <p:cNvSpPr/>
            <p:nvPr/>
          </p:nvSpPr>
          <p:spPr>
            <a:xfrm>
              <a:off x="7924800" y="47339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7" name="Freeform 1266">
              <a:extLst>
                <a:ext uri="{FF2B5EF4-FFF2-40B4-BE49-F238E27FC236}">
                  <a16:creationId xmlns:a16="http://schemas.microsoft.com/office/drawing/2014/main" id="{B1291853-3CE2-E8D1-90E1-EB4B3488DBBB}"/>
                </a:ext>
              </a:extLst>
            </p:cNvPr>
            <p:cNvSpPr/>
            <p:nvPr/>
          </p:nvSpPr>
          <p:spPr>
            <a:xfrm>
              <a:off x="7924800" y="48387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8" name="Freeform 1267">
              <a:extLst>
                <a:ext uri="{FF2B5EF4-FFF2-40B4-BE49-F238E27FC236}">
                  <a16:creationId xmlns:a16="http://schemas.microsoft.com/office/drawing/2014/main" id="{E2FDDC89-6151-47F1-FD92-E7D436FE699E}"/>
                </a:ext>
              </a:extLst>
            </p:cNvPr>
            <p:cNvSpPr/>
            <p:nvPr/>
          </p:nvSpPr>
          <p:spPr>
            <a:xfrm>
              <a:off x="792480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69" name="Freeform 1268">
              <a:extLst>
                <a:ext uri="{FF2B5EF4-FFF2-40B4-BE49-F238E27FC236}">
                  <a16:creationId xmlns:a16="http://schemas.microsoft.com/office/drawing/2014/main" id="{0E93623E-B94E-7217-CE67-DE832644297B}"/>
                </a:ext>
              </a:extLst>
            </p:cNvPr>
            <p:cNvSpPr/>
            <p:nvPr/>
          </p:nvSpPr>
          <p:spPr>
            <a:xfrm>
              <a:off x="792480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0" name="Freeform 1269">
              <a:extLst>
                <a:ext uri="{FF2B5EF4-FFF2-40B4-BE49-F238E27FC236}">
                  <a16:creationId xmlns:a16="http://schemas.microsoft.com/office/drawing/2014/main" id="{D090C7D0-2353-C548-3387-24D1A4F6C319}"/>
                </a:ext>
              </a:extLst>
            </p:cNvPr>
            <p:cNvSpPr/>
            <p:nvPr/>
          </p:nvSpPr>
          <p:spPr>
            <a:xfrm>
              <a:off x="7924800" y="51530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1" name="Freeform 1270">
              <a:extLst>
                <a:ext uri="{FF2B5EF4-FFF2-40B4-BE49-F238E27FC236}">
                  <a16:creationId xmlns:a16="http://schemas.microsoft.com/office/drawing/2014/main" id="{75FF0E80-609F-A2B8-01C9-E14DD610163C}"/>
                </a:ext>
              </a:extLst>
            </p:cNvPr>
            <p:cNvSpPr/>
            <p:nvPr/>
          </p:nvSpPr>
          <p:spPr>
            <a:xfrm>
              <a:off x="8029575" y="21145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2" name="Freeform 1271">
              <a:extLst>
                <a:ext uri="{FF2B5EF4-FFF2-40B4-BE49-F238E27FC236}">
                  <a16:creationId xmlns:a16="http://schemas.microsoft.com/office/drawing/2014/main" id="{C069BBA3-A2F9-E5C2-0471-89738A59FC0A}"/>
                </a:ext>
              </a:extLst>
            </p:cNvPr>
            <p:cNvSpPr/>
            <p:nvPr/>
          </p:nvSpPr>
          <p:spPr>
            <a:xfrm>
              <a:off x="8029575"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3" name="Freeform 1272">
              <a:extLst>
                <a:ext uri="{FF2B5EF4-FFF2-40B4-BE49-F238E27FC236}">
                  <a16:creationId xmlns:a16="http://schemas.microsoft.com/office/drawing/2014/main" id="{13C7E2F8-1520-D179-208E-6149F06F025C}"/>
                </a:ext>
              </a:extLst>
            </p:cNvPr>
            <p:cNvSpPr/>
            <p:nvPr/>
          </p:nvSpPr>
          <p:spPr>
            <a:xfrm>
              <a:off x="8029575" y="29527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4" name="Freeform 1273">
              <a:extLst>
                <a:ext uri="{FF2B5EF4-FFF2-40B4-BE49-F238E27FC236}">
                  <a16:creationId xmlns:a16="http://schemas.microsoft.com/office/drawing/2014/main" id="{3AD827E5-FF2E-AAF6-A410-F00C9DA35F2E}"/>
                </a:ext>
              </a:extLst>
            </p:cNvPr>
            <p:cNvSpPr/>
            <p:nvPr/>
          </p:nvSpPr>
          <p:spPr>
            <a:xfrm>
              <a:off x="8029575" y="31623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5" name="Freeform 1274">
              <a:extLst>
                <a:ext uri="{FF2B5EF4-FFF2-40B4-BE49-F238E27FC236}">
                  <a16:creationId xmlns:a16="http://schemas.microsoft.com/office/drawing/2014/main" id="{E3AA3F9D-8C36-9821-9643-8E5CFF3A00B4}"/>
                </a:ext>
              </a:extLst>
            </p:cNvPr>
            <p:cNvSpPr/>
            <p:nvPr/>
          </p:nvSpPr>
          <p:spPr>
            <a:xfrm>
              <a:off x="8029575" y="32670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6" name="Freeform 1275">
              <a:extLst>
                <a:ext uri="{FF2B5EF4-FFF2-40B4-BE49-F238E27FC236}">
                  <a16:creationId xmlns:a16="http://schemas.microsoft.com/office/drawing/2014/main" id="{1EA48560-1FCA-F223-863F-D98E1C67441C}"/>
                </a:ext>
              </a:extLst>
            </p:cNvPr>
            <p:cNvSpPr/>
            <p:nvPr/>
          </p:nvSpPr>
          <p:spPr>
            <a:xfrm>
              <a:off x="8029575" y="33718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7" name="Freeform 1276">
              <a:extLst>
                <a:ext uri="{FF2B5EF4-FFF2-40B4-BE49-F238E27FC236}">
                  <a16:creationId xmlns:a16="http://schemas.microsoft.com/office/drawing/2014/main" id="{536AFA49-F12B-0888-83F1-4A136F44C87A}"/>
                </a:ext>
              </a:extLst>
            </p:cNvPr>
            <p:cNvSpPr/>
            <p:nvPr/>
          </p:nvSpPr>
          <p:spPr>
            <a:xfrm>
              <a:off x="8029575" y="35814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8" name="Freeform 1277">
              <a:extLst>
                <a:ext uri="{FF2B5EF4-FFF2-40B4-BE49-F238E27FC236}">
                  <a16:creationId xmlns:a16="http://schemas.microsoft.com/office/drawing/2014/main" id="{36DE8B2C-5FAC-7E82-3C31-19CAFCFB9EE3}"/>
                </a:ext>
              </a:extLst>
            </p:cNvPr>
            <p:cNvSpPr/>
            <p:nvPr/>
          </p:nvSpPr>
          <p:spPr>
            <a:xfrm>
              <a:off x="8029575" y="42100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79" name="Freeform 1278">
              <a:extLst>
                <a:ext uri="{FF2B5EF4-FFF2-40B4-BE49-F238E27FC236}">
                  <a16:creationId xmlns:a16="http://schemas.microsoft.com/office/drawing/2014/main" id="{1B97A303-EC28-F238-0CA6-7422C83765CD}"/>
                </a:ext>
              </a:extLst>
            </p:cNvPr>
            <p:cNvSpPr/>
            <p:nvPr/>
          </p:nvSpPr>
          <p:spPr>
            <a:xfrm>
              <a:off x="8029575"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0" name="Freeform 1279">
              <a:extLst>
                <a:ext uri="{FF2B5EF4-FFF2-40B4-BE49-F238E27FC236}">
                  <a16:creationId xmlns:a16="http://schemas.microsoft.com/office/drawing/2014/main" id="{A912D194-E0C7-7E40-6773-D66FC7D3AD05}"/>
                </a:ext>
              </a:extLst>
            </p:cNvPr>
            <p:cNvSpPr/>
            <p:nvPr/>
          </p:nvSpPr>
          <p:spPr>
            <a:xfrm>
              <a:off x="8029575" y="46291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1" name="Freeform 1280">
              <a:extLst>
                <a:ext uri="{FF2B5EF4-FFF2-40B4-BE49-F238E27FC236}">
                  <a16:creationId xmlns:a16="http://schemas.microsoft.com/office/drawing/2014/main" id="{C174F7A1-5D18-4AF1-32C7-F07B792DA326}"/>
                </a:ext>
              </a:extLst>
            </p:cNvPr>
            <p:cNvSpPr/>
            <p:nvPr/>
          </p:nvSpPr>
          <p:spPr>
            <a:xfrm>
              <a:off x="8029575"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2" name="Freeform 1281">
              <a:extLst>
                <a:ext uri="{FF2B5EF4-FFF2-40B4-BE49-F238E27FC236}">
                  <a16:creationId xmlns:a16="http://schemas.microsoft.com/office/drawing/2014/main" id="{4622AA77-11B0-D927-D731-9A825B9A75D2}"/>
                </a:ext>
              </a:extLst>
            </p:cNvPr>
            <p:cNvSpPr/>
            <p:nvPr/>
          </p:nvSpPr>
          <p:spPr>
            <a:xfrm>
              <a:off x="8029575" y="53625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3" name="Freeform 1282">
              <a:extLst>
                <a:ext uri="{FF2B5EF4-FFF2-40B4-BE49-F238E27FC236}">
                  <a16:creationId xmlns:a16="http://schemas.microsoft.com/office/drawing/2014/main" id="{6C8811F7-0F32-6255-D9F7-D901071D7EF6}"/>
                </a:ext>
              </a:extLst>
            </p:cNvPr>
            <p:cNvSpPr/>
            <p:nvPr/>
          </p:nvSpPr>
          <p:spPr>
            <a:xfrm>
              <a:off x="8134350" y="26384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4" name="Freeform 1283">
              <a:extLst>
                <a:ext uri="{FF2B5EF4-FFF2-40B4-BE49-F238E27FC236}">
                  <a16:creationId xmlns:a16="http://schemas.microsoft.com/office/drawing/2014/main" id="{2DC00572-CEC5-8FD7-6EAF-CF4D525D473E}"/>
                </a:ext>
              </a:extLst>
            </p:cNvPr>
            <p:cNvSpPr/>
            <p:nvPr/>
          </p:nvSpPr>
          <p:spPr>
            <a:xfrm>
              <a:off x="8134350" y="27432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5" name="Freeform 1284">
              <a:extLst>
                <a:ext uri="{FF2B5EF4-FFF2-40B4-BE49-F238E27FC236}">
                  <a16:creationId xmlns:a16="http://schemas.microsoft.com/office/drawing/2014/main" id="{E0D08111-0963-ADD3-3E33-620715CA41E6}"/>
                </a:ext>
              </a:extLst>
            </p:cNvPr>
            <p:cNvSpPr/>
            <p:nvPr/>
          </p:nvSpPr>
          <p:spPr>
            <a:xfrm>
              <a:off x="8134350" y="28479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6" name="Freeform 1285">
              <a:extLst>
                <a:ext uri="{FF2B5EF4-FFF2-40B4-BE49-F238E27FC236}">
                  <a16:creationId xmlns:a16="http://schemas.microsoft.com/office/drawing/2014/main" id="{307A7854-5239-CCE8-8AF3-9EA3251FEACB}"/>
                </a:ext>
              </a:extLst>
            </p:cNvPr>
            <p:cNvSpPr/>
            <p:nvPr/>
          </p:nvSpPr>
          <p:spPr>
            <a:xfrm>
              <a:off x="8134350" y="30575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7" name="Freeform 1286">
              <a:extLst>
                <a:ext uri="{FF2B5EF4-FFF2-40B4-BE49-F238E27FC236}">
                  <a16:creationId xmlns:a16="http://schemas.microsoft.com/office/drawing/2014/main" id="{8F12B65F-75BE-D405-F195-615B652BD0E0}"/>
                </a:ext>
              </a:extLst>
            </p:cNvPr>
            <p:cNvSpPr/>
            <p:nvPr/>
          </p:nvSpPr>
          <p:spPr>
            <a:xfrm>
              <a:off x="8134350" y="34766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8" name="Freeform 1287">
              <a:extLst>
                <a:ext uri="{FF2B5EF4-FFF2-40B4-BE49-F238E27FC236}">
                  <a16:creationId xmlns:a16="http://schemas.microsoft.com/office/drawing/2014/main" id="{3C0E8CA1-3BE5-8E67-01DE-6E7C386802C3}"/>
                </a:ext>
              </a:extLst>
            </p:cNvPr>
            <p:cNvSpPr/>
            <p:nvPr/>
          </p:nvSpPr>
          <p:spPr>
            <a:xfrm>
              <a:off x="8134350" y="36861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89" name="Freeform 1288">
              <a:extLst>
                <a:ext uri="{FF2B5EF4-FFF2-40B4-BE49-F238E27FC236}">
                  <a16:creationId xmlns:a16="http://schemas.microsoft.com/office/drawing/2014/main" id="{F5BD6872-996D-164A-9BFA-9C782C079418}"/>
                </a:ext>
              </a:extLst>
            </p:cNvPr>
            <p:cNvSpPr/>
            <p:nvPr/>
          </p:nvSpPr>
          <p:spPr>
            <a:xfrm>
              <a:off x="8134350" y="37909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0" name="Freeform 1289">
              <a:extLst>
                <a:ext uri="{FF2B5EF4-FFF2-40B4-BE49-F238E27FC236}">
                  <a16:creationId xmlns:a16="http://schemas.microsoft.com/office/drawing/2014/main" id="{2274AC51-D8FA-291E-099A-48D0EC208089}"/>
                </a:ext>
              </a:extLst>
            </p:cNvPr>
            <p:cNvSpPr/>
            <p:nvPr/>
          </p:nvSpPr>
          <p:spPr>
            <a:xfrm>
              <a:off x="8134350" y="38957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1" name="Freeform 1290">
              <a:extLst>
                <a:ext uri="{FF2B5EF4-FFF2-40B4-BE49-F238E27FC236}">
                  <a16:creationId xmlns:a16="http://schemas.microsoft.com/office/drawing/2014/main" id="{15DA8192-F2B2-97F2-C90C-3D5A77C0A619}"/>
                </a:ext>
              </a:extLst>
            </p:cNvPr>
            <p:cNvSpPr/>
            <p:nvPr/>
          </p:nvSpPr>
          <p:spPr>
            <a:xfrm>
              <a:off x="8134350" y="40005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2" name="Freeform 1291">
              <a:extLst>
                <a:ext uri="{FF2B5EF4-FFF2-40B4-BE49-F238E27FC236}">
                  <a16:creationId xmlns:a16="http://schemas.microsoft.com/office/drawing/2014/main" id="{0EDE9A20-8488-F1FF-27FF-CA5D89FCF897}"/>
                </a:ext>
              </a:extLst>
            </p:cNvPr>
            <p:cNvSpPr/>
            <p:nvPr/>
          </p:nvSpPr>
          <p:spPr>
            <a:xfrm>
              <a:off x="8134350" y="41052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3" name="Freeform 1292">
              <a:extLst>
                <a:ext uri="{FF2B5EF4-FFF2-40B4-BE49-F238E27FC236}">
                  <a16:creationId xmlns:a16="http://schemas.microsoft.com/office/drawing/2014/main" id="{1DBA68BD-4F6F-BBD7-1EB6-CBC9EA75FA36}"/>
                </a:ext>
              </a:extLst>
            </p:cNvPr>
            <p:cNvSpPr/>
            <p:nvPr/>
          </p:nvSpPr>
          <p:spPr>
            <a:xfrm>
              <a:off x="8134350" y="431482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4" name="Freeform 1293">
              <a:extLst>
                <a:ext uri="{FF2B5EF4-FFF2-40B4-BE49-F238E27FC236}">
                  <a16:creationId xmlns:a16="http://schemas.microsoft.com/office/drawing/2014/main" id="{447E5DFE-988C-EA7B-8ECC-0C2D6E78E26E}"/>
                </a:ext>
              </a:extLst>
            </p:cNvPr>
            <p:cNvSpPr/>
            <p:nvPr/>
          </p:nvSpPr>
          <p:spPr>
            <a:xfrm>
              <a:off x="8134350" y="44196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5" name="Freeform 1294">
              <a:extLst>
                <a:ext uri="{FF2B5EF4-FFF2-40B4-BE49-F238E27FC236}">
                  <a16:creationId xmlns:a16="http://schemas.microsoft.com/office/drawing/2014/main" id="{FD901510-67EE-30AE-2C1A-05674A860352}"/>
                </a:ext>
              </a:extLst>
            </p:cNvPr>
            <p:cNvSpPr/>
            <p:nvPr/>
          </p:nvSpPr>
          <p:spPr>
            <a:xfrm>
              <a:off x="8134350" y="45243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6" name="Freeform 1295">
              <a:extLst>
                <a:ext uri="{FF2B5EF4-FFF2-40B4-BE49-F238E27FC236}">
                  <a16:creationId xmlns:a16="http://schemas.microsoft.com/office/drawing/2014/main" id="{FD725030-1E29-4671-E352-204BA8415FEE}"/>
                </a:ext>
              </a:extLst>
            </p:cNvPr>
            <p:cNvSpPr/>
            <p:nvPr/>
          </p:nvSpPr>
          <p:spPr>
            <a:xfrm>
              <a:off x="8134350" y="4943475"/>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7" name="Freeform 1296">
              <a:extLst>
                <a:ext uri="{FF2B5EF4-FFF2-40B4-BE49-F238E27FC236}">
                  <a16:creationId xmlns:a16="http://schemas.microsoft.com/office/drawing/2014/main" id="{EEEFAE17-F2AA-BBF7-94FE-D285C608758A}"/>
                </a:ext>
              </a:extLst>
            </p:cNvPr>
            <p:cNvSpPr/>
            <p:nvPr/>
          </p:nvSpPr>
          <p:spPr>
            <a:xfrm>
              <a:off x="8134350" y="504825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8" name="Freeform 1297">
              <a:extLst>
                <a:ext uri="{FF2B5EF4-FFF2-40B4-BE49-F238E27FC236}">
                  <a16:creationId xmlns:a16="http://schemas.microsoft.com/office/drawing/2014/main" id="{D7B964D9-BFEB-676B-912F-E97A619D1E77}"/>
                </a:ext>
              </a:extLst>
            </p:cNvPr>
            <p:cNvSpPr/>
            <p:nvPr/>
          </p:nvSpPr>
          <p:spPr>
            <a:xfrm>
              <a:off x="8134350" y="5257800"/>
              <a:ext cx="104775" cy="104775"/>
            </a:xfrm>
            <a:custGeom>
              <a:avLst/>
              <a:gdLst>
                <a:gd name="connsiteX0" fmla="*/ 104775 w 104775"/>
                <a:gd name="connsiteY0" fmla="*/ 52388 h 104775"/>
                <a:gd name="connsiteX1" fmla="*/ 52388 w 104775"/>
                <a:gd name="connsiteY1" fmla="*/ 104775 h 104775"/>
                <a:gd name="connsiteX2" fmla="*/ 0 w 104775"/>
                <a:gd name="connsiteY2" fmla="*/ 52388 h 104775"/>
                <a:gd name="connsiteX3" fmla="*/ 52388 w 104775"/>
                <a:gd name="connsiteY3" fmla="*/ 0 h 104775"/>
                <a:gd name="connsiteX4" fmla="*/ 104775 w 104775"/>
                <a:gd name="connsiteY4" fmla="*/ 52388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104775">
                  <a:moveTo>
                    <a:pt x="104775" y="52388"/>
                  </a:moveTo>
                  <a:cubicBezTo>
                    <a:pt x="104775" y="81320"/>
                    <a:pt x="81320" y="104775"/>
                    <a:pt x="52388" y="104775"/>
                  </a:cubicBezTo>
                  <a:cubicBezTo>
                    <a:pt x="23455" y="104775"/>
                    <a:pt x="0" y="81320"/>
                    <a:pt x="0" y="52388"/>
                  </a:cubicBezTo>
                  <a:cubicBezTo>
                    <a:pt x="0" y="23455"/>
                    <a:pt x="23455" y="0"/>
                    <a:pt x="52388" y="0"/>
                  </a:cubicBezTo>
                  <a:cubicBezTo>
                    <a:pt x="81320" y="0"/>
                    <a:pt x="104775" y="23455"/>
                    <a:pt x="104775" y="52388"/>
                  </a:cubicBezTo>
                  <a:close/>
                </a:path>
              </a:pathLst>
            </a:custGeom>
            <a:solidFill>
              <a:srgbClr val="FFFFFF"/>
            </a:solidFill>
            <a:ln w="9525" cap="flat">
              <a:noFill/>
              <a:prstDash val="solid"/>
              <a:miter/>
            </a:ln>
          </p:spPr>
          <p:txBody>
            <a:bodyPr rtlCol="0" anchor="ctr"/>
            <a:lstStyle/>
            <a:p>
              <a:endParaRPr lang="en-US"/>
            </a:p>
          </p:txBody>
        </p:sp>
        <p:sp>
          <p:nvSpPr>
            <p:cNvPr id="1299" name="Freeform 1298">
              <a:extLst>
                <a:ext uri="{FF2B5EF4-FFF2-40B4-BE49-F238E27FC236}">
                  <a16:creationId xmlns:a16="http://schemas.microsoft.com/office/drawing/2014/main" id="{8D1EE707-2A53-5253-76EB-844EA90C8623}"/>
                </a:ext>
              </a:extLst>
            </p:cNvPr>
            <p:cNvSpPr/>
            <p:nvPr/>
          </p:nvSpPr>
          <p:spPr>
            <a:xfrm>
              <a:off x="3943350" y="1276350"/>
              <a:ext cx="733425" cy="733425"/>
            </a:xfrm>
            <a:custGeom>
              <a:avLst/>
              <a:gdLst>
                <a:gd name="connsiteX0" fmla="*/ 261938 w 733425"/>
                <a:gd name="connsiteY0" fmla="*/ 733425 h 733425"/>
                <a:gd name="connsiteX1" fmla="*/ 471488 w 733425"/>
                <a:gd name="connsiteY1" fmla="*/ 733425 h 733425"/>
                <a:gd name="connsiteX2" fmla="*/ 733425 w 733425"/>
                <a:gd name="connsiteY2" fmla="*/ 471488 h 733425"/>
                <a:gd name="connsiteX3" fmla="*/ 733425 w 733425"/>
                <a:gd name="connsiteY3" fmla="*/ 261938 h 733425"/>
                <a:gd name="connsiteX4" fmla="*/ 471488 w 733425"/>
                <a:gd name="connsiteY4" fmla="*/ 0 h 733425"/>
                <a:gd name="connsiteX5" fmla="*/ 261938 w 733425"/>
                <a:gd name="connsiteY5" fmla="*/ 0 h 733425"/>
                <a:gd name="connsiteX6" fmla="*/ 0 w 733425"/>
                <a:gd name="connsiteY6" fmla="*/ 261938 h 733425"/>
                <a:gd name="connsiteX7" fmla="*/ 0 w 733425"/>
                <a:gd name="connsiteY7" fmla="*/ 471488 h 733425"/>
                <a:gd name="connsiteX8" fmla="*/ 261938 w 733425"/>
                <a:gd name="connsiteY8" fmla="*/ 733425 h 733425"/>
                <a:gd name="connsiteX9" fmla="*/ 104775 w 733425"/>
                <a:gd name="connsiteY9" fmla="*/ 261938 h 733425"/>
                <a:gd name="connsiteX10" fmla="*/ 261938 w 733425"/>
                <a:gd name="connsiteY10" fmla="*/ 104775 h 733425"/>
                <a:gd name="connsiteX11" fmla="*/ 471488 w 733425"/>
                <a:gd name="connsiteY11" fmla="*/ 104775 h 733425"/>
                <a:gd name="connsiteX12" fmla="*/ 628650 w 733425"/>
                <a:gd name="connsiteY12" fmla="*/ 261938 h 733425"/>
                <a:gd name="connsiteX13" fmla="*/ 628650 w 733425"/>
                <a:gd name="connsiteY13" fmla="*/ 471488 h 733425"/>
                <a:gd name="connsiteX14" fmla="*/ 471488 w 733425"/>
                <a:gd name="connsiteY14" fmla="*/ 628650 h 733425"/>
                <a:gd name="connsiteX15" fmla="*/ 261938 w 733425"/>
                <a:gd name="connsiteY15" fmla="*/ 628650 h 733425"/>
                <a:gd name="connsiteX16" fmla="*/ 104775 w 733425"/>
                <a:gd name="connsiteY16" fmla="*/ 471488 h 733425"/>
                <a:gd name="connsiteX17" fmla="*/ 104775 w 733425"/>
                <a:gd name="connsiteY17" fmla="*/ 26193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261938" y="733425"/>
                  </a:moveTo>
                  <a:lnTo>
                    <a:pt x="471488" y="733425"/>
                  </a:lnTo>
                  <a:cubicBezTo>
                    <a:pt x="616268" y="733425"/>
                    <a:pt x="733425" y="616268"/>
                    <a:pt x="733425" y="471488"/>
                  </a:cubicBezTo>
                  <a:lnTo>
                    <a:pt x="733425" y="261938"/>
                  </a:lnTo>
                  <a:cubicBezTo>
                    <a:pt x="733425" y="117157"/>
                    <a:pt x="616268" y="0"/>
                    <a:pt x="471488" y="0"/>
                  </a:cubicBezTo>
                  <a:lnTo>
                    <a:pt x="261938" y="0"/>
                  </a:lnTo>
                  <a:cubicBezTo>
                    <a:pt x="117157" y="0"/>
                    <a:pt x="0" y="117157"/>
                    <a:pt x="0" y="261938"/>
                  </a:cubicBezTo>
                  <a:lnTo>
                    <a:pt x="0" y="471488"/>
                  </a:lnTo>
                  <a:cubicBezTo>
                    <a:pt x="0" y="616268"/>
                    <a:pt x="117157" y="733425"/>
                    <a:pt x="261938" y="733425"/>
                  </a:cubicBezTo>
                  <a:close/>
                  <a:moveTo>
                    <a:pt x="104775" y="261938"/>
                  </a:moveTo>
                  <a:cubicBezTo>
                    <a:pt x="104775" y="175260"/>
                    <a:pt x="175260" y="104775"/>
                    <a:pt x="261938" y="104775"/>
                  </a:cubicBezTo>
                  <a:lnTo>
                    <a:pt x="471488" y="104775"/>
                  </a:lnTo>
                  <a:cubicBezTo>
                    <a:pt x="558165" y="104775"/>
                    <a:pt x="628650" y="175260"/>
                    <a:pt x="628650" y="261938"/>
                  </a:cubicBezTo>
                  <a:lnTo>
                    <a:pt x="628650" y="471488"/>
                  </a:lnTo>
                  <a:cubicBezTo>
                    <a:pt x="628650" y="558165"/>
                    <a:pt x="558165" y="628650"/>
                    <a:pt x="471488" y="628650"/>
                  </a:cubicBezTo>
                  <a:lnTo>
                    <a:pt x="261938" y="628650"/>
                  </a:lnTo>
                  <a:cubicBezTo>
                    <a:pt x="175260" y="628650"/>
                    <a:pt x="104775" y="558165"/>
                    <a:pt x="104775" y="471488"/>
                  </a:cubicBezTo>
                  <a:lnTo>
                    <a:pt x="104775" y="261938"/>
                  </a:lnTo>
                  <a:close/>
                </a:path>
              </a:pathLst>
            </a:custGeom>
            <a:solidFill>
              <a:srgbClr val="FFFFFF"/>
            </a:solidFill>
            <a:ln w="9525" cap="flat">
              <a:noFill/>
              <a:prstDash val="solid"/>
              <a:miter/>
            </a:ln>
          </p:spPr>
          <p:txBody>
            <a:bodyPr rtlCol="0" anchor="ctr"/>
            <a:lstStyle/>
            <a:p>
              <a:endParaRPr lang="en-US"/>
            </a:p>
          </p:txBody>
        </p:sp>
        <p:sp>
          <p:nvSpPr>
            <p:cNvPr id="1300" name="Freeform 1299">
              <a:extLst>
                <a:ext uri="{FF2B5EF4-FFF2-40B4-BE49-F238E27FC236}">
                  <a16:creationId xmlns:a16="http://schemas.microsoft.com/office/drawing/2014/main" id="{1828E2F1-42F6-48DB-6764-3A04813EFD05}"/>
                </a:ext>
              </a:extLst>
            </p:cNvPr>
            <p:cNvSpPr/>
            <p:nvPr/>
          </p:nvSpPr>
          <p:spPr>
            <a:xfrm>
              <a:off x="4152900" y="148590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1" name="Freeform 1300">
              <a:extLst>
                <a:ext uri="{FF2B5EF4-FFF2-40B4-BE49-F238E27FC236}">
                  <a16:creationId xmlns:a16="http://schemas.microsoft.com/office/drawing/2014/main" id="{EF1DE939-7ECE-B488-2BB8-6F5F4A9CFC84}"/>
                </a:ext>
              </a:extLst>
            </p:cNvPr>
            <p:cNvSpPr/>
            <p:nvPr/>
          </p:nvSpPr>
          <p:spPr>
            <a:xfrm>
              <a:off x="7505700" y="1276350"/>
              <a:ext cx="733425" cy="733425"/>
            </a:xfrm>
            <a:custGeom>
              <a:avLst/>
              <a:gdLst>
                <a:gd name="connsiteX0" fmla="*/ 471488 w 733425"/>
                <a:gd name="connsiteY0" fmla="*/ 0 h 733425"/>
                <a:gd name="connsiteX1" fmla="*/ 261938 w 733425"/>
                <a:gd name="connsiteY1" fmla="*/ 0 h 733425"/>
                <a:gd name="connsiteX2" fmla="*/ 0 w 733425"/>
                <a:gd name="connsiteY2" fmla="*/ 261938 h 733425"/>
                <a:gd name="connsiteX3" fmla="*/ 0 w 733425"/>
                <a:gd name="connsiteY3" fmla="*/ 471488 h 733425"/>
                <a:gd name="connsiteX4" fmla="*/ 261938 w 733425"/>
                <a:gd name="connsiteY4" fmla="*/ 733425 h 733425"/>
                <a:gd name="connsiteX5" fmla="*/ 471488 w 733425"/>
                <a:gd name="connsiteY5" fmla="*/ 733425 h 733425"/>
                <a:gd name="connsiteX6" fmla="*/ 733425 w 733425"/>
                <a:gd name="connsiteY6" fmla="*/ 471488 h 733425"/>
                <a:gd name="connsiteX7" fmla="*/ 733425 w 733425"/>
                <a:gd name="connsiteY7" fmla="*/ 261938 h 733425"/>
                <a:gd name="connsiteX8" fmla="*/ 471488 w 733425"/>
                <a:gd name="connsiteY8" fmla="*/ 0 h 733425"/>
                <a:gd name="connsiteX9" fmla="*/ 628650 w 733425"/>
                <a:gd name="connsiteY9" fmla="*/ 471488 h 733425"/>
                <a:gd name="connsiteX10" fmla="*/ 471488 w 733425"/>
                <a:gd name="connsiteY10" fmla="*/ 628650 h 733425"/>
                <a:gd name="connsiteX11" fmla="*/ 261938 w 733425"/>
                <a:gd name="connsiteY11" fmla="*/ 628650 h 733425"/>
                <a:gd name="connsiteX12" fmla="*/ 104775 w 733425"/>
                <a:gd name="connsiteY12" fmla="*/ 471488 h 733425"/>
                <a:gd name="connsiteX13" fmla="*/ 104775 w 733425"/>
                <a:gd name="connsiteY13" fmla="*/ 261938 h 733425"/>
                <a:gd name="connsiteX14" fmla="*/ 261938 w 733425"/>
                <a:gd name="connsiteY14" fmla="*/ 104775 h 733425"/>
                <a:gd name="connsiteX15" fmla="*/ 471488 w 733425"/>
                <a:gd name="connsiteY15" fmla="*/ 104775 h 733425"/>
                <a:gd name="connsiteX16" fmla="*/ 628650 w 733425"/>
                <a:gd name="connsiteY16" fmla="*/ 261938 h 733425"/>
                <a:gd name="connsiteX17" fmla="*/ 628650 w 733425"/>
                <a:gd name="connsiteY17" fmla="*/ 47148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471488" y="0"/>
                  </a:moveTo>
                  <a:lnTo>
                    <a:pt x="261938" y="0"/>
                  </a:lnTo>
                  <a:cubicBezTo>
                    <a:pt x="117157" y="0"/>
                    <a:pt x="0" y="117157"/>
                    <a:pt x="0" y="261938"/>
                  </a:cubicBezTo>
                  <a:lnTo>
                    <a:pt x="0" y="471488"/>
                  </a:lnTo>
                  <a:cubicBezTo>
                    <a:pt x="0" y="616268"/>
                    <a:pt x="117157" y="733425"/>
                    <a:pt x="261938" y="733425"/>
                  </a:cubicBezTo>
                  <a:lnTo>
                    <a:pt x="471488" y="733425"/>
                  </a:lnTo>
                  <a:cubicBezTo>
                    <a:pt x="616268" y="733425"/>
                    <a:pt x="733425" y="616268"/>
                    <a:pt x="733425" y="471488"/>
                  </a:cubicBezTo>
                  <a:lnTo>
                    <a:pt x="733425" y="261938"/>
                  </a:lnTo>
                  <a:cubicBezTo>
                    <a:pt x="733425" y="117157"/>
                    <a:pt x="616268" y="0"/>
                    <a:pt x="471488" y="0"/>
                  </a:cubicBezTo>
                  <a:close/>
                  <a:moveTo>
                    <a:pt x="628650" y="471488"/>
                  </a:moveTo>
                  <a:cubicBezTo>
                    <a:pt x="628650" y="558165"/>
                    <a:pt x="558165" y="628650"/>
                    <a:pt x="471488" y="628650"/>
                  </a:cubicBezTo>
                  <a:lnTo>
                    <a:pt x="261938" y="628650"/>
                  </a:lnTo>
                  <a:cubicBezTo>
                    <a:pt x="175260" y="628650"/>
                    <a:pt x="104775" y="558165"/>
                    <a:pt x="104775" y="471488"/>
                  </a:cubicBezTo>
                  <a:lnTo>
                    <a:pt x="104775" y="261938"/>
                  </a:lnTo>
                  <a:cubicBezTo>
                    <a:pt x="104775" y="175260"/>
                    <a:pt x="175260" y="104775"/>
                    <a:pt x="261938" y="104775"/>
                  </a:cubicBezTo>
                  <a:lnTo>
                    <a:pt x="471488" y="104775"/>
                  </a:lnTo>
                  <a:cubicBezTo>
                    <a:pt x="558165" y="104775"/>
                    <a:pt x="628650" y="175260"/>
                    <a:pt x="628650" y="261938"/>
                  </a:cubicBezTo>
                  <a:lnTo>
                    <a:pt x="628650" y="471488"/>
                  </a:lnTo>
                  <a:close/>
                </a:path>
              </a:pathLst>
            </a:custGeom>
            <a:solidFill>
              <a:srgbClr val="FFFFFF"/>
            </a:solidFill>
            <a:ln w="9525" cap="flat">
              <a:noFill/>
              <a:prstDash val="solid"/>
              <a:miter/>
            </a:ln>
          </p:spPr>
          <p:txBody>
            <a:bodyPr rtlCol="0" anchor="ctr"/>
            <a:lstStyle/>
            <a:p>
              <a:endParaRPr lang="en-US"/>
            </a:p>
          </p:txBody>
        </p:sp>
        <p:sp>
          <p:nvSpPr>
            <p:cNvPr id="1302" name="Freeform 1301">
              <a:extLst>
                <a:ext uri="{FF2B5EF4-FFF2-40B4-BE49-F238E27FC236}">
                  <a16:creationId xmlns:a16="http://schemas.microsoft.com/office/drawing/2014/main" id="{4881D58A-ED73-9727-A48D-76E19E1CF2E4}"/>
                </a:ext>
              </a:extLst>
            </p:cNvPr>
            <p:cNvSpPr/>
            <p:nvPr/>
          </p:nvSpPr>
          <p:spPr>
            <a:xfrm>
              <a:off x="7715250" y="148590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3" name="Freeform 1302">
              <a:extLst>
                <a:ext uri="{FF2B5EF4-FFF2-40B4-BE49-F238E27FC236}">
                  <a16:creationId xmlns:a16="http://schemas.microsoft.com/office/drawing/2014/main" id="{12447569-D809-9E04-63A2-DBE7B111F832}"/>
                </a:ext>
              </a:extLst>
            </p:cNvPr>
            <p:cNvSpPr/>
            <p:nvPr/>
          </p:nvSpPr>
          <p:spPr>
            <a:xfrm>
              <a:off x="3943350" y="4838700"/>
              <a:ext cx="733425" cy="733425"/>
            </a:xfrm>
            <a:custGeom>
              <a:avLst/>
              <a:gdLst>
                <a:gd name="connsiteX0" fmla="*/ 471488 w 733425"/>
                <a:gd name="connsiteY0" fmla="*/ 0 h 733425"/>
                <a:gd name="connsiteX1" fmla="*/ 261938 w 733425"/>
                <a:gd name="connsiteY1" fmla="*/ 0 h 733425"/>
                <a:gd name="connsiteX2" fmla="*/ 0 w 733425"/>
                <a:gd name="connsiteY2" fmla="*/ 261938 h 733425"/>
                <a:gd name="connsiteX3" fmla="*/ 0 w 733425"/>
                <a:gd name="connsiteY3" fmla="*/ 471488 h 733425"/>
                <a:gd name="connsiteX4" fmla="*/ 261938 w 733425"/>
                <a:gd name="connsiteY4" fmla="*/ 733425 h 733425"/>
                <a:gd name="connsiteX5" fmla="*/ 471488 w 733425"/>
                <a:gd name="connsiteY5" fmla="*/ 733425 h 733425"/>
                <a:gd name="connsiteX6" fmla="*/ 733425 w 733425"/>
                <a:gd name="connsiteY6" fmla="*/ 471488 h 733425"/>
                <a:gd name="connsiteX7" fmla="*/ 733425 w 733425"/>
                <a:gd name="connsiteY7" fmla="*/ 261938 h 733425"/>
                <a:gd name="connsiteX8" fmla="*/ 471488 w 733425"/>
                <a:gd name="connsiteY8" fmla="*/ 0 h 733425"/>
                <a:gd name="connsiteX9" fmla="*/ 628650 w 733425"/>
                <a:gd name="connsiteY9" fmla="*/ 471488 h 733425"/>
                <a:gd name="connsiteX10" fmla="*/ 471488 w 733425"/>
                <a:gd name="connsiteY10" fmla="*/ 628650 h 733425"/>
                <a:gd name="connsiteX11" fmla="*/ 261938 w 733425"/>
                <a:gd name="connsiteY11" fmla="*/ 628650 h 733425"/>
                <a:gd name="connsiteX12" fmla="*/ 104775 w 733425"/>
                <a:gd name="connsiteY12" fmla="*/ 471488 h 733425"/>
                <a:gd name="connsiteX13" fmla="*/ 104775 w 733425"/>
                <a:gd name="connsiteY13" fmla="*/ 261938 h 733425"/>
                <a:gd name="connsiteX14" fmla="*/ 261938 w 733425"/>
                <a:gd name="connsiteY14" fmla="*/ 104775 h 733425"/>
                <a:gd name="connsiteX15" fmla="*/ 471488 w 733425"/>
                <a:gd name="connsiteY15" fmla="*/ 104775 h 733425"/>
                <a:gd name="connsiteX16" fmla="*/ 628650 w 733425"/>
                <a:gd name="connsiteY16" fmla="*/ 261938 h 733425"/>
                <a:gd name="connsiteX17" fmla="*/ 628650 w 733425"/>
                <a:gd name="connsiteY17" fmla="*/ 471488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3425" h="733425">
                  <a:moveTo>
                    <a:pt x="471488" y="0"/>
                  </a:moveTo>
                  <a:lnTo>
                    <a:pt x="261938" y="0"/>
                  </a:lnTo>
                  <a:cubicBezTo>
                    <a:pt x="117157" y="0"/>
                    <a:pt x="0" y="117157"/>
                    <a:pt x="0" y="261938"/>
                  </a:cubicBezTo>
                  <a:lnTo>
                    <a:pt x="0" y="471488"/>
                  </a:lnTo>
                  <a:cubicBezTo>
                    <a:pt x="0" y="616268"/>
                    <a:pt x="117157" y="733425"/>
                    <a:pt x="261938" y="733425"/>
                  </a:cubicBezTo>
                  <a:lnTo>
                    <a:pt x="471488" y="733425"/>
                  </a:lnTo>
                  <a:cubicBezTo>
                    <a:pt x="616268" y="733425"/>
                    <a:pt x="733425" y="616268"/>
                    <a:pt x="733425" y="471488"/>
                  </a:cubicBezTo>
                  <a:lnTo>
                    <a:pt x="733425" y="261938"/>
                  </a:lnTo>
                  <a:cubicBezTo>
                    <a:pt x="733425" y="117157"/>
                    <a:pt x="616268" y="0"/>
                    <a:pt x="471488" y="0"/>
                  </a:cubicBezTo>
                  <a:close/>
                  <a:moveTo>
                    <a:pt x="628650" y="471488"/>
                  </a:moveTo>
                  <a:cubicBezTo>
                    <a:pt x="628650" y="558165"/>
                    <a:pt x="558165" y="628650"/>
                    <a:pt x="471488" y="628650"/>
                  </a:cubicBezTo>
                  <a:lnTo>
                    <a:pt x="261938" y="628650"/>
                  </a:lnTo>
                  <a:cubicBezTo>
                    <a:pt x="175260" y="628650"/>
                    <a:pt x="104775" y="558165"/>
                    <a:pt x="104775" y="471488"/>
                  </a:cubicBezTo>
                  <a:lnTo>
                    <a:pt x="104775" y="261938"/>
                  </a:lnTo>
                  <a:cubicBezTo>
                    <a:pt x="104775" y="175260"/>
                    <a:pt x="175260" y="104775"/>
                    <a:pt x="261938" y="104775"/>
                  </a:cubicBezTo>
                  <a:lnTo>
                    <a:pt x="471488" y="104775"/>
                  </a:lnTo>
                  <a:cubicBezTo>
                    <a:pt x="558165" y="104775"/>
                    <a:pt x="628650" y="175260"/>
                    <a:pt x="628650" y="261938"/>
                  </a:cubicBezTo>
                  <a:lnTo>
                    <a:pt x="628650" y="471488"/>
                  </a:lnTo>
                  <a:close/>
                </a:path>
              </a:pathLst>
            </a:custGeom>
            <a:solidFill>
              <a:srgbClr val="FFFFFF"/>
            </a:solidFill>
            <a:ln w="9525" cap="flat">
              <a:noFill/>
              <a:prstDash val="solid"/>
              <a:miter/>
            </a:ln>
          </p:spPr>
          <p:txBody>
            <a:bodyPr rtlCol="0" anchor="ctr"/>
            <a:lstStyle/>
            <a:p>
              <a:endParaRPr lang="en-US"/>
            </a:p>
          </p:txBody>
        </p:sp>
        <p:sp>
          <p:nvSpPr>
            <p:cNvPr id="1304" name="Freeform 1303">
              <a:extLst>
                <a:ext uri="{FF2B5EF4-FFF2-40B4-BE49-F238E27FC236}">
                  <a16:creationId xmlns:a16="http://schemas.microsoft.com/office/drawing/2014/main" id="{721B698A-DEE8-BCCE-FB18-BB844F1A913F}"/>
                </a:ext>
              </a:extLst>
            </p:cNvPr>
            <p:cNvSpPr/>
            <p:nvPr/>
          </p:nvSpPr>
          <p:spPr>
            <a:xfrm>
              <a:off x="4152900" y="5048250"/>
              <a:ext cx="314325" cy="314325"/>
            </a:xfrm>
            <a:custGeom>
              <a:avLst/>
              <a:gdLst>
                <a:gd name="connsiteX0" fmla="*/ 0 w 314325"/>
                <a:gd name="connsiteY0" fmla="*/ 0 h 314325"/>
                <a:gd name="connsiteX1" fmla="*/ 314325 w 314325"/>
                <a:gd name="connsiteY1" fmla="*/ 0 h 314325"/>
                <a:gd name="connsiteX2" fmla="*/ 314325 w 314325"/>
                <a:gd name="connsiteY2" fmla="*/ 314325 h 314325"/>
                <a:gd name="connsiteX3" fmla="*/ 0 w 314325"/>
                <a:gd name="connsiteY3" fmla="*/ 314325 h 314325"/>
              </a:gdLst>
              <a:ahLst/>
              <a:cxnLst>
                <a:cxn ang="0">
                  <a:pos x="connsiteX0" y="connsiteY0"/>
                </a:cxn>
                <a:cxn ang="0">
                  <a:pos x="connsiteX1" y="connsiteY1"/>
                </a:cxn>
                <a:cxn ang="0">
                  <a:pos x="connsiteX2" y="connsiteY2"/>
                </a:cxn>
                <a:cxn ang="0">
                  <a:pos x="connsiteX3" y="connsiteY3"/>
                </a:cxn>
              </a:cxnLst>
              <a:rect l="l" t="t" r="r" b="b"/>
              <a:pathLst>
                <a:path w="314325" h="314325">
                  <a:moveTo>
                    <a:pt x="0" y="0"/>
                  </a:moveTo>
                  <a:lnTo>
                    <a:pt x="314325" y="0"/>
                  </a:lnTo>
                  <a:lnTo>
                    <a:pt x="314325" y="314325"/>
                  </a:lnTo>
                  <a:lnTo>
                    <a:pt x="0" y="314325"/>
                  </a:lnTo>
                  <a:close/>
                </a:path>
              </a:pathLst>
            </a:custGeom>
            <a:solidFill>
              <a:srgbClr val="FFFFFF"/>
            </a:solidFill>
            <a:ln w="9525" cap="flat">
              <a:noFill/>
              <a:prstDash val="solid"/>
              <a:miter/>
            </a:ln>
          </p:spPr>
          <p:txBody>
            <a:bodyPr rtlCol="0" anchor="ctr"/>
            <a:lstStyle/>
            <a:p>
              <a:endParaRPr lang="en-US"/>
            </a:p>
          </p:txBody>
        </p:sp>
        <p:sp>
          <p:nvSpPr>
            <p:cNvPr id="1305" name="Freeform 1304">
              <a:extLst>
                <a:ext uri="{FF2B5EF4-FFF2-40B4-BE49-F238E27FC236}">
                  <a16:creationId xmlns:a16="http://schemas.microsoft.com/office/drawing/2014/main" id="{11F885F6-C7C2-17FA-0D24-D978B3CB8AB1}"/>
                </a:ext>
              </a:extLst>
            </p:cNvPr>
            <p:cNvSpPr/>
            <p:nvPr/>
          </p:nvSpPr>
          <p:spPr>
            <a:xfrm>
              <a:off x="5676900" y="3197542"/>
              <a:ext cx="428625" cy="559117"/>
            </a:xfrm>
            <a:custGeom>
              <a:avLst/>
              <a:gdLst>
                <a:gd name="connsiteX0" fmla="*/ 427672 w 428625"/>
                <a:gd name="connsiteY0" fmla="*/ 497205 h 559117"/>
                <a:gd name="connsiteX1" fmla="*/ 391478 w 428625"/>
                <a:gd name="connsiteY1" fmla="*/ 432435 h 559117"/>
                <a:gd name="connsiteX2" fmla="*/ 129540 w 428625"/>
                <a:gd name="connsiteY2" fmla="*/ 432435 h 559117"/>
                <a:gd name="connsiteX3" fmla="*/ 129540 w 428625"/>
                <a:gd name="connsiteY3" fmla="*/ 321945 h 559117"/>
                <a:gd name="connsiteX4" fmla="*/ 398145 w 428625"/>
                <a:gd name="connsiteY4" fmla="*/ 321945 h 559117"/>
                <a:gd name="connsiteX5" fmla="*/ 398145 w 428625"/>
                <a:gd name="connsiteY5" fmla="*/ 207645 h 559117"/>
                <a:gd name="connsiteX6" fmla="*/ 129540 w 428625"/>
                <a:gd name="connsiteY6" fmla="*/ 207645 h 559117"/>
                <a:gd name="connsiteX7" fmla="*/ 129540 w 428625"/>
                <a:gd name="connsiteY7" fmla="*/ 119063 h 559117"/>
                <a:gd name="connsiteX8" fmla="*/ 405765 w 428625"/>
                <a:gd name="connsiteY8" fmla="*/ 119063 h 559117"/>
                <a:gd name="connsiteX9" fmla="*/ 420053 w 428625"/>
                <a:gd name="connsiteY9" fmla="*/ 83820 h 559117"/>
                <a:gd name="connsiteX10" fmla="*/ 420053 w 428625"/>
                <a:gd name="connsiteY10" fmla="*/ 0 h 559117"/>
                <a:gd name="connsiteX11" fmla="*/ 0 w 428625"/>
                <a:gd name="connsiteY11" fmla="*/ 0 h 559117"/>
                <a:gd name="connsiteX12" fmla="*/ 0 w 428625"/>
                <a:gd name="connsiteY12" fmla="*/ 559118 h 559117"/>
                <a:gd name="connsiteX13" fmla="*/ 428625 w 428625"/>
                <a:gd name="connsiteY13" fmla="*/ 559118 h 559117"/>
                <a:gd name="connsiteX14" fmla="*/ 428625 w 428625"/>
                <a:gd name="connsiteY14" fmla="*/ 497205 h 55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8625" h="559117">
                  <a:moveTo>
                    <a:pt x="427672" y="497205"/>
                  </a:moveTo>
                  <a:cubicBezTo>
                    <a:pt x="411480" y="478155"/>
                    <a:pt x="400050" y="456248"/>
                    <a:pt x="391478" y="432435"/>
                  </a:cubicBezTo>
                  <a:lnTo>
                    <a:pt x="129540" y="432435"/>
                  </a:lnTo>
                  <a:lnTo>
                    <a:pt x="129540" y="321945"/>
                  </a:lnTo>
                  <a:lnTo>
                    <a:pt x="398145" y="321945"/>
                  </a:lnTo>
                  <a:lnTo>
                    <a:pt x="398145" y="207645"/>
                  </a:lnTo>
                  <a:lnTo>
                    <a:pt x="129540" y="207645"/>
                  </a:lnTo>
                  <a:lnTo>
                    <a:pt x="129540" y="119063"/>
                  </a:lnTo>
                  <a:lnTo>
                    <a:pt x="405765" y="119063"/>
                  </a:lnTo>
                  <a:cubicBezTo>
                    <a:pt x="408622" y="106680"/>
                    <a:pt x="413385" y="95250"/>
                    <a:pt x="420053" y="83820"/>
                  </a:cubicBezTo>
                  <a:lnTo>
                    <a:pt x="420053" y="0"/>
                  </a:lnTo>
                  <a:lnTo>
                    <a:pt x="0" y="0"/>
                  </a:lnTo>
                  <a:lnTo>
                    <a:pt x="0" y="559118"/>
                  </a:lnTo>
                  <a:lnTo>
                    <a:pt x="428625" y="559118"/>
                  </a:lnTo>
                  <a:lnTo>
                    <a:pt x="428625" y="497205"/>
                  </a:lnTo>
                  <a:close/>
                </a:path>
              </a:pathLst>
            </a:custGeom>
            <a:solidFill>
              <a:srgbClr val="FFFFFF"/>
            </a:solidFill>
            <a:ln w="9525" cap="flat">
              <a:noFill/>
              <a:prstDash val="solid"/>
              <a:miter/>
            </a:ln>
          </p:spPr>
          <p:txBody>
            <a:bodyPr rtlCol="0" anchor="ctr"/>
            <a:lstStyle/>
            <a:p>
              <a:endParaRPr lang="en-US"/>
            </a:p>
          </p:txBody>
        </p:sp>
        <p:sp>
          <p:nvSpPr>
            <p:cNvPr id="1306" name="Freeform 1305">
              <a:extLst>
                <a:ext uri="{FF2B5EF4-FFF2-40B4-BE49-F238E27FC236}">
                  <a16:creationId xmlns:a16="http://schemas.microsoft.com/office/drawing/2014/main" id="{ADF89D3C-41F5-A242-CBB1-77BDAF6B8D64}"/>
                </a:ext>
              </a:extLst>
            </p:cNvPr>
            <p:cNvSpPr/>
            <p:nvPr/>
          </p:nvSpPr>
          <p:spPr>
            <a:xfrm>
              <a:off x="6617969" y="3185159"/>
              <a:ext cx="543877" cy="578167"/>
            </a:xfrm>
            <a:custGeom>
              <a:avLst/>
              <a:gdLst>
                <a:gd name="connsiteX0" fmla="*/ 496253 w 543877"/>
                <a:gd name="connsiteY0" fmla="*/ 494347 h 578167"/>
                <a:gd name="connsiteX1" fmla="*/ 543878 w 543877"/>
                <a:gd name="connsiteY1" fmla="*/ 387668 h 578167"/>
                <a:gd name="connsiteX2" fmla="*/ 392430 w 543877"/>
                <a:gd name="connsiteY2" fmla="*/ 341947 h 578167"/>
                <a:gd name="connsiteX3" fmla="*/ 355283 w 543877"/>
                <a:gd name="connsiteY3" fmla="*/ 422910 h 578167"/>
                <a:gd name="connsiteX4" fmla="*/ 280035 w 543877"/>
                <a:gd name="connsiteY4" fmla="*/ 450533 h 578167"/>
                <a:gd name="connsiteX5" fmla="*/ 200978 w 543877"/>
                <a:gd name="connsiteY5" fmla="*/ 416243 h 578167"/>
                <a:gd name="connsiteX6" fmla="*/ 172403 w 543877"/>
                <a:gd name="connsiteY6" fmla="*/ 288608 h 578167"/>
                <a:gd name="connsiteX7" fmla="*/ 196215 w 543877"/>
                <a:gd name="connsiteY7" fmla="*/ 178118 h 578167"/>
                <a:gd name="connsiteX8" fmla="*/ 285750 w 543877"/>
                <a:gd name="connsiteY8" fmla="*/ 130493 h 578167"/>
                <a:gd name="connsiteX9" fmla="*/ 332423 w 543877"/>
                <a:gd name="connsiteY9" fmla="*/ 140970 h 578167"/>
                <a:gd name="connsiteX10" fmla="*/ 367665 w 543877"/>
                <a:gd name="connsiteY10" fmla="*/ 171450 h 578167"/>
                <a:gd name="connsiteX11" fmla="*/ 384810 w 543877"/>
                <a:gd name="connsiteY11" fmla="*/ 208598 h 578167"/>
                <a:gd name="connsiteX12" fmla="*/ 537210 w 543877"/>
                <a:gd name="connsiteY12" fmla="*/ 174308 h 578167"/>
                <a:gd name="connsiteX13" fmla="*/ 447675 w 543877"/>
                <a:gd name="connsiteY13" fmla="*/ 42863 h 578167"/>
                <a:gd name="connsiteX14" fmla="*/ 281940 w 543877"/>
                <a:gd name="connsiteY14" fmla="*/ 0 h 578167"/>
                <a:gd name="connsiteX15" fmla="*/ 73343 w 543877"/>
                <a:gd name="connsiteY15" fmla="*/ 74295 h 578167"/>
                <a:gd name="connsiteX16" fmla="*/ 0 w 543877"/>
                <a:gd name="connsiteY16" fmla="*/ 287655 h 578167"/>
                <a:gd name="connsiteX17" fmla="*/ 41910 w 543877"/>
                <a:gd name="connsiteY17" fmla="*/ 458153 h 578167"/>
                <a:gd name="connsiteX18" fmla="*/ 141923 w 543877"/>
                <a:gd name="connsiteY18" fmla="*/ 551497 h 578167"/>
                <a:gd name="connsiteX19" fmla="*/ 290513 w 543877"/>
                <a:gd name="connsiteY19" fmla="*/ 578168 h 578167"/>
                <a:gd name="connsiteX20" fmla="*/ 414338 w 543877"/>
                <a:gd name="connsiteY20" fmla="*/ 556260 h 578167"/>
                <a:gd name="connsiteX21" fmla="*/ 496253 w 543877"/>
                <a:gd name="connsiteY21" fmla="*/ 494347 h 57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3877" h="578167">
                  <a:moveTo>
                    <a:pt x="496253" y="494347"/>
                  </a:moveTo>
                  <a:cubicBezTo>
                    <a:pt x="518160" y="465772"/>
                    <a:pt x="534353" y="430530"/>
                    <a:pt x="543878" y="387668"/>
                  </a:cubicBezTo>
                  <a:lnTo>
                    <a:pt x="392430" y="341947"/>
                  </a:lnTo>
                  <a:cubicBezTo>
                    <a:pt x="384810" y="377190"/>
                    <a:pt x="372428" y="403860"/>
                    <a:pt x="355283" y="422910"/>
                  </a:cubicBezTo>
                  <a:cubicBezTo>
                    <a:pt x="338138" y="441008"/>
                    <a:pt x="313373" y="450533"/>
                    <a:pt x="280035" y="450533"/>
                  </a:cubicBezTo>
                  <a:cubicBezTo>
                    <a:pt x="245745" y="450533"/>
                    <a:pt x="219075" y="439103"/>
                    <a:pt x="200978" y="416243"/>
                  </a:cubicBezTo>
                  <a:cubicBezTo>
                    <a:pt x="181928" y="393383"/>
                    <a:pt x="172403" y="350520"/>
                    <a:pt x="172403" y="288608"/>
                  </a:cubicBezTo>
                  <a:cubicBezTo>
                    <a:pt x="172403" y="238125"/>
                    <a:pt x="180023" y="201930"/>
                    <a:pt x="196215" y="178118"/>
                  </a:cubicBezTo>
                  <a:cubicBezTo>
                    <a:pt x="217170" y="146685"/>
                    <a:pt x="246698" y="130493"/>
                    <a:pt x="285750" y="130493"/>
                  </a:cubicBezTo>
                  <a:cubicBezTo>
                    <a:pt x="302895" y="130493"/>
                    <a:pt x="319088" y="134303"/>
                    <a:pt x="332423" y="140970"/>
                  </a:cubicBezTo>
                  <a:cubicBezTo>
                    <a:pt x="346710" y="147638"/>
                    <a:pt x="358140" y="158115"/>
                    <a:pt x="367665" y="171450"/>
                  </a:cubicBezTo>
                  <a:cubicBezTo>
                    <a:pt x="373380" y="179070"/>
                    <a:pt x="379095" y="191453"/>
                    <a:pt x="384810" y="208598"/>
                  </a:cubicBezTo>
                  <a:lnTo>
                    <a:pt x="537210" y="174308"/>
                  </a:lnTo>
                  <a:cubicBezTo>
                    <a:pt x="517208" y="115253"/>
                    <a:pt x="487680" y="71438"/>
                    <a:pt x="447675" y="42863"/>
                  </a:cubicBezTo>
                  <a:cubicBezTo>
                    <a:pt x="407670" y="14288"/>
                    <a:pt x="352425" y="0"/>
                    <a:pt x="281940" y="0"/>
                  </a:cubicBezTo>
                  <a:cubicBezTo>
                    <a:pt x="192405" y="0"/>
                    <a:pt x="121920" y="24765"/>
                    <a:pt x="73343" y="74295"/>
                  </a:cubicBezTo>
                  <a:cubicBezTo>
                    <a:pt x="24765" y="123825"/>
                    <a:pt x="0" y="195263"/>
                    <a:pt x="0" y="287655"/>
                  </a:cubicBezTo>
                  <a:cubicBezTo>
                    <a:pt x="0" y="357188"/>
                    <a:pt x="14288" y="414338"/>
                    <a:pt x="41910" y="458153"/>
                  </a:cubicBezTo>
                  <a:cubicBezTo>
                    <a:pt x="69533" y="502920"/>
                    <a:pt x="102870" y="533400"/>
                    <a:pt x="141923" y="551497"/>
                  </a:cubicBezTo>
                  <a:cubicBezTo>
                    <a:pt x="180023" y="569595"/>
                    <a:pt x="230505" y="578168"/>
                    <a:pt x="290513" y="578168"/>
                  </a:cubicBezTo>
                  <a:cubicBezTo>
                    <a:pt x="340995" y="578168"/>
                    <a:pt x="381953" y="570547"/>
                    <a:pt x="414338" y="556260"/>
                  </a:cubicBezTo>
                  <a:cubicBezTo>
                    <a:pt x="446723" y="541972"/>
                    <a:pt x="474345" y="522922"/>
                    <a:pt x="496253" y="494347"/>
                  </a:cubicBezTo>
                  <a:close/>
                </a:path>
              </a:pathLst>
            </a:custGeom>
            <a:solidFill>
              <a:srgbClr val="FFFFFF"/>
            </a:solidFill>
            <a:ln w="9525" cap="flat">
              <a:noFill/>
              <a:prstDash val="solid"/>
              <a:miter/>
            </a:ln>
          </p:spPr>
          <p:txBody>
            <a:bodyPr rtlCol="0" anchor="ctr"/>
            <a:lstStyle/>
            <a:p>
              <a:endParaRPr lang="en-US"/>
            </a:p>
          </p:txBody>
        </p:sp>
        <p:sp>
          <p:nvSpPr>
            <p:cNvPr id="1307" name="Freeform 1306">
              <a:extLst>
                <a:ext uri="{FF2B5EF4-FFF2-40B4-BE49-F238E27FC236}">
                  <a16:creationId xmlns:a16="http://schemas.microsoft.com/office/drawing/2014/main" id="{AF99FBA5-05BF-1684-068F-CE8F7373C367}"/>
                </a:ext>
              </a:extLst>
            </p:cNvPr>
            <p:cNvSpPr/>
            <p:nvPr/>
          </p:nvSpPr>
          <p:spPr>
            <a:xfrm>
              <a:off x="6082665" y="3187065"/>
              <a:ext cx="506729" cy="578167"/>
            </a:xfrm>
            <a:custGeom>
              <a:avLst/>
              <a:gdLst>
                <a:gd name="connsiteX0" fmla="*/ 260032 w 506729"/>
                <a:gd name="connsiteY0" fmla="*/ 578167 h 578167"/>
                <a:gd name="connsiteX1" fmla="*/ 394335 w 506729"/>
                <a:gd name="connsiteY1" fmla="*/ 554355 h 578167"/>
                <a:gd name="connsiteX2" fmla="*/ 477203 w 506729"/>
                <a:gd name="connsiteY2" fmla="*/ 485775 h 578167"/>
                <a:gd name="connsiteX3" fmla="*/ 506730 w 506729"/>
                <a:gd name="connsiteY3" fmla="*/ 386715 h 578167"/>
                <a:gd name="connsiteX4" fmla="*/ 484822 w 506729"/>
                <a:gd name="connsiteY4" fmla="*/ 303847 h 578167"/>
                <a:gd name="connsiteX5" fmla="*/ 413385 w 506729"/>
                <a:gd name="connsiteY5" fmla="*/ 241935 h 578167"/>
                <a:gd name="connsiteX6" fmla="*/ 251460 w 506729"/>
                <a:gd name="connsiteY6" fmla="*/ 192405 h 578167"/>
                <a:gd name="connsiteX7" fmla="*/ 193357 w 506729"/>
                <a:gd name="connsiteY7" fmla="*/ 171450 h 578167"/>
                <a:gd name="connsiteX8" fmla="*/ 180975 w 506729"/>
                <a:gd name="connsiteY8" fmla="*/ 147638 h 578167"/>
                <a:gd name="connsiteX9" fmla="*/ 196215 w 506729"/>
                <a:gd name="connsiteY9" fmla="*/ 116205 h 578167"/>
                <a:gd name="connsiteX10" fmla="*/ 241935 w 506729"/>
                <a:gd name="connsiteY10" fmla="*/ 103822 h 578167"/>
                <a:gd name="connsiteX11" fmla="*/ 299085 w 506729"/>
                <a:gd name="connsiteY11" fmla="*/ 120967 h 578167"/>
                <a:gd name="connsiteX12" fmla="*/ 326707 w 506729"/>
                <a:gd name="connsiteY12" fmla="*/ 176213 h 578167"/>
                <a:gd name="connsiteX13" fmla="*/ 489585 w 506729"/>
                <a:gd name="connsiteY13" fmla="*/ 166688 h 578167"/>
                <a:gd name="connsiteX14" fmla="*/ 422910 w 506729"/>
                <a:gd name="connsiteY14" fmla="*/ 40005 h 578167"/>
                <a:gd name="connsiteX15" fmla="*/ 259080 w 506729"/>
                <a:gd name="connsiteY15" fmla="*/ 0 h 578167"/>
                <a:gd name="connsiteX16" fmla="*/ 121920 w 506729"/>
                <a:gd name="connsiteY16" fmla="*/ 21907 h 578167"/>
                <a:gd name="connsiteX17" fmla="*/ 46672 w 506729"/>
                <a:gd name="connsiteY17" fmla="*/ 81915 h 578167"/>
                <a:gd name="connsiteX18" fmla="*/ 21907 w 506729"/>
                <a:gd name="connsiteY18" fmla="*/ 162877 h 578167"/>
                <a:gd name="connsiteX19" fmla="*/ 70485 w 506729"/>
                <a:gd name="connsiteY19" fmla="*/ 270510 h 578167"/>
                <a:gd name="connsiteX20" fmla="*/ 232410 w 506729"/>
                <a:gd name="connsiteY20" fmla="*/ 338138 h 578167"/>
                <a:gd name="connsiteX21" fmla="*/ 320992 w 506729"/>
                <a:gd name="connsiteY21" fmla="*/ 370522 h 578167"/>
                <a:gd name="connsiteX22" fmla="*/ 340042 w 506729"/>
                <a:gd name="connsiteY22" fmla="*/ 409575 h 578167"/>
                <a:gd name="connsiteX23" fmla="*/ 320040 w 506729"/>
                <a:gd name="connsiteY23" fmla="*/ 449580 h 578167"/>
                <a:gd name="connsiteX24" fmla="*/ 262890 w 506729"/>
                <a:gd name="connsiteY24" fmla="*/ 466725 h 578167"/>
                <a:gd name="connsiteX25" fmla="*/ 186690 w 506729"/>
                <a:gd name="connsiteY25" fmla="*/ 432435 h 578167"/>
                <a:gd name="connsiteX26" fmla="*/ 164782 w 506729"/>
                <a:gd name="connsiteY26" fmla="*/ 371475 h 578167"/>
                <a:gd name="connsiteX27" fmla="*/ 0 w 506729"/>
                <a:gd name="connsiteY27" fmla="*/ 381953 h 578167"/>
                <a:gd name="connsiteX28" fmla="*/ 61913 w 506729"/>
                <a:gd name="connsiteY28" fmla="*/ 521970 h 578167"/>
                <a:gd name="connsiteX29" fmla="*/ 260032 w 506729"/>
                <a:gd name="connsiteY29" fmla="*/ 578167 h 57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6729" h="578167">
                  <a:moveTo>
                    <a:pt x="260032" y="578167"/>
                  </a:moveTo>
                  <a:cubicBezTo>
                    <a:pt x="314325" y="578167"/>
                    <a:pt x="359092" y="570547"/>
                    <a:pt x="394335" y="554355"/>
                  </a:cubicBezTo>
                  <a:cubicBezTo>
                    <a:pt x="429578" y="539115"/>
                    <a:pt x="457200" y="516255"/>
                    <a:pt x="477203" y="485775"/>
                  </a:cubicBezTo>
                  <a:cubicBezTo>
                    <a:pt x="497205" y="455295"/>
                    <a:pt x="506730" y="422910"/>
                    <a:pt x="506730" y="386715"/>
                  </a:cubicBezTo>
                  <a:cubicBezTo>
                    <a:pt x="506730" y="356235"/>
                    <a:pt x="499110" y="328613"/>
                    <a:pt x="484822" y="303847"/>
                  </a:cubicBezTo>
                  <a:cubicBezTo>
                    <a:pt x="469582" y="279082"/>
                    <a:pt x="445770" y="258127"/>
                    <a:pt x="413385" y="241935"/>
                  </a:cubicBezTo>
                  <a:cubicBezTo>
                    <a:pt x="381000" y="225742"/>
                    <a:pt x="326707" y="208597"/>
                    <a:pt x="251460" y="192405"/>
                  </a:cubicBezTo>
                  <a:cubicBezTo>
                    <a:pt x="220980" y="185738"/>
                    <a:pt x="201930" y="179070"/>
                    <a:pt x="193357" y="171450"/>
                  </a:cubicBezTo>
                  <a:cubicBezTo>
                    <a:pt x="184785" y="164782"/>
                    <a:pt x="180975" y="156210"/>
                    <a:pt x="180975" y="147638"/>
                  </a:cubicBezTo>
                  <a:cubicBezTo>
                    <a:pt x="180975" y="135255"/>
                    <a:pt x="185738" y="124777"/>
                    <a:pt x="196215" y="116205"/>
                  </a:cubicBezTo>
                  <a:cubicBezTo>
                    <a:pt x="206692" y="107632"/>
                    <a:pt x="221932" y="103822"/>
                    <a:pt x="241935" y="103822"/>
                  </a:cubicBezTo>
                  <a:cubicBezTo>
                    <a:pt x="266700" y="103822"/>
                    <a:pt x="285750" y="109538"/>
                    <a:pt x="299085" y="120967"/>
                  </a:cubicBezTo>
                  <a:cubicBezTo>
                    <a:pt x="313372" y="132397"/>
                    <a:pt x="321945" y="150495"/>
                    <a:pt x="326707" y="176213"/>
                  </a:cubicBezTo>
                  <a:lnTo>
                    <a:pt x="489585" y="166688"/>
                  </a:lnTo>
                  <a:cubicBezTo>
                    <a:pt x="482917" y="108585"/>
                    <a:pt x="460057" y="66675"/>
                    <a:pt x="422910" y="40005"/>
                  </a:cubicBezTo>
                  <a:cubicBezTo>
                    <a:pt x="385763" y="13335"/>
                    <a:pt x="330517" y="0"/>
                    <a:pt x="259080" y="0"/>
                  </a:cubicBezTo>
                  <a:cubicBezTo>
                    <a:pt x="200978" y="0"/>
                    <a:pt x="155257" y="7620"/>
                    <a:pt x="121920" y="21907"/>
                  </a:cubicBezTo>
                  <a:cubicBezTo>
                    <a:pt x="88582" y="36195"/>
                    <a:pt x="63817" y="56197"/>
                    <a:pt x="46672" y="81915"/>
                  </a:cubicBezTo>
                  <a:cubicBezTo>
                    <a:pt x="30480" y="107632"/>
                    <a:pt x="21907" y="134302"/>
                    <a:pt x="21907" y="162877"/>
                  </a:cubicBezTo>
                  <a:cubicBezTo>
                    <a:pt x="21907" y="206692"/>
                    <a:pt x="38100" y="242888"/>
                    <a:pt x="70485" y="270510"/>
                  </a:cubicBezTo>
                  <a:cubicBezTo>
                    <a:pt x="102870" y="299085"/>
                    <a:pt x="157163" y="320992"/>
                    <a:pt x="232410" y="338138"/>
                  </a:cubicBezTo>
                  <a:cubicBezTo>
                    <a:pt x="279082" y="348615"/>
                    <a:pt x="308610" y="359092"/>
                    <a:pt x="320992" y="370522"/>
                  </a:cubicBezTo>
                  <a:cubicBezTo>
                    <a:pt x="333375" y="381953"/>
                    <a:pt x="340042" y="395288"/>
                    <a:pt x="340042" y="409575"/>
                  </a:cubicBezTo>
                  <a:cubicBezTo>
                    <a:pt x="340042" y="424815"/>
                    <a:pt x="333375" y="438150"/>
                    <a:pt x="320040" y="449580"/>
                  </a:cubicBezTo>
                  <a:cubicBezTo>
                    <a:pt x="306705" y="461010"/>
                    <a:pt x="287655" y="466725"/>
                    <a:pt x="262890" y="466725"/>
                  </a:cubicBezTo>
                  <a:cubicBezTo>
                    <a:pt x="229553" y="466725"/>
                    <a:pt x="204788" y="455295"/>
                    <a:pt x="186690" y="432435"/>
                  </a:cubicBezTo>
                  <a:cubicBezTo>
                    <a:pt x="176213" y="418147"/>
                    <a:pt x="168592" y="398145"/>
                    <a:pt x="164782" y="371475"/>
                  </a:cubicBezTo>
                  <a:lnTo>
                    <a:pt x="0" y="381953"/>
                  </a:lnTo>
                  <a:cubicBezTo>
                    <a:pt x="4763" y="438150"/>
                    <a:pt x="25717" y="484822"/>
                    <a:pt x="61913" y="521970"/>
                  </a:cubicBezTo>
                  <a:cubicBezTo>
                    <a:pt x="99060" y="560070"/>
                    <a:pt x="164782" y="578167"/>
                    <a:pt x="260032" y="578167"/>
                  </a:cubicBezTo>
                  <a:close/>
                </a:path>
              </a:pathLst>
            </a:custGeom>
            <a:solidFill>
              <a:srgbClr val="FFFFFF"/>
            </a:solidFill>
            <a:ln w="9525" cap="flat">
              <a:noFill/>
              <a:prstDash val="solid"/>
              <a:miter/>
            </a:ln>
          </p:spPr>
          <p:txBody>
            <a:bodyPr rtlCol="0" anchor="ctr"/>
            <a:lstStyle/>
            <a:p>
              <a:endParaRPr lang="en-US"/>
            </a:p>
          </p:txBody>
        </p:sp>
        <p:sp>
          <p:nvSpPr>
            <p:cNvPr id="1308" name="Freeform 1307">
              <a:extLst>
                <a:ext uri="{FF2B5EF4-FFF2-40B4-BE49-F238E27FC236}">
                  <a16:creationId xmlns:a16="http://schemas.microsoft.com/office/drawing/2014/main" id="{3930AA24-6ABE-F438-ADC1-F090CA0244DE}"/>
                </a:ext>
              </a:extLst>
            </p:cNvPr>
            <p:cNvSpPr/>
            <p:nvPr/>
          </p:nvSpPr>
          <p:spPr>
            <a:xfrm>
              <a:off x="5030152" y="3197542"/>
              <a:ext cx="628650" cy="558164"/>
            </a:xfrm>
            <a:custGeom>
              <a:avLst/>
              <a:gdLst>
                <a:gd name="connsiteX0" fmla="*/ 628650 w 628650"/>
                <a:gd name="connsiteY0" fmla="*/ 0 h 558164"/>
                <a:gd name="connsiteX1" fmla="*/ 401955 w 628650"/>
                <a:gd name="connsiteY1" fmla="*/ 0 h 558164"/>
                <a:gd name="connsiteX2" fmla="*/ 314325 w 628650"/>
                <a:gd name="connsiteY2" fmla="*/ 340042 h 558164"/>
                <a:gd name="connsiteX3" fmla="*/ 226695 w 628650"/>
                <a:gd name="connsiteY3" fmla="*/ 0 h 558164"/>
                <a:gd name="connsiteX4" fmla="*/ 0 w 628650"/>
                <a:gd name="connsiteY4" fmla="*/ 0 h 558164"/>
                <a:gd name="connsiteX5" fmla="*/ 0 w 628650"/>
                <a:gd name="connsiteY5" fmla="*/ 558165 h 558164"/>
                <a:gd name="connsiteX6" fmla="*/ 140970 w 628650"/>
                <a:gd name="connsiteY6" fmla="*/ 558165 h 558164"/>
                <a:gd name="connsiteX7" fmla="*/ 140970 w 628650"/>
                <a:gd name="connsiteY7" fmla="*/ 132398 h 558164"/>
                <a:gd name="connsiteX8" fmla="*/ 250507 w 628650"/>
                <a:gd name="connsiteY8" fmla="*/ 558165 h 558164"/>
                <a:gd name="connsiteX9" fmla="*/ 378142 w 628650"/>
                <a:gd name="connsiteY9" fmla="*/ 558165 h 558164"/>
                <a:gd name="connsiteX10" fmla="*/ 487680 w 628650"/>
                <a:gd name="connsiteY10" fmla="*/ 132398 h 558164"/>
                <a:gd name="connsiteX11" fmla="*/ 487680 w 628650"/>
                <a:gd name="connsiteY11" fmla="*/ 558165 h 558164"/>
                <a:gd name="connsiteX12" fmla="*/ 628650 w 628650"/>
                <a:gd name="connsiteY12" fmla="*/ 558165 h 55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8650" h="558164">
                  <a:moveTo>
                    <a:pt x="628650" y="0"/>
                  </a:moveTo>
                  <a:lnTo>
                    <a:pt x="401955" y="0"/>
                  </a:lnTo>
                  <a:lnTo>
                    <a:pt x="314325" y="340042"/>
                  </a:lnTo>
                  <a:lnTo>
                    <a:pt x="226695" y="0"/>
                  </a:lnTo>
                  <a:lnTo>
                    <a:pt x="0" y="0"/>
                  </a:lnTo>
                  <a:lnTo>
                    <a:pt x="0" y="558165"/>
                  </a:lnTo>
                  <a:lnTo>
                    <a:pt x="140970" y="558165"/>
                  </a:lnTo>
                  <a:lnTo>
                    <a:pt x="140970" y="132398"/>
                  </a:lnTo>
                  <a:lnTo>
                    <a:pt x="250507" y="558165"/>
                  </a:lnTo>
                  <a:lnTo>
                    <a:pt x="378142" y="558165"/>
                  </a:lnTo>
                  <a:lnTo>
                    <a:pt x="487680" y="132398"/>
                  </a:lnTo>
                  <a:lnTo>
                    <a:pt x="487680" y="558165"/>
                  </a:lnTo>
                  <a:lnTo>
                    <a:pt x="628650" y="558165"/>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2261446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Light Blue Endcap - MESC 20">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5EFBD7C-F026-9B1B-7C9C-5C50416AA943}"/>
              </a:ext>
            </a:extLst>
          </p:cNvPr>
          <p:cNvSpPr/>
          <p:nvPr userDrawn="1"/>
        </p:nvSpPr>
        <p:spPr>
          <a:xfrm>
            <a:off x="-10719" y="-33673"/>
            <a:ext cx="12216166" cy="6905120"/>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14" name="Picture 13">
            <a:extLst>
              <a:ext uri="{FF2B5EF4-FFF2-40B4-BE49-F238E27FC236}">
                <a16:creationId xmlns:a16="http://schemas.microsoft.com/office/drawing/2014/main" id="{3333FBDD-47BE-2813-50C8-825012F5C6D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6700" y="5310616"/>
            <a:ext cx="4215694" cy="1204484"/>
          </a:xfrm>
          <a:prstGeom prst="rect">
            <a:avLst/>
          </a:prstGeom>
        </p:spPr>
      </p:pic>
      <p:sp>
        <p:nvSpPr>
          <p:cNvPr id="3" name="TextBox 2">
            <a:extLst>
              <a:ext uri="{FF2B5EF4-FFF2-40B4-BE49-F238E27FC236}">
                <a16:creationId xmlns:a16="http://schemas.microsoft.com/office/drawing/2014/main" id="{163B6F53-F53E-14AA-B619-71E5825203C3}"/>
              </a:ext>
            </a:extLst>
          </p:cNvPr>
          <p:cNvSpPr txBox="1"/>
          <p:nvPr userDrawn="1"/>
        </p:nvSpPr>
        <p:spPr>
          <a:xfrm>
            <a:off x="506448" y="4105989"/>
            <a:ext cx="5217365" cy="1015663"/>
          </a:xfrm>
          <a:prstGeom prst="rect">
            <a:avLst/>
          </a:prstGeom>
          <a:noFill/>
        </p:spPr>
        <p:txBody>
          <a:bodyPr wrap="square" rtlCol="0">
            <a:spAutoFit/>
          </a:bodyPr>
          <a:lstStyle/>
          <a:p>
            <a:r>
              <a:rPr lang="en-US" sz="6000" b="0" i="0">
                <a:solidFill>
                  <a:schemeClr val="bg1"/>
                </a:solidFill>
                <a:latin typeface="Avenir Medium" panose="02000503020000020003" pitchFamily="2" charset="0"/>
              </a:rPr>
              <a:t>Thank you!</a:t>
            </a:r>
          </a:p>
        </p:txBody>
      </p:sp>
      <p:sp>
        <p:nvSpPr>
          <p:cNvPr id="4" name="Text Placeholder 6">
            <a:extLst>
              <a:ext uri="{FF2B5EF4-FFF2-40B4-BE49-F238E27FC236}">
                <a16:creationId xmlns:a16="http://schemas.microsoft.com/office/drawing/2014/main" id="{84C1204F-9A71-E5C8-6218-92AA4D2FF406}"/>
              </a:ext>
            </a:extLst>
          </p:cNvPr>
          <p:cNvSpPr>
            <a:spLocks noGrp="1"/>
          </p:cNvSpPr>
          <p:nvPr>
            <p:ph type="body" sz="quarter" idx="10"/>
          </p:nvPr>
        </p:nvSpPr>
        <p:spPr>
          <a:xfrm>
            <a:off x="506448" y="2369212"/>
            <a:ext cx="4262437" cy="1547813"/>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object 899" descr="Energy storage, wind turbine and solar panels">
            <a:extLst>
              <a:ext uri="{FF2B5EF4-FFF2-40B4-BE49-F238E27FC236}">
                <a16:creationId xmlns:a16="http://schemas.microsoft.com/office/drawing/2014/main" id="{B0373374-0E26-AD43-D95D-126E7993000C}"/>
              </a:ext>
            </a:extLst>
          </p:cNvPr>
          <p:cNvPicPr/>
          <p:nvPr userDrawn="1"/>
        </p:nvPicPr>
        <p:blipFill rotWithShape="1">
          <a:blip r:embed="rId3" cstate="screen">
            <a:duotone>
              <a:schemeClr val="accent2">
                <a:shade val="45000"/>
                <a:satMod val="135000"/>
              </a:schemeClr>
              <a:prstClr val="white"/>
            </a:duotone>
            <a:alphaModFix amt="70000"/>
            <a:extLst>
              <a:ext uri="{28A0092B-C50C-407E-A947-70E740481C1C}">
                <a14:useLocalDpi xmlns:a14="http://schemas.microsoft.com/office/drawing/2010/main"/>
              </a:ext>
            </a:extLst>
          </a:blip>
          <a:srcRect/>
          <a:stretch/>
        </p:blipFill>
        <p:spPr>
          <a:xfrm>
            <a:off x="6622146" y="-33673"/>
            <a:ext cx="5569854" cy="6891673"/>
          </a:xfrm>
          <a:prstGeom prst="rect">
            <a:avLst/>
          </a:prstGeom>
        </p:spPr>
      </p:pic>
      <p:grpSp>
        <p:nvGrpSpPr>
          <p:cNvPr id="13" name="Group 12">
            <a:extLst>
              <a:ext uri="{FF2B5EF4-FFF2-40B4-BE49-F238E27FC236}">
                <a16:creationId xmlns:a16="http://schemas.microsoft.com/office/drawing/2014/main" id="{1F7C7428-4D50-BE11-D113-DB19F1F92E87}"/>
              </a:ext>
            </a:extLst>
          </p:cNvPr>
          <p:cNvGrpSpPr/>
          <p:nvPr userDrawn="1"/>
        </p:nvGrpSpPr>
        <p:grpSpPr>
          <a:xfrm>
            <a:off x="5281495" y="-46899"/>
            <a:ext cx="6934035" cy="6938729"/>
            <a:chOff x="5281495" y="-46899"/>
            <a:chExt cx="6934035" cy="6938729"/>
          </a:xfrm>
        </p:grpSpPr>
        <p:sp>
          <p:nvSpPr>
            <p:cNvPr id="6" name="Freeform 5">
              <a:extLst>
                <a:ext uri="{FF2B5EF4-FFF2-40B4-BE49-F238E27FC236}">
                  <a16:creationId xmlns:a16="http://schemas.microsoft.com/office/drawing/2014/main" id="{DB0F269F-7D5A-7506-DCE1-FCC30B00EE89}"/>
                </a:ext>
              </a:extLst>
            </p:cNvPr>
            <p:cNvSpPr/>
            <p:nvPr userDrawn="1"/>
          </p:nvSpPr>
          <p:spPr>
            <a:xfrm>
              <a:off x="6571346" y="-34109"/>
              <a:ext cx="2530106" cy="6904805"/>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rgbClr val="1CA6DF">
                <a:alpha val="50000"/>
              </a:srgbClr>
            </a:solidFill>
            <a:ln w="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5FF00CF9-7E02-891D-0277-E0AEF5D0AEC4}"/>
                </a:ext>
              </a:extLst>
            </p:cNvPr>
            <p:cNvSpPr/>
            <p:nvPr userDrawn="1"/>
          </p:nvSpPr>
          <p:spPr>
            <a:xfrm>
              <a:off x="11016251" y="-46899"/>
              <a:ext cx="1199279" cy="6930369"/>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0D7605F-881E-9928-B8D1-F1939C4E69B6}"/>
                </a:ext>
              </a:extLst>
            </p:cNvPr>
            <p:cNvSpPr/>
            <p:nvPr userDrawn="1"/>
          </p:nvSpPr>
          <p:spPr>
            <a:xfrm>
              <a:off x="11505806" y="-33673"/>
              <a:ext cx="691892" cy="6900254"/>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A38A9D8C-37A5-B2A3-306F-5322CB525482}"/>
                </a:ext>
              </a:extLst>
            </p:cNvPr>
            <p:cNvSpPr/>
            <p:nvPr userDrawn="1"/>
          </p:nvSpPr>
          <p:spPr>
            <a:xfrm>
              <a:off x="5787317" y="-34283"/>
              <a:ext cx="2017295" cy="6904805"/>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tx2"/>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503D3AE3-9AFA-A5EA-4916-CCF38FEBEF00}"/>
                </a:ext>
              </a:extLst>
            </p:cNvPr>
            <p:cNvSpPr/>
            <p:nvPr userDrawn="1"/>
          </p:nvSpPr>
          <p:spPr>
            <a:xfrm>
              <a:off x="11397270" y="3321246"/>
              <a:ext cx="818260" cy="3570584"/>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97A9736-A546-5925-E7ED-0937C536CDB9}"/>
                </a:ext>
              </a:extLst>
            </p:cNvPr>
            <p:cNvSpPr/>
            <p:nvPr userDrawn="1"/>
          </p:nvSpPr>
          <p:spPr>
            <a:xfrm>
              <a:off x="6408203" y="-40335"/>
              <a:ext cx="1201322" cy="3019290"/>
            </a:xfrm>
            <a:custGeom>
              <a:avLst/>
              <a:gdLst>
                <a:gd name="connsiteX0" fmla="*/ 1159100 w 1159099"/>
                <a:gd name="connsiteY0" fmla="*/ 0 h 3000613"/>
                <a:gd name="connsiteX1" fmla="*/ 364368 w 1159099"/>
                <a:gd name="connsiteY1" fmla="*/ 0 h 3000613"/>
                <a:gd name="connsiteX2" fmla="*/ 0 w 1159099"/>
                <a:gd name="connsiteY2" fmla="*/ 3000614 h 3000613"/>
                <a:gd name="connsiteX3" fmla="*/ 1159100 w 1159099"/>
                <a:gd name="connsiteY3" fmla="*/ 0 h 3000613"/>
              </a:gdLst>
              <a:ahLst/>
              <a:cxnLst>
                <a:cxn ang="0">
                  <a:pos x="connsiteX0" y="connsiteY0"/>
                </a:cxn>
                <a:cxn ang="0">
                  <a:pos x="connsiteX1" y="connsiteY1"/>
                </a:cxn>
                <a:cxn ang="0">
                  <a:pos x="connsiteX2" y="connsiteY2"/>
                </a:cxn>
                <a:cxn ang="0">
                  <a:pos x="connsiteX3" y="connsiteY3"/>
                </a:cxn>
              </a:cxnLst>
              <a:rect l="l" t="t" r="r" b="b"/>
              <a:pathLst>
                <a:path w="1159099" h="3000613">
                  <a:moveTo>
                    <a:pt x="1159100" y="0"/>
                  </a:moveTo>
                  <a:lnTo>
                    <a:pt x="364368" y="0"/>
                  </a:lnTo>
                  <a:lnTo>
                    <a:pt x="0" y="3000614"/>
                  </a:lnTo>
                  <a:lnTo>
                    <a:pt x="1159100" y="0"/>
                  </a:lnTo>
                  <a:close/>
                </a:path>
              </a:pathLst>
            </a:custGeom>
            <a:solidFill>
              <a:schemeClr val="accent5"/>
            </a:solidFill>
            <a:ln w="0"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ED0C3974-6247-ED3E-D731-5D04BEC09DE8}"/>
                </a:ext>
              </a:extLst>
            </p:cNvPr>
            <p:cNvSpPr/>
            <p:nvPr userDrawn="1"/>
          </p:nvSpPr>
          <p:spPr>
            <a:xfrm>
              <a:off x="5281495" y="-46899"/>
              <a:ext cx="1524254" cy="6930369"/>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chemeClr val="tx2">
                <a:alpha val="50000"/>
              </a:schemeClr>
            </a:solidFill>
            <a:ln w="0" cap="flat">
              <a:noFill/>
              <a:prstDash val="solid"/>
              <a:miter/>
            </a:ln>
          </p:spPr>
          <p:txBody>
            <a:bodyPr rtlCol="0" anchor="ctr"/>
            <a:lstStyle/>
            <a:p>
              <a:endParaRPr lang="en-US"/>
            </a:p>
          </p:txBody>
        </p:sp>
      </p:grpSp>
    </p:spTree>
    <p:extLst>
      <p:ext uri="{BB962C8B-B14F-4D97-AF65-F5344CB8AC3E}">
        <p14:creationId xmlns:p14="http://schemas.microsoft.com/office/powerpoint/2010/main" val="552058849"/>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lue Endcap MESC 30">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5EFBD7C-F026-9B1B-7C9C-5C50416AA943}"/>
              </a:ext>
            </a:extLst>
          </p:cNvPr>
          <p:cNvSpPr/>
          <p:nvPr userDrawn="1"/>
        </p:nvSpPr>
        <p:spPr>
          <a:xfrm>
            <a:off x="-10719" y="-47120"/>
            <a:ext cx="12216166" cy="692868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588"/>
          </a:p>
        </p:txBody>
      </p:sp>
      <p:pic>
        <p:nvPicPr>
          <p:cNvPr id="14" name="Picture 13">
            <a:extLst>
              <a:ext uri="{FF2B5EF4-FFF2-40B4-BE49-F238E27FC236}">
                <a16:creationId xmlns:a16="http://schemas.microsoft.com/office/drawing/2014/main" id="{3333FBDD-47BE-2813-50C8-825012F5C6D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6700" y="5310616"/>
            <a:ext cx="4215694" cy="1204484"/>
          </a:xfrm>
          <a:prstGeom prst="rect">
            <a:avLst/>
          </a:prstGeom>
        </p:spPr>
      </p:pic>
      <p:pic>
        <p:nvPicPr>
          <p:cNvPr id="6" name="object 897">
            <a:extLst>
              <a:ext uri="{FF2B5EF4-FFF2-40B4-BE49-F238E27FC236}">
                <a16:creationId xmlns:a16="http://schemas.microsoft.com/office/drawing/2014/main" id="{903DC269-05DC-C7CD-DF6B-13610EEE2421}"/>
              </a:ext>
            </a:extLst>
          </p:cNvPr>
          <p:cNvPicPr/>
          <p:nvPr userDrawn="1"/>
        </p:nvPicPr>
        <p:blipFill>
          <a:blip r:embed="rId3" cstate="screen">
            <a:duotone>
              <a:schemeClr val="accent1">
                <a:shade val="45000"/>
                <a:satMod val="135000"/>
              </a:schemeClr>
              <a:prstClr val="white"/>
            </a:duotone>
            <a:alphaModFix amt="50000"/>
            <a:extLst>
              <a:ext uri="{28A0092B-C50C-407E-A947-70E740481C1C}">
                <a14:useLocalDpi xmlns:a14="http://schemas.microsoft.com/office/drawing/2010/main"/>
              </a:ext>
            </a:extLst>
          </a:blip>
          <a:stretch>
            <a:fillRect/>
          </a:stretch>
        </p:blipFill>
        <p:spPr>
          <a:xfrm>
            <a:off x="5268642" y="-47120"/>
            <a:ext cx="7109729" cy="6930590"/>
          </a:xfrm>
          <a:prstGeom prst="rect">
            <a:avLst/>
          </a:prstGeom>
        </p:spPr>
      </p:pic>
      <p:sp>
        <p:nvSpPr>
          <p:cNvPr id="3" name="TextBox 2">
            <a:extLst>
              <a:ext uri="{FF2B5EF4-FFF2-40B4-BE49-F238E27FC236}">
                <a16:creationId xmlns:a16="http://schemas.microsoft.com/office/drawing/2014/main" id="{163B6F53-F53E-14AA-B619-71E5825203C3}"/>
              </a:ext>
            </a:extLst>
          </p:cNvPr>
          <p:cNvSpPr txBox="1"/>
          <p:nvPr userDrawn="1"/>
        </p:nvSpPr>
        <p:spPr>
          <a:xfrm>
            <a:off x="453860" y="4101491"/>
            <a:ext cx="5636871" cy="1015663"/>
          </a:xfrm>
          <a:prstGeom prst="rect">
            <a:avLst/>
          </a:prstGeom>
          <a:noFill/>
        </p:spPr>
        <p:txBody>
          <a:bodyPr wrap="square" rtlCol="0">
            <a:spAutoFit/>
          </a:bodyPr>
          <a:lstStyle/>
          <a:p>
            <a:r>
              <a:rPr lang="en-US" sz="6000" b="0" i="0">
                <a:solidFill>
                  <a:schemeClr val="bg1"/>
                </a:solidFill>
                <a:latin typeface="Avenir Medium" panose="02000503020000020003" pitchFamily="2" charset="0"/>
              </a:rPr>
              <a:t>Thank you!</a:t>
            </a:r>
          </a:p>
        </p:txBody>
      </p:sp>
      <p:grpSp>
        <p:nvGrpSpPr>
          <p:cNvPr id="12" name="Group 11">
            <a:extLst>
              <a:ext uri="{FF2B5EF4-FFF2-40B4-BE49-F238E27FC236}">
                <a16:creationId xmlns:a16="http://schemas.microsoft.com/office/drawing/2014/main" id="{2B35F619-6042-F14F-7FE8-31540B739345}"/>
              </a:ext>
            </a:extLst>
          </p:cNvPr>
          <p:cNvGrpSpPr/>
          <p:nvPr userDrawn="1"/>
        </p:nvGrpSpPr>
        <p:grpSpPr>
          <a:xfrm>
            <a:off x="5275851" y="-48125"/>
            <a:ext cx="6945323" cy="6931595"/>
            <a:chOff x="5275851" y="-48125"/>
            <a:chExt cx="6945323" cy="6931595"/>
          </a:xfrm>
        </p:grpSpPr>
        <p:sp>
          <p:nvSpPr>
            <p:cNvPr id="4" name="Freeform 3">
              <a:extLst>
                <a:ext uri="{FF2B5EF4-FFF2-40B4-BE49-F238E27FC236}">
                  <a16:creationId xmlns:a16="http://schemas.microsoft.com/office/drawing/2014/main" id="{7B44780E-7745-FCD3-E04B-EE002C68E17E}"/>
                </a:ext>
              </a:extLst>
            </p:cNvPr>
            <p:cNvSpPr/>
            <p:nvPr userDrawn="1"/>
          </p:nvSpPr>
          <p:spPr>
            <a:xfrm>
              <a:off x="6571346" y="-42576"/>
              <a:ext cx="2530106" cy="6926046"/>
            </a:xfrm>
            <a:custGeom>
              <a:avLst/>
              <a:gdLst>
                <a:gd name="connsiteX0" fmla="*/ 1172006 w 2933129"/>
                <a:gd name="connsiteY0" fmla="*/ 0 h 6851643"/>
                <a:gd name="connsiteX1" fmla="*/ 0 w 2933129"/>
                <a:gd name="connsiteY1" fmla="*/ 6851644 h 6851643"/>
                <a:gd name="connsiteX2" fmla="*/ 646212 w 2933129"/>
                <a:gd name="connsiteY2" fmla="*/ 6851644 h 6851643"/>
                <a:gd name="connsiteX3" fmla="*/ 2933130 w 2933129"/>
                <a:gd name="connsiteY3" fmla="*/ 0 h 6851643"/>
                <a:gd name="connsiteX4" fmla="*/ 1172006 w 2933129"/>
                <a:gd name="connsiteY4" fmla="*/ 0 h 6851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129" h="6851643">
                  <a:moveTo>
                    <a:pt x="1172006" y="0"/>
                  </a:moveTo>
                  <a:lnTo>
                    <a:pt x="0" y="6851644"/>
                  </a:lnTo>
                  <a:lnTo>
                    <a:pt x="646212" y="6851644"/>
                  </a:lnTo>
                  <a:lnTo>
                    <a:pt x="2933130" y="0"/>
                  </a:lnTo>
                  <a:lnTo>
                    <a:pt x="1172006" y="0"/>
                  </a:lnTo>
                  <a:close/>
                </a:path>
              </a:pathLst>
            </a:custGeom>
            <a:solidFill>
              <a:srgbClr val="1CA6DF">
                <a:alpha val="50000"/>
              </a:srgbClr>
            </a:solidFill>
            <a:ln w="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F2621560-1E58-341D-A7F4-E738B9B2B1A2}"/>
                </a:ext>
              </a:extLst>
            </p:cNvPr>
            <p:cNvSpPr/>
            <p:nvPr userDrawn="1"/>
          </p:nvSpPr>
          <p:spPr>
            <a:xfrm>
              <a:off x="11016251" y="-46899"/>
              <a:ext cx="1189196" cy="6930369"/>
            </a:xfrm>
            <a:custGeom>
              <a:avLst/>
              <a:gdLst>
                <a:gd name="connsiteX0" fmla="*/ 871025 w 1157128"/>
                <a:gd name="connsiteY0" fmla="*/ 0 h 6857999"/>
                <a:gd name="connsiteX1" fmla="*/ 0 w 1157128"/>
                <a:gd name="connsiteY1" fmla="*/ 6851644 h 6857999"/>
                <a:gd name="connsiteX2" fmla="*/ 1157129 w 1157128"/>
                <a:gd name="connsiteY2" fmla="*/ 6858000 h 6857999"/>
                <a:gd name="connsiteX3" fmla="*/ 1157129 w 1157128"/>
                <a:gd name="connsiteY3" fmla="*/ 0 h 6857999"/>
                <a:gd name="connsiteX4" fmla="*/ 871025 w 1157128"/>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7128" h="6857999">
                  <a:moveTo>
                    <a:pt x="871025" y="0"/>
                  </a:moveTo>
                  <a:lnTo>
                    <a:pt x="0" y="6851644"/>
                  </a:lnTo>
                  <a:lnTo>
                    <a:pt x="1157129" y="6858000"/>
                  </a:lnTo>
                  <a:lnTo>
                    <a:pt x="1157129" y="0"/>
                  </a:lnTo>
                  <a:lnTo>
                    <a:pt x="871025" y="0"/>
                  </a:lnTo>
                  <a:close/>
                </a:path>
              </a:pathLst>
            </a:custGeom>
            <a:solidFill>
              <a:srgbClr val="2460AD">
                <a:alpha val="50000"/>
              </a:srgbClr>
            </a:solidFill>
            <a:ln w="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4EA68E6-D637-EC58-4092-B1C64CD0E1E7}"/>
                </a:ext>
              </a:extLst>
            </p:cNvPr>
            <p:cNvSpPr/>
            <p:nvPr userDrawn="1"/>
          </p:nvSpPr>
          <p:spPr>
            <a:xfrm>
              <a:off x="11511450" y="-37324"/>
              <a:ext cx="686194" cy="6900254"/>
            </a:xfrm>
            <a:custGeom>
              <a:avLst/>
              <a:gdLst>
                <a:gd name="connsiteX0" fmla="*/ 635785 w 667574"/>
                <a:gd name="connsiteY0" fmla="*/ 0 h 6870711"/>
                <a:gd name="connsiteX1" fmla="*/ 0 w 667574"/>
                <a:gd name="connsiteY1" fmla="*/ 6864356 h 6870711"/>
                <a:gd name="connsiteX2" fmla="*/ 667574 w 667574"/>
                <a:gd name="connsiteY2" fmla="*/ 6870712 h 6870711"/>
                <a:gd name="connsiteX3" fmla="*/ 667574 w 667574"/>
                <a:gd name="connsiteY3" fmla="*/ 0 h 6870711"/>
                <a:gd name="connsiteX4" fmla="*/ 635785 w 667574"/>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7574" h="6870711">
                  <a:moveTo>
                    <a:pt x="635785" y="0"/>
                  </a:moveTo>
                  <a:lnTo>
                    <a:pt x="0" y="6864356"/>
                  </a:lnTo>
                  <a:lnTo>
                    <a:pt x="667574" y="6870712"/>
                  </a:lnTo>
                  <a:lnTo>
                    <a:pt x="667574" y="0"/>
                  </a:lnTo>
                  <a:lnTo>
                    <a:pt x="635785" y="0"/>
                  </a:lnTo>
                  <a:close/>
                </a:path>
              </a:pathLst>
            </a:custGeom>
            <a:solidFill>
              <a:srgbClr val="1CA6DF">
                <a:alpha val="50000"/>
              </a:srgbClr>
            </a:solidFill>
            <a:ln w="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0C8D5E0D-5113-761D-5058-9D77ADC4240C}"/>
                </a:ext>
              </a:extLst>
            </p:cNvPr>
            <p:cNvSpPr/>
            <p:nvPr userDrawn="1"/>
          </p:nvSpPr>
          <p:spPr>
            <a:xfrm>
              <a:off x="5787317" y="-42750"/>
              <a:ext cx="2017295" cy="6926220"/>
            </a:xfrm>
            <a:custGeom>
              <a:avLst/>
              <a:gdLst>
                <a:gd name="connsiteX0" fmla="*/ 1066466 w 1943848"/>
                <a:gd name="connsiteY0" fmla="*/ 0 h 6867597"/>
                <a:gd name="connsiteX1" fmla="*/ 0 w 1943848"/>
                <a:gd name="connsiteY1" fmla="*/ 6867597 h 6867597"/>
                <a:gd name="connsiteX2" fmla="*/ 1187265 w 1943848"/>
                <a:gd name="connsiteY2" fmla="*/ 6864356 h 6867597"/>
                <a:gd name="connsiteX3" fmla="*/ 1943849 w 1943848"/>
                <a:gd name="connsiteY3" fmla="*/ 0 h 6867597"/>
                <a:gd name="connsiteX4" fmla="*/ 1066466 w 1943848"/>
                <a:gd name="connsiteY4" fmla="*/ 0 h 6867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848" h="6867597">
                  <a:moveTo>
                    <a:pt x="1066466" y="0"/>
                  </a:moveTo>
                  <a:lnTo>
                    <a:pt x="0" y="6867597"/>
                  </a:lnTo>
                  <a:lnTo>
                    <a:pt x="1187265" y="6864356"/>
                  </a:lnTo>
                  <a:lnTo>
                    <a:pt x="1943849" y="0"/>
                  </a:lnTo>
                  <a:lnTo>
                    <a:pt x="1066466" y="0"/>
                  </a:lnTo>
                  <a:close/>
                </a:path>
              </a:pathLst>
            </a:custGeom>
            <a:solidFill>
              <a:schemeClr val="tx2"/>
            </a:solidFill>
            <a:ln w="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5598FD45-C413-65A0-BA79-E9C4C302BCDE}"/>
                </a:ext>
              </a:extLst>
            </p:cNvPr>
            <p:cNvSpPr/>
            <p:nvPr userDrawn="1"/>
          </p:nvSpPr>
          <p:spPr>
            <a:xfrm>
              <a:off x="11397494" y="3326646"/>
              <a:ext cx="823680" cy="3555869"/>
            </a:xfrm>
            <a:custGeom>
              <a:avLst/>
              <a:gdLst>
                <a:gd name="connsiteX0" fmla="*/ 0 w 794730"/>
                <a:gd name="connsiteY0" fmla="*/ 3533872 h 3533872"/>
                <a:gd name="connsiteX1" fmla="*/ 794731 w 794730"/>
                <a:gd name="connsiteY1" fmla="*/ 3533872 h 3533872"/>
                <a:gd name="connsiteX2" fmla="*/ 783859 w 794730"/>
                <a:gd name="connsiteY2" fmla="*/ 0 h 3533872"/>
                <a:gd name="connsiteX3" fmla="*/ 0 w 794730"/>
                <a:gd name="connsiteY3" fmla="*/ 3533872 h 3533872"/>
              </a:gdLst>
              <a:ahLst/>
              <a:cxnLst>
                <a:cxn ang="0">
                  <a:pos x="connsiteX0" y="connsiteY0"/>
                </a:cxn>
                <a:cxn ang="0">
                  <a:pos x="connsiteX1" y="connsiteY1"/>
                </a:cxn>
                <a:cxn ang="0">
                  <a:pos x="connsiteX2" y="connsiteY2"/>
                </a:cxn>
                <a:cxn ang="0">
                  <a:pos x="connsiteX3" y="connsiteY3"/>
                </a:cxn>
              </a:cxnLst>
              <a:rect l="l" t="t" r="r" b="b"/>
              <a:pathLst>
                <a:path w="794730" h="3533872">
                  <a:moveTo>
                    <a:pt x="0" y="3533872"/>
                  </a:moveTo>
                  <a:lnTo>
                    <a:pt x="794731" y="3533872"/>
                  </a:lnTo>
                  <a:lnTo>
                    <a:pt x="783859" y="0"/>
                  </a:lnTo>
                  <a:lnTo>
                    <a:pt x="0" y="3533872"/>
                  </a:lnTo>
                  <a:close/>
                </a:path>
              </a:pathLst>
            </a:custGeom>
            <a:solidFill>
              <a:srgbClr val="1A325D"/>
            </a:solidFill>
            <a:ln w="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D3C2DBD1-3E82-0588-6AFC-072DA2AEBC26}"/>
                </a:ext>
              </a:extLst>
            </p:cNvPr>
            <p:cNvSpPr/>
            <p:nvPr userDrawn="1"/>
          </p:nvSpPr>
          <p:spPr>
            <a:xfrm>
              <a:off x="6417347" y="-48125"/>
              <a:ext cx="1201322" cy="3019290"/>
            </a:xfrm>
            <a:custGeom>
              <a:avLst/>
              <a:gdLst>
                <a:gd name="connsiteX0" fmla="*/ 1159100 w 1159099"/>
                <a:gd name="connsiteY0" fmla="*/ 0 h 3000613"/>
                <a:gd name="connsiteX1" fmla="*/ 364368 w 1159099"/>
                <a:gd name="connsiteY1" fmla="*/ 0 h 3000613"/>
                <a:gd name="connsiteX2" fmla="*/ 0 w 1159099"/>
                <a:gd name="connsiteY2" fmla="*/ 3000614 h 3000613"/>
                <a:gd name="connsiteX3" fmla="*/ 1159100 w 1159099"/>
                <a:gd name="connsiteY3" fmla="*/ 0 h 3000613"/>
              </a:gdLst>
              <a:ahLst/>
              <a:cxnLst>
                <a:cxn ang="0">
                  <a:pos x="connsiteX0" y="connsiteY0"/>
                </a:cxn>
                <a:cxn ang="0">
                  <a:pos x="connsiteX1" y="connsiteY1"/>
                </a:cxn>
                <a:cxn ang="0">
                  <a:pos x="connsiteX2" y="connsiteY2"/>
                </a:cxn>
                <a:cxn ang="0">
                  <a:pos x="connsiteX3" y="connsiteY3"/>
                </a:cxn>
              </a:cxnLst>
              <a:rect l="l" t="t" r="r" b="b"/>
              <a:pathLst>
                <a:path w="1159099" h="3000613">
                  <a:moveTo>
                    <a:pt x="1159100" y="0"/>
                  </a:moveTo>
                  <a:lnTo>
                    <a:pt x="364368" y="0"/>
                  </a:lnTo>
                  <a:lnTo>
                    <a:pt x="0" y="3000614"/>
                  </a:lnTo>
                  <a:lnTo>
                    <a:pt x="1159100" y="0"/>
                  </a:lnTo>
                  <a:close/>
                </a:path>
              </a:pathLst>
            </a:custGeom>
            <a:solidFill>
              <a:schemeClr val="accent5"/>
            </a:solidFill>
            <a:ln w="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C9A34330-376A-FDB3-6DA8-A09AD69CEDEA}"/>
                </a:ext>
              </a:extLst>
            </p:cNvPr>
            <p:cNvSpPr/>
            <p:nvPr userDrawn="1"/>
          </p:nvSpPr>
          <p:spPr>
            <a:xfrm>
              <a:off x="5275851" y="-46899"/>
              <a:ext cx="1524254" cy="6930369"/>
            </a:xfrm>
            <a:custGeom>
              <a:avLst/>
              <a:gdLst>
                <a:gd name="connsiteX0" fmla="*/ 1093550 w 1106265"/>
                <a:gd name="connsiteY0" fmla="*/ 0 h 6870711"/>
                <a:gd name="connsiteX1" fmla="*/ 0 w 1106265"/>
                <a:gd name="connsiteY1" fmla="*/ 6870712 h 6870711"/>
                <a:gd name="connsiteX2" fmla="*/ 731153 w 1106265"/>
                <a:gd name="connsiteY2" fmla="*/ 6864356 h 6870711"/>
                <a:gd name="connsiteX3" fmla="*/ 1106266 w 1106265"/>
                <a:gd name="connsiteY3" fmla="*/ 0 h 6870711"/>
                <a:gd name="connsiteX4" fmla="*/ 1093550 w 1106265"/>
                <a:gd name="connsiteY4" fmla="*/ 0 h 6870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6265" h="6870711">
                  <a:moveTo>
                    <a:pt x="1093550" y="0"/>
                  </a:moveTo>
                  <a:lnTo>
                    <a:pt x="0" y="6870712"/>
                  </a:lnTo>
                  <a:lnTo>
                    <a:pt x="731153" y="6864356"/>
                  </a:lnTo>
                  <a:lnTo>
                    <a:pt x="1106266" y="0"/>
                  </a:lnTo>
                  <a:lnTo>
                    <a:pt x="1093550" y="0"/>
                  </a:lnTo>
                  <a:close/>
                </a:path>
              </a:pathLst>
            </a:custGeom>
            <a:solidFill>
              <a:srgbClr val="1CA6DF">
                <a:alpha val="50000"/>
              </a:srgbClr>
            </a:solidFill>
            <a:ln w="0" cap="flat">
              <a:noFill/>
              <a:prstDash val="solid"/>
              <a:miter/>
            </a:ln>
          </p:spPr>
          <p:txBody>
            <a:bodyPr rtlCol="0" anchor="ctr"/>
            <a:lstStyle/>
            <a:p>
              <a:endParaRPr lang="en-US"/>
            </a:p>
          </p:txBody>
        </p:sp>
      </p:grpSp>
      <p:sp>
        <p:nvSpPr>
          <p:cNvPr id="13" name="Text Placeholder 6">
            <a:extLst>
              <a:ext uri="{FF2B5EF4-FFF2-40B4-BE49-F238E27FC236}">
                <a16:creationId xmlns:a16="http://schemas.microsoft.com/office/drawing/2014/main" id="{C4730943-F6A8-8D0D-5744-AB72B8E03DE1}"/>
              </a:ext>
            </a:extLst>
          </p:cNvPr>
          <p:cNvSpPr>
            <a:spLocks noGrp="1"/>
          </p:cNvSpPr>
          <p:nvPr>
            <p:ph type="body" sz="quarter" idx="10"/>
          </p:nvPr>
        </p:nvSpPr>
        <p:spPr>
          <a:xfrm>
            <a:off x="506448" y="2369212"/>
            <a:ext cx="4262437" cy="15478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4946282"/>
      </p:ext>
    </p:extLst>
  </p:cSld>
  <p:clrMapOvr>
    <a:masterClrMapping/>
  </p:clrMapOvr>
  <p:extLst>
    <p:ext uri="{DCECCB84-F9BA-43D5-87BE-67443E8EF086}">
      <p15:sldGuideLst xmlns:p15="http://schemas.microsoft.com/office/powerpoint/2012/main">
        <p15:guide id="1" orient="horz" pos="2448">
          <p15:clr>
            <a:srgbClr val="FBAE40"/>
          </p15:clr>
        </p15:guide>
        <p15:guide id="2" pos="435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9" Type="http://schemas.openxmlformats.org/officeDocument/2006/relationships/slideLayout" Target="../slideLayouts/slideLayout92.xml"/><Relationship Id="rId21" Type="http://schemas.openxmlformats.org/officeDocument/2006/relationships/slideLayout" Target="../slideLayouts/slideLayout74.xml"/><Relationship Id="rId34" Type="http://schemas.openxmlformats.org/officeDocument/2006/relationships/slideLayout" Target="../slideLayouts/slideLayout87.xml"/><Relationship Id="rId42" Type="http://schemas.openxmlformats.org/officeDocument/2006/relationships/slideLayout" Target="../slideLayouts/slideLayout95.xml"/><Relationship Id="rId47" Type="http://schemas.openxmlformats.org/officeDocument/2006/relationships/slideLayout" Target="../slideLayouts/slideLayout100.xml"/><Relationship Id="rId50" Type="http://schemas.openxmlformats.org/officeDocument/2006/relationships/slideLayout" Target="../slideLayouts/slideLayout103.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9" Type="http://schemas.openxmlformats.org/officeDocument/2006/relationships/slideLayout" Target="../slideLayouts/slideLayout82.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32" Type="http://schemas.openxmlformats.org/officeDocument/2006/relationships/slideLayout" Target="../slideLayouts/slideLayout85.xml"/><Relationship Id="rId37" Type="http://schemas.openxmlformats.org/officeDocument/2006/relationships/slideLayout" Target="../slideLayouts/slideLayout90.xml"/><Relationship Id="rId40" Type="http://schemas.openxmlformats.org/officeDocument/2006/relationships/slideLayout" Target="../slideLayouts/slideLayout93.xml"/><Relationship Id="rId45" Type="http://schemas.openxmlformats.org/officeDocument/2006/relationships/slideLayout" Target="../slideLayouts/slideLayout98.xml"/><Relationship Id="rId53" Type="http://schemas.openxmlformats.org/officeDocument/2006/relationships/theme" Target="../theme/theme2.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slideLayout" Target="../slideLayouts/slideLayout84.xml"/><Relationship Id="rId44" Type="http://schemas.openxmlformats.org/officeDocument/2006/relationships/slideLayout" Target="../slideLayouts/slideLayout97.xml"/><Relationship Id="rId52" Type="http://schemas.openxmlformats.org/officeDocument/2006/relationships/slideLayout" Target="../slideLayouts/slideLayout105.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slideLayout" Target="../slideLayouts/slideLayout80.xml"/><Relationship Id="rId30" Type="http://schemas.openxmlformats.org/officeDocument/2006/relationships/slideLayout" Target="../slideLayouts/slideLayout83.xml"/><Relationship Id="rId35" Type="http://schemas.openxmlformats.org/officeDocument/2006/relationships/slideLayout" Target="../slideLayouts/slideLayout88.xml"/><Relationship Id="rId43" Type="http://schemas.openxmlformats.org/officeDocument/2006/relationships/slideLayout" Target="../slideLayouts/slideLayout96.xml"/><Relationship Id="rId48" Type="http://schemas.openxmlformats.org/officeDocument/2006/relationships/slideLayout" Target="../slideLayouts/slideLayout101.xml"/><Relationship Id="rId8" Type="http://schemas.openxmlformats.org/officeDocument/2006/relationships/slideLayout" Target="../slideLayouts/slideLayout61.xml"/><Relationship Id="rId51" Type="http://schemas.openxmlformats.org/officeDocument/2006/relationships/slideLayout" Target="../slideLayouts/slideLayout104.xml"/><Relationship Id="rId3" Type="http://schemas.openxmlformats.org/officeDocument/2006/relationships/slideLayout" Target="../slideLayouts/slideLayout56.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33" Type="http://schemas.openxmlformats.org/officeDocument/2006/relationships/slideLayout" Target="../slideLayouts/slideLayout86.xml"/><Relationship Id="rId38" Type="http://schemas.openxmlformats.org/officeDocument/2006/relationships/slideLayout" Target="../slideLayouts/slideLayout91.xml"/><Relationship Id="rId46" Type="http://schemas.openxmlformats.org/officeDocument/2006/relationships/slideLayout" Target="../slideLayouts/slideLayout99.xml"/><Relationship Id="rId20" Type="http://schemas.openxmlformats.org/officeDocument/2006/relationships/slideLayout" Target="../slideLayouts/slideLayout73.xml"/><Relationship Id="rId41" Type="http://schemas.openxmlformats.org/officeDocument/2006/relationships/slideLayout" Target="../slideLayouts/slideLayout94.xml"/><Relationship Id="rId54" Type="http://schemas.openxmlformats.org/officeDocument/2006/relationships/image" Target="../media/image1.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slideLayout" Target="../slideLayouts/slideLayout81.xml"/><Relationship Id="rId36" Type="http://schemas.openxmlformats.org/officeDocument/2006/relationships/slideLayout" Target="../slideLayouts/slideLayout89.xml"/><Relationship Id="rId49" Type="http://schemas.openxmlformats.org/officeDocument/2006/relationships/slideLayout" Target="../slideLayouts/slideLayout10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image" Target="../media/image2.png"/><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theme" Target="../theme/theme3.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23.xml"/><Relationship Id="rId1"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CED4D5F-4043-DDD8-3B77-730E7E9E7272}"/>
              </a:ext>
            </a:extLst>
          </p:cNvPr>
          <p:cNvSpPr>
            <a:spLocks noGrp="1"/>
          </p:cNvSpPr>
          <p:nvPr>
            <p:ph type="body" idx="1"/>
          </p:nvPr>
        </p:nvSpPr>
        <p:spPr>
          <a:xfrm>
            <a:off x="838200" y="1492624"/>
            <a:ext cx="10515600" cy="4251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3">
            <a:extLst>
              <a:ext uri="{FF2B5EF4-FFF2-40B4-BE49-F238E27FC236}">
                <a16:creationId xmlns:a16="http://schemas.microsoft.com/office/drawing/2014/main" id="{CE6D0158-9E92-6045-E3E2-132EABB086A2}"/>
              </a:ext>
            </a:extLst>
          </p:cNvPr>
          <p:cNvSpPr>
            <a:spLocks noGrp="1"/>
          </p:cNvSpPr>
          <p:nvPr>
            <p:ph type="title"/>
          </p:nvPr>
        </p:nvSpPr>
        <p:spPr>
          <a:xfrm>
            <a:off x="838200" y="365126"/>
            <a:ext cx="10515600" cy="939240"/>
          </a:xfrm>
          <a:prstGeom prst="rect">
            <a:avLst/>
          </a:prstGeom>
        </p:spPr>
        <p:txBody>
          <a:bodyPr vert="horz" lIns="91440" tIns="45720" rIns="91440" bIns="45720" rtlCol="0" anchor="ctr">
            <a:normAutofit/>
          </a:bodyPr>
          <a:lstStyle/>
          <a:p>
            <a:r>
              <a:rPr lang="en-US"/>
              <a:t>Click to edit Master title style</a:t>
            </a:r>
          </a:p>
        </p:txBody>
      </p:sp>
      <p:pic>
        <p:nvPicPr>
          <p:cNvPr id="15" name="Picture 14">
            <a:extLst>
              <a:ext uri="{FF2B5EF4-FFF2-40B4-BE49-F238E27FC236}">
                <a16:creationId xmlns:a16="http://schemas.microsoft.com/office/drawing/2014/main" id="{B1D70DF0-68F5-AD6B-072D-AD417EFCB094}"/>
              </a:ext>
              <a:ext uri="{C183D7F6-B498-43B3-948B-1728B52AA6E4}">
                <adec:decorative xmlns:adec="http://schemas.microsoft.com/office/drawing/2017/decorative" val="1"/>
              </a:ext>
            </a:extLst>
          </p:cNvPr>
          <p:cNvPicPr>
            <a:picLocks noChangeAspect="1"/>
          </p:cNvPicPr>
          <p:nvPr userDrawn="1"/>
        </p:nvPicPr>
        <p:blipFill>
          <a:blip r:embed="rId55" cstate="screen">
            <a:extLst>
              <a:ext uri="{28A0092B-C50C-407E-A947-70E740481C1C}">
                <a14:useLocalDpi xmlns:a14="http://schemas.microsoft.com/office/drawing/2010/main"/>
              </a:ext>
            </a:extLst>
          </a:blip>
          <a:srcRect/>
          <a:stretch/>
        </p:blipFill>
        <p:spPr>
          <a:xfrm>
            <a:off x="10255387" y="6148205"/>
            <a:ext cx="1799771" cy="479939"/>
          </a:xfrm>
          <a:prstGeom prst="rect">
            <a:avLst/>
          </a:prstGeom>
        </p:spPr>
      </p:pic>
      <p:sp>
        <p:nvSpPr>
          <p:cNvPr id="8" name="Footer Placeholder 4">
            <a:extLst>
              <a:ext uri="{FF2B5EF4-FFF2-40B4-BE49-F238E27FC236}">
                <a16:creationId xmlns:a16="http://schemas.microsoft.com/office/drawing/2014/main" id="{859394D0-4833-B6E0-93E6-B5DC76F47060}"/>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9" name="Slide Number Placeholder 5">
            <a:extLst>
              <a:ext uri="{FF2B5EF4-FFF2-40B4-BE49-F238E27FC236}">
                <a16:creationId xmlns:a16="http://schemas.microsoft.com/office/drawing/2014/main" id="{D656805F-FDB1-5871-DFA6-1F77619AF404}"/>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0" name="Holder 5">
            <a:extLst>
              <a:ext uri="{FF2B5EF4-FFF2-40B4-BE49-F238E27FC236}">
                <a16:creationId xmlns:a16="http://schemas.microsoft.com/office/drawing/2014/main" id="{A10BA4C4-F4F6-C096-E48F-CE9354B2916B}"/>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14964192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62" r:id="rId51"/>
    <p:sldLayoutId id="2147483781" r:id="rId52"/>
    <p:sldLayoutId id="2147483782" r:id="rId53"/>
  </p:sldLayoutIdLst>
  <p:hf hdr="0" ftr="0" dt="0"/>
  <p:txStyles>
    <p:titleStyle>
      <a:lvl1pPr eaLnBrk="1" hangingPunct="1">
        <a:defRPr sz="3600" b="0" i="0" baseline="0">
          <a:solidFill>
            <a:schemeClr val="tx2"/>
          </a:solidFill>
          <a:latin typeface="Avenir Medium" panose="02000503020000020003" pitchFamily="2" charset="0"/>
          <a:ea typeface="+mj-ea"/>
          <a:cs typeface="+mj-cs"/>
        </a:defRPr>
      </a:lvl1pPr>
    </p:titleStyle>
    <p:bodyStyle>
      <a:lvl1pPr marL="342900" indent="-342900" eaLnBrk="1" hangingPunct="1">
        <a:spcAft>
          <a:spcPts val="0"/>
        </a:spcAft>
        <a:buClrTx/>
        <a:buFont typeface="Arial" panose="020B0604020202020204" pitchFamily="34" charset="0"/>
        <a:buChar char="•"/>
        <a:defRPr sz="2400">
          <a:latin typeface="Calibri" panose="020F0502020204030204" pitchFamily="34" charset="0"/>
          <a:ea typeface="+mn-ea"/>
          <a:cs typeface="Calibri" panose="020F0502020204030204" pitchFamily="34" charset="0"/>
        </a:defRPr>
      </a:lvl1pPr>
      <a:lvl2pPr marL="746333" indent="-342900" eaLnBrk="1" hangingPunct="1">
        <a:spcAft>
          <a:spcPts val="0"/>
        </a:spcAft>
        <a:buFont typeface="Arial" panose="020B0604020202020204" pitchFamily="34" charset="0"/>
        <a:buChar char="•"/>
        <a:defRPr sz="2000">
          <a:latin typeface="Calibri" panose="020F0502020204030204" pitchFamily="34" charset="0"/>
          <a:ea typeface="+mn-ea"/>
          <a:cs typeface="Calibri" panose="020F0502020204030204" pitchFamily="34" charset="0"/>
        </a:defRPr>
      </a:lvl2pPr>
      <a:lvl3pPr marL="1092617" indent="-285750" eaLnBrk="1" hangingPunct="1">
        <a:spcAft>
          <a:spcPts val="0"/>
        </a:spcAft>
        <a:buFont typeface="Arial" panose="020B0604020202020204" pitchFamily="34" charset="0"/>
        <a:buChar char="•"/>
        <a:defRPr>
          <a:latin typeface="Calibri" panose="020F0502020204030204" pitchFamily="34" charset="0"/>
          <a:ea typeface="+mn-ea"/>
          <a:cs typeface="Calibri" panose="020F0502020204030204" pitchFamily="34" charset="0"/>
        </a:defRPr>
      </a:lvl3pPr>
      <a:lvl4pPr marL="1496050" indent="-285750" eaLnBrk="1" hangingPunct="1">
        <a:spcAft>
          <a:spcPts val="0"/>
        </a:spcAft>
        <a:buFont typeface="Arial" panose="020B0604020202020204" pitchFamily="34" charset="0"/>
        <a:buChar char="•"/>
        <a:defRPr>
          <a:latin typeface="Calibri" panose="020F0502020204030204" pitchFamily="34" charset="0"/>
          <a:ea typeface="+mn-ea"/>
          <a:cs typeface="Calibri" panose="020F0502020204030204" pitchFamily="34" charset="0"/>
        </a:defRPr>
      </a:lvl4pPr>
      <a:lvl5pPr marL="1899483" indent="-285750" eaLnBrk="1" hangingPunct="1">
        <a:spcAft>
          <a:spcPts val="0"/>
        </a:spcAft>
        <a:buFont typeface="Arial" panose="020B0604020202020204" pitchFamily="34" charset="0"/>
        <a:buChar char="•"/>
        <a:defRPr sz="1600">
          <a:latin typeface="Calibri" panose="020F0502020204030204" pitchFamily="34" charset="0"/>
          <a:ea typeface="+mn-ea"/>
          <a:cs typeface="Calibri" panose="020F0502020204030204" pitchFamily="34" charset="0"/>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p:bodyStyle>
    <p:otherStyle>
      <a:lvl1pPr marL="0" eaLnBrk="1" hangingPunct="1">
        <a:defRPr>
          <a:latin typeface="+mn-lt"/>
          <a:ea typeface="+mn-ea"/>
          <a:cs typeface="+mn-cs"/>
        </a:defRPr>
      </a:lvl1pPr>
      <a:lvl2pPr marL="403433" eaLnBrk="1" hangingPunct="1">
        <a:defRPr>
          <a:latin typeface="+mn-lt"/>
          <a:ea typeface="+mn-ea"/>
          <a:cs typeface="+mn-cs"/>
        </a:defRPr>
      </a:lvl2pPr>
      <a:lvl3pPr marL="806867" eaLnBrk="1" hangingPunct="1">
        <a:defRPr>
          <a:latin typeface="+mn-lt"/>
          <a:ea typeface="+mn-ea"/>
          <a:cs typeface="+mn-cs"/>
        </a:defRPr>
      </a:lvl3pPr>
      <a:lvl4pPr marL="1210300" eaLnBrk="1" hangingPunct="1">
        <a:defRPr>
          <a:latin typeface="+mn-lt"/>
          <a:ea typeface="+mn-ea"/>
          <a:cs typeface="+mn-cs"/>
        </a:defRPr>
      </a:lvl4pPr>
      <a:lvl5pPr marL="1613733" eaLnBrk="1" hangingPunct="1">
        <a:defRPr>
          <a:latin typeface="+mn-lt"/>
          <a:ea typeface="+mn-ea"/>
          <a:cs typeface="+mn-cs"/>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7488">
          <p15:clr>
            <a:srgbClr val="F26B43"/>
          </p15:clr>
        </p15:guide>
        <p15:guide id="3" pos="3840">
          <p15:clr>
            <a:srgbClr val="F26B43"/>
          </p15:clr>
        </p15:guide>
        <p15:guide id="4" pos="168">
          <p15:clr>
            <a:srgbClr val="F26B43"/>
          </p15:clr>
        </p15:guide>
        <p15:guide id="5" orient="horz" pos="41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DCED4D5F-4043-DDD8-3B77-730E7E9E7272}"/>
              </a:ext>
            </a:extLst>
          </p:cNvPr>
          <p:cNvSpPr>
            <a:spLocks noGrp="1"/>
          </p:cNvSpPr>
          <p:nvPr>
            <p:ph type="body" idx="1"/>
          </p:nvPr>
        </p:nvSpPr>
        <p:spPr>
          <a:xfrm>
            <a:off x="838200" y="1492624"/>
            <a:ext cx="10515600" cy="4251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Placeholder 13">
            <a:extLst>
              <a:ext uri="{FF2B5EF4-FFF2-40B4-BE49-F238E27FC236}">
                <a16:creationId xmlns:a16="http://schemas.microsoft.com/office/drawing/2014/main" id="{CE6D0158-9E92-6045-E3E2-132EABB086A2}"/>
              </a:ext>
            </a:extLst>
          </p:cNvPr>
          <p:cNvSpPr>
            <a:spLocks noGrp="1"/>
          </p:cNvSpPr>
          <p:nvPr>
            <p:ph type="title"/>
          </p:nvPr>
        </p:nvSpPr>
        <p:spPr>
          <a:xfrm>
            <a:off x="838200" y="365126"/>
            <a:ext cx="10515600" cy="939240"/>
          </a:xfrm>
          <a:prstGeom prst="rect">
            <a:avLst/>
          </a:prstGeom>
        </p:spPr>
        <p:txBody>
          <a:bodyPr vert="horz" lIns="91440" tIns="45720" rIns="91440" bIns="45720" rtlCol="0" anchor="ctr">
            <a:normAutofit/>
          </a:bodyPr>
          <a:lstStyle/>
          <a:p>
            <a:r>
              <a:rPr lang="en-US"/>
              <a:t>Click to edit Master title style</a:t>
            </a:r>
          </a:p>
        </p:txBody>
      </p:sp>
      <p:pic>
        <p:nvPicPr>
          <p:cNvPr id="15" name="Picture 14">
            <a:extLst>
              <a:ext uri="{FF2B5EF4-FFF2-40B4-BE49-F238E27FC236}">
                <a16:creationId xmlns:a16="http://schemas.microsoft.com/office/drawing/2014/main" id="{B1D70DF0-68F5-AD6B-072D-AD417EFCB094}"/>
              </a:ext>
              <a:ext uri="{C183D7F6-B498-43B3-948B-1728B52AA6E4}">
                <adec:decorative xmlns:adec="http://schemas.microsoft.com/office/drawing/2017/decorative" val="1"/>
              </a:ext>
            </a:extLst>
          </p:cNvPr>
          <p:cNvPicPr>
            <a:picLocks noChangeAspect="1"/>
          </p:cNvPicPr>
          <p:nvPr userDrawn="1"/>
        </p:nvPicPr>
        <p:blipFill>
          <a:blip r:embed="rId54" cstate="screen">
            <a:extLst>
              <a:ext uri="{28A0092B-C50C-407E-A947-70E740481C1C}">
                <a14:useLocalDpi xmlns:a14="http://schemas.microsoft.com/office/drawing/2010/main"/>
              </a:ext>
            </a:extLst>
          </a:blip>
          <a:srcRect/>
          <a:stretch/>
        </p:blipFill>
        <p:spPr>
          <a:xfrm>
            <a:off x="10255387" y="6148205"/>
            <a:ext cx="1799771" cy="479939"/>
          </a:xfrm>
          <a:prstGeom prst="rect">
            <a:avLst/>
          </a:prstGeom>
        </p:spPr>
      </p:pic>
      <p:sp>
        <p:nvSpPr>
          <p:cNvPr id="8" name="Footer Placeholder 4">
            <a:extLst>
              <a:ext uri="{FF2B5EF4-FFF2-40B4-BE49-F238E27FC236}">
                <a16:creationId xmlns:a16="http://schemas.microsoft.com/office/drawing/2014/main" id="{859394D0-4833-B6E0-93E6-B5DC76F47060}"/>
              </a:ext>
            </a:extLst>
          </p:cNvPr>
          <p:cNvSpPr>
            <a:spLocks noGrp="1"/>
          </p:cNvSpPr>
          <p:nvPr>
            <p:ph type="ftr" sz="quarter" idx="3"/>
          </p:nvPr>
        </p:nvSpPr>
        <p:spPr>
          <a:xfrm>
            <a:off x="845362" y="6525907"/>
            <a:ext cx="5905864" cy="153887"/>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
        <p:nvSpPr>
          <p:cNvPr id="9" name="Slide Number Placeholder 5">
            <a:extLst>
              <a:ext uri="{FF2B5EF4-FFF2-40B4-BE49-F238E27FC236}">
                <a16:creationId xmlns:a16="http://schemas.microsoft.com/office/drawing/2014/main" id="{D656805F-FDB1-5871-DFA6-1F77619AF404}"/>
              </a:ext>
            </a:extLst>
          </p:cNvPr>
          <p:cNvSpPr>
            <a:spLocks noGrp="1"/>
          </p:cNvSpPr>
          <p:nvPr>
            <p:ph type="sldNum" sz="quarter" idx="4"/>
          </p:nvPr>
        </p:nvSpPr>
        <p:spPr>
          <a:xfrm>
            <a:off x="191300" y="6531185"/>
            <a:ext cx="508000" cy="153888"/>
          </a:xfrm>
          <a:prstGeom prst="rect">
            <a:avLst/>
          </a:prstGeom>
        </p:spPr>
        <p:txBody>
          <a:bodyPr anchor="ct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fld id="{02B5F485-982A-41B4-B657-C5770F0E9220}" type="slidenum">
              <a:rPr lang="en-US" smtClean="0"/>
              <a:pPr/>
              <a:t>‹#›</a:t>
            </a:fld>
            <a:endParaRPr lang="en-US"/>
          </a:p>
        </p:txBody>
      </p:sp>
      <p:sp>
        <p:nvSpPr>
          <p:cNvPr id="10" name="Holder 5">
            <a:extLst>
              <a:ext uri="{FF2B5EF4-FFF2-40B4-BE49-F238E27FC236}">
                <a16:creationId xmlns:a16="http://schemas.microsoft.com/office/drawing/2014/main" id="{A10BA4C4-F4F6-C096-E48F-CE9354B2916B}"/>
              </a:ext>
            </a:extLst>
          </p:cNvPr>
          <p:cNvSpPr>
            <a:spLocks noGrp="1"/>
          </p:cNvSpPr>
          <p:nvPr>
            <p:ph type="dt" sz="half" idx="2"/>
          </p:nvPr>
        </p:nvSpPr>
        <p:spPr>
          <a:xfrm>
            <a:off x="7217563" y="6525906"/>
            <a:ext cx="1799771" cy="153888"/>
          </a:xfrm>
          <a:prstGeom prst="rect">
            <a:avLst/>
          </a:prstGeom>
        </p:spPr>
        <p:txBody>
          <a:bodyPr wrap="square" lIns="0" tIns="0" rIns="0" bIns="0">
            <a:spAutoFit/>
          </a:bodyPr>
          <a:lstStyle>
            <a:lvl1pPr algn="l">
              <a:defRPr sz="1000">
                <a:solidFill>
                  <a:schemeClr val="accent6">
                    <a:lumMod val="50000"/>
                  </a:schemeClr>
                </a:solidFill>
                <a:latin typeface="Calibri" panose="020F0502020204030204" pitchFamily="34" charset="0"/>
                <a:cs typeface="Calibri" panose="020F0502020204030204" pitchFamily="34" charset="0"/>
              </a:defRPr>
            </a:lvl1pPr>
          </a:lstStyle>
          <a:p>
            <a:endParaRPr lang="en-US"/>
          </a:p>
        </p:txBody>
      </p:sp>
    </p:spTree>
    <p:extLst>
      <p:ext uri="{BB962C8B-B14F-4D97-AF65-F5344CB8AC3E}">
        <p14:creationId xmlns:p14="http://schemas.microsoft.com/office/powerpoint/2010/main" val="405506733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3" r:id="rId51"/>
    <p:sldLayoutId id="2147483783" r:id="rId52"/>
  </p:sldLayoutIdLst>
  <p:hf hdr="0" ftr="0" dt="0"/>
  <p:txStyles>
    <p:titleStyle>
      <a:lvl1pPr eaLnBrk="1" hangingPunct="1">
        <a:defRPr sz="3600" b="0" i="0" baseline="0">
          <a:solidFill>
            <a:schemeClr val="tx2"/>
          </a:solidFill>
          <a:latin typeface="Avenir Medium" panose="02000503020000020003" pitchFamily="2" charset="0"/>
          <a:ea typeface="+mj-ea"/>
          <a:cs typeface="+mj-cs"/>
        </a:defRPr>
      </a:lvl1pPr>
    </p:titleStyle>
    <p:bodyStyle>
      <a:lvl1pPr marL="342900" indent="-342900" eaLnBrk="1" hangingPunct="1">
        <a:spcAft>
          <a:spcPts val="0"/>
        </a:spcAft>
        <a:buClrTx/>
        <a:buFont typeface="Arial" panose="020B0604020202020204" pitchFamily="34" charset="0"/>
        <a:buChar char="•"/>
        <a:defRPr sz="2400">
          <a:latin typeface="Calibri" panose="020F0502020204030204" pitchFamily="34" charset="0"/>
          <a:ea typeface="+mn-ea"/>
          <a:cs typeface="Calibri" panose="020F0502020204030204" pitchFamily="34" charset="0"/>
        </a:defRPr>
      </a:lvl1pPr>
      <a:lvl2pPr marL="746333" indent="-342900" eaLnBrk="1" hangingPunct="1">
        <a:spcAft>
          <a:spcPts val="0"/>
        </a:spcAft>
        <a:buFont typeface="Arial" panose="020B0604020202020204" pitchFamily="34" charset="0"/>
        <a:buChar char="•"/>
        <a:defRPr sz="2000">
          <a:latin typeface="Calibri" panose="020F0502020204030204" pitchFamily="34" charset="0"/>
          <a:ea typeface="+mn-ea"/>
          <a:cs typeface="Calibri" panose="020F0502020204030204" pitchFamily="34" charset="0"/>
        </a:defRPr>
      </a:lvl2pPr>
      <a:lvl3pPr marL="1092617" indent="-285750" eaLnBrk="1" hangingPunct="1">
        <a:spcAft>
          <a:spcPts val="0"/>
        </a:spcAft>
        <a:buFont typeface="Arial" panose="020B0604020202020204" pitchFamily="34" charset="0"/>
        <a:buChar char="•"/>
        <a:defRPr>
          <a:latin typeface="Calibri" panose="020F0502020204030204" pitchFamily="34" charset="0"/>
          <a:ea typeface="+mn-ea"/>
          <a:cs typeface="Calibri" panose="020F0502020204030204" pitchFamily="34" charset="0"/>
        </a:defRPr>
      </a:lvl3pPr>
      <a:lvl4pPr marL="1496050" indent="-285750" eaLnBrk="1" hangingPunct="1">
        <a:spcAft>
          <a:spcPts val="0"/>
        </a:spcAft>
        <a:buFont typeface="Arial" panose="020B0604020202020204" pitchFamily="34" charset="0"/>
        <a:buChar char="•"/>
        <a:defRPr>
          <a:latin typeface="Calibri" panose="020F0502020204030204" pitchFamily="34" charset="0"/>
          <a:ea typeface="+mn-ea"/>
          <a:cs typeface="Calibri" panose="020F0502020204030204" pitchFamily="34" charset="0"/>
        </a:defRPr>
      </a:lvl4pPr>
      <a:lvl5pPr marL="1899483" indent="-285750" eaLnBrk="1" hangingPunct="1">
        <a:spcAft>
          <a:spcPts val="0"/>
        </a:spcAft>
        <a:buFont typeface="Arial" panose="020B0604020202020204" pitchFamily="34" charset="0"/>
        <a:buChar char="•"/>
        <a:defRPr sz="1600">
          <a:latin typeface="Calibri" panose="020F0502020204030204" pitchFamily="34" charset="0"/>
          <a:ea typeface="+mn-ea"/>
          <a:cs typeface="Calibri" panose="020F0502020204030204" pitchFamily="34" charset="0"/>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p:bodyStyle>
    <p:otherStyle>
      <a:lvl1pPr marL="0" eaLnBrk="1" hangingPunct="1">
        <a:defRPr>
          <a:latin typeface="+mn-lt"/>
          <a:ea typeface="+mn-ea"/>
          <a:cs typeface="+mn-cs"/>
        </a:defRPr>
      </a:lvl1pPr>
      <a:lvl2pPr marL="403433" eaLnBrk="1" hangingPunct="1">
        <a:defRPr>
          <a:latin typeface="+mn-lt"/>
          <a:ea typeface="+mn-ea"/>
          <a:cs typeface="+mn-cs"/>
        </a:defRPr>
      </a:lvl2pPr>
      <a:lvl3pPr marL="806867" eaLnBrk="1" hangingPunct="1">
        <a:defRPr>
          <a:latin typeface="+mn-lt"/>
          <a:ea typeface="+mn-ea"/>
          <a:cs typeface="+mn-cs"/>
        </a:defRPr>
      </a:lvl3pPr>
      <a:lvl4pPr marL="1210300" eaLnBrk="1" hangingPunct="1">
        <a:defRPr>
          <a:latin typeface="+mn-lt"/>
          <a:ea typeface="+mn-ea"/>
          <a:cs typeface="+mn-cs"/>
        </a:defRPr>
      </a:lvl4pPr>
      <a:lvl5pPr marL="1613733" eaLnBrk="1" hangingPunct="1">
        <a:defRPr>
          <a:latin typeface="+mn-lt"/>
          <a:ea typeface="+mn-ea"/>
          <a:cs typeface="+mn-cs"/>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7488">
          <p15:clr>
            <a:srgbClr val="F26B43"/>
          </p15:clr>
        </p15:guide>
        <p15:guide id="3" pos="3840">
          <p15:clr>
            <a:srgbClr val="F26B43"/>
          </p15:clr>
        </p15:guide>
        <p15:guide id="4" pos="168">
          <p15:clr>
            <a:srgbClr val="F26B43"/>
          </p15:clr>
        </p15:guide>
        <p15:guide id="5" orient="horz" pos="41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822960" y="182880"/>
            <a:ext cx="10560941" cy="914400"/>
          </a:xfrm>
          <a:prstGeom prst="rect">
            <a:avLst/>
          </a:prstGeom>
        </p:spPr>
        <p:txBody>
          <a:bodyPr wrap="square" lIns="91440" tIns="0" rIns="91440" bIns="0" anchor="b" anchorCtr="0">
            <a:spAutoFit/>
          </a:bodyPr>
          <a:lstStyle>
            <a:lvl1pPr>
              <a:defRPr sz="3000" b="1" i="0">
                <a:solidFill>
                  <a:srgbClr val="1CA6DF"/>
                </a:solidFill>
                <a:latin typeface="Avenir LT Std 65 Medium"/>
                <a:cs typeface="Avenir LT Std 65 Medium"/>
              </a:defRPr>
            </a:lvl1pPr>
          </a:lstStyle>
          <a:p>
            <a:endParaRPr/>
          </a:p>
        </p:txBody>
      </p:sp>
      <p:sp>
        <p:nvSpPr>
          <p:cNvPr id="4" name="Holder 4"/>
          <p:cNvSpPr>
            <a:spLocks noGrp="1"/>
          </p:cNvSpPr>
          <p:nvPr>
            <p:ph type="ftr" sz="quarter" idx="5"/>
          </p:nvPr>
        </p:nvSpPr>
        <p:spPr>
          <a:xfrm>
            <a:off x="2686593" y="6640603"/>
            <a:ext cx="5905864" cy="153887"/>
          </a:xfrm>
          <a:prstGeom prst="rect">
            <a:avLst/>
          </a:prstGeom>
        </p:spPr>
        <p:txBody>
          <a:bodyPr wrap="square" lIns="0" tIns="0" rIns="0" bIns="0">
            <a:spAutoFit/>
          </a:bodyPr>
          <a:lstStyle>
            <a:lvl1pPr algn="l">
              <a:defRPr sz="10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5" name="Holder 5"/>
          <p:cNvSpPr>
            <a:spLocks noGrp="1"/>
          </p:cNvSpPr>
          <p:nvPr>
            <p:ph type="dt" sz="half" idx="6"/>
          </p:nvPr>
        </p:nvSpPr>
        <p:spPr>
          <a:xfrm>
            <a:off x="9093197" y="6640603"/>
            <a:ext cx="1799771" cy="153888"/>
          </a:xfrm>
          <a:prstGeom prst="rect">
            <a:avLst/>
          </a:prstGeom>
        </p:spPr>
        <p:txBody>
          <a:bodyPr wrap="square" lIns="0" tIns="0" rIns="0" bIns="0">
            <a:spAutoFit/>
          </a:bodyPr>
          <a:lstStyle>
            <a:lvl1pPr algn="r">
              <a:defRPr sz="10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Holder 6"/>
          <p:cNvSpPr>
            <a:spLocks noGrp="1"/>
          </p:cNvSpPr>
          <p:nvPr>
            <p:ph type="sldNum" sz="quarter" idx="7"/>
          </p:nvPr>
        </p:nvSpPr>
        <p:spPr>
          <a:xfrm>
            <a:off x="11074400" y="6640603"/>
            <a:ext cx="508000" cy="153888"/>
          </a:xfrm>
          <a:prstGeom prst="rect">
            <a:avLst/>
          </a:prstGeom>
        </p:spPr>
        <p:txBody>
          <a:bodyPr wrap="square" lIns="0" tIns="0" rIns="0" bIns="0">
            <a:spAutoFit/>
          </a:bodyP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B6F15528-21DE-4FAA-801E-634DDDAF4B2B}" type="slidenum">
              <a:rPr lang="en-US" smtClean="0"/>
              <a:pPr/>
              <a:t>‹#›</a:t>
            </a:fld>
            <a:endParaRPr lang="en-US"/>
          </a:p>
        </p:txBody>
      </p:sp>
      <p:sp>
        <p:nvSpPr>
          <p:cNvPr id="9" name="bg object 17">
            <a:extLst>
              <a:ext uri="{FF2B5EF4-FFF2-40B4-BE49-F238E27FC236}">
                <a16:creationId xmlns:a16="http://schemas.microsoft.com/office/drawing/2014/main" id="{ECE20D46-A572-5656-2226-A65F8C9379E2}"/>
              </a:ext>
            </a:extLst>
          </p:cNvPr>
          <p:cNvSpPr/>
          <p:nvPr userDrawn="1"/>
        </p:nvSpPr>
        <p:spPr>
          <a:xfrm>
            <a:off x="8631" y="6040231"/>
            <a:ext cx="12192000" cy="508748"/>
          </a:xfrm>
          <a:custGeom>
            <a:avLst/>
            <a:gdLst>
              <a:gd name="connsiteX0" fmla="*/ 10058400 w 10058400"/>
              <a:gd name="connsiteY0" fmla="*/ 576580 h 576580"/>
              <a:gd name="connsiteX1" fmla="*/ 2574607 w 10058400"/>
              <a:gd name="connsiteY1" fmla="*/ 576580 h 576580"/>
              <a:gd name="connsiteX2" fmla="*/ 1801725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801725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901360 w 10058400"/>
              <a:gd name="connsiteY2" fmla="*/ 0 h 576580"/>
              <a:gd name="connsiteX3" fmla="*/ 0 w 10058400"/>
              <a:gd name="connsiteY3" fmla="*/ 0 h 576580"/>
              <a:gd name="connsiteX0" fmla="*/ 10058400 w 10058400"/>
              <a:gd name="connsiteY0" fmla="*/ 576580 h 576580"/>
              <a:gd name="connsiteX1" fmla="*/ 2133366 w 10058400"/>
              <a:gd name="connsiteY1" fmla="*/ 557027 h 576580"/>
              <a:gd name="connsiteX2" fmla="*/ 1929828 w 10058400"/>
              <a:gd name="connsiteY2" fmla="*/ 0 h 576580"/>
              <a:gd name="connsiteX3" fmla="*/ 0 w 10058400"/>
              <a:gd name="connsiteY3" fmla="*/ 0 h 576580"/>
            </a:gdLst>
            <a:ahLst/>
            <a:cxnLst>
              <a:cxn ang="0">
                <a:pos x="connsiteX0" y="connsiteY0"/>
              </a:cxn>
              <a:cxn ang="0">
                <a:pos x="connsiteX1" y="connsiteY1"/>
              </a:cxn>
              <a:cxn ang="0">
                <a:pos x="connsiteX2" y="connsiteY2"/>
              </a:cxn>
              <a:cxn ang="0">
                <a:pos x="connsiteX3" y="connsiteY3"/>
              </a:cxn>
            </a:cxnLst>
            <a:rect l="l" t="t" r="r" b="b"/>
            <a:pathLst>
              <a:path w="10058400" h="576580">
                <a:moveTo>
                  <a:pt x="10058400" y="576580"/>
                </a:moveTo>
                <a:lnTo>
                  <a:pt x="2133366" y="557027"/>
                </a:lnTo>
                <a:lnTo>
                  <a:pt x="1929828" y="0"/>
                </a:lnTo>
                <a:lnTo>
                  <a:pt x="0" y="0"/>
                </a:lnTo>
              </a:path>
            </a:pathLst>
          </a:custGeom>
          <a:ln w="12699">
            <a:solidFill>
              <a:srgbClr val="2460AD"/>
            </a:solidFill>
          </a:ln>
        </p:spPr>
        <p:txBody>
          <a:bodyPr wrap="square" lIns="0" tIns="0" rIns="0" bIns="0" rtlCol="0"/>
          <a:lstStyle/>
          <a:p>
            <a:endParaRPr sz="1588"/>
          </a:p>
        </p:txBody>
      </p:sp>
      <p:pic>
        <p:nvPicPr>
          <p:cNvPr id="10" name="Picture 9">
            <a:extLst>
              <a:ext uri="{FF2B5EF4-FFF2-40B4-BE49-F238E27FC236}">
                <a16:creationId xmlns:a16="http://schemas.microsoft.com/office/drawing/2014/main" id="{489E4B01-105B-9F34-84DE-BD832E643896}"/>
              </a:ext>
            </a:extLst>
          </p:cNvPr>
          <p:cNvPicPr>
            <a:picLocks noChangeAspect="1"/>
          </p:cNvPicPr>
          <p:nvPr userDrawn="1"/>
        </p:nvPicPr>
        <p:blipFill>
          <a:blip r:embed="rId18" cstate="print">
            <a:extLst>
              <a:ext uri="{28A0092B-C50C-407E-A947-70E740481C1C}">
                <a14:useLocalDpi xmlns:a14="http://schemas.microsoft.com/office/drawing/2010/main" val="0"/>
              </a:ext>
            </a:extLst>
          </a:blip>
          <a:srcRect/>
          <a:stretch/>
        </p:blipFill>
        <p:spPr>
          <a:xfrm>
            <a:off x="225288" y="6099848"/>
            <a:ext cx="1888315" cy="503551"/>
          </a:xfrm>
          <a:prstGeom prst="rect">
            <a:avLst/>
          </a:prstGeom>
        </p:spPr>
      </p:pic>
      <p:sp>
        <p:nvSpPr>
          <p:cNvPr id="13" name="Text Placeholder 12">
            <a:extLst>
              <a:ext uri="{FF2B5EF4-FFF2-40B4-BE49-F238E27FC236}">
                <a16:creationId xmlns:a16="http://schemas.microsoft.com/office/drawing/2014/main" id="{DCED4D5F-4043-DDD8-3B77-730E7E9E7272}"/>
              </a:ext>
            </a:extLst>
          </p:cNvPr>
          <p:cNvSpPr>
            <a:spLocks noGrp="1"/>
          </p:cNvSpPr>
          <p:nvPr>
            <p:ph type="body" idx="1"/>
          </p:nvPr>
        </p:nvSpPr>
        <p:spPr>
          <a:xfrm>
            <a:off x="838200" y="1393086"/>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35604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Lst>
  <p:hf hdr="0" ftr="0" dt="0"/>
  <p:txStyles>
    <p:titleStyle>
      <a:lvl1pPr eaLnBrk="1" hangingPunct="1">
        <a:defRPr>
          <a:latin typeface="+mj-lt"/>
          <a:ea typeface="+mj-ea"/>
          <a:cs typeface="+mj-cs"/>
        </a:defRPr>
      </a:lvl1pPr>
    </p:titleStyle>
    <p:bodyStyle>
      <a:lvl1pPr marL="342900" indent="-342900" eaLnBrk="1" hangingPunct="1">
        <a:spcAft>
          <a:spcPts val="0"/>
        </a:spcAft>
        <a:buClrTx/>
        <a:buFont typeface="Arial" panose="020B0604020202020204" pitchFamily="34" charset="0"/>
        <a:buChar char="•"/>
        <a:defRPr sz="2400">
          <a:latin typeface="+mn-lt"/>
          <a:ea typeface="+mn-ea"/>
          <a:cs typeface="+mn-cs"/>
        </a:defRPr>
      </a:lvl1pPr>
      <a:lvl2pPr marL="746333" indent="-342900" eaLnBrk="1" hangingPunct="1">
        <a:spcAft>
          <a:spcPts val="0"/>
        </a:spcAft>
        <a:buFont typeface="Arial" panose="020B0604020202020204" pitchFamily="34" charset="0"/>
        <a:buChar char="•"/>
        <a:defRPr sz="2000">
          <a:latin typeface="+mn-lt"/>
          <a:ea typeface="+mn-ea"/>
          <a:cs typeface="+mn-cs"/>
        </a:defRPr>
      </a:lvl2pPr>
      <a:lvl3pPr marL="1092617" indent="-285750" eaLnBrk="1" hangingPunct="1">
        <a:spcAft>
          <a:spcPts val="0"/>
        </a:spcAft>
        <a:buFont typeface="Arial" panose="020B0604020202020204" pitchFamily="34" charset="0"/>
        <a:buChar char="•"/>
        <a:defRPr>
          <a:latin typeface="+mn-lt"/>
          <a:ea typeface="+mn-ea"/>
          <a:cs typeface="+mn-cs"/>
        </a:defRPr>
      </a:lvl3pPr>
      <a:lvl4pPr marL="1496050" indent="-285750" eaLnBrk="1" hangingPunct="1">
        <a:spcAft>
          <a:spcPts val="0"/>
        </a:spcAft>
        <a:buFont typeface="Arial" panose="020B0604020202020204" pitchFamily="34" charset="0"/>
        <a:buChar char="•"/>
        <a:defRPr>
          <a:latin typeface="+mn-lt"/>
          <a:ea typeface="+mn-ea"/>
          <a:cs typeface="+mn-cs"/>
        </a:defRPr>
      </a:lvl4pPr>
      <a:lvl5pPr marL="1899483" indent="-285750" eaLnBrk="1" hangingPunct="1">
        <a:spcAft>
          <a:spcPts val="0"/>
        </a:spcAft>
        <a:buFont typeface="Arial" panose="020B0604020202020204" pitchFamily="34" charset="0"/>
        <a:buChar char="•"/>
        <a:defRPr sz="1600">
          <a:latin typeface="+mn-lt"/>
          <a:ea typeface="+mn-ea"/>
          <a:cs typeface="+mn-cs"/>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p:bodyStyle>
    <p:otherStyle>
      <a:lvl1pPr marL="0" eaLnBrk="1" hangingPunct="1">
        <a:defRPr>
          <a:latin typeface="+mn-lt"/>
          <a:ea typeface="+mn-ea"/>
          <a:cs typeface="+mn-cs"/>
        </a:defRPr>
      </a:lvl1pPr>
      <a:lvl2pPr marL="403433" eaLnBrk="1" hangingPunct="1">
        <a:defRPr>
          <a:latin typeface="+mn-lt"/>
          <a:ea typeface="+mn-ea"/>
          <a:cs typeface="+mn-cs"/>
        </a:defRPr>
      </a:lvl2pPr>
      <a:lvl3pPr marL="806867" eaLnBrk="1" hangingPunct="1">
        <a:defRPr>
          <a:latin typeface="+mn-lt"/>
          <a:ea typeface="+mn-ea"/>
          <a:cs typeface="+mn-cs"/>
        </a:defRPr>
      </a:lvl3pPr>
      <a:lvl4pPr marL="1210300" eaLnBrk="1" hangingPunct="1">
        <a:defRPr>
          <a:latin typeface="+mn-lt"/>
          <a:ea typeface="+mn-ea"/>
          <a:cs typeface="+mn-cs"/>
        </a:defRPr>
      </a:lvl4pPr>
      <a:lvl5pPr marL="1613733" eaLnBrk="1" hangingPunct="1">
        <a:defRPr>
          <a:latin typeface="+mn-lt"/>
          <a:ea typeface="+mn-ea"/>
          <a:cs typeface="+mn-cs"/>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p:otherStyle>
  </p:txStyles>
  <p:extLst>
    <p:ext uri="{27BBF7A9-308A-43DC-89C8-2F10F3537804}">
      <p15:sldGuideLst xmlns:p15="http://schemas.microsoft.com/office/powerpoint/2012/main">
        <p15:guide id="1" orient="horz" pos="768">
          <p15:clr>
            <a:srgbClr val="F26B43"/>
          </p15:clr>
        </p15:guide>
        <p15:guide id="2" pos="7488">
          <p15:clr>
            <a:srgbClr val="F26B43"/>
          </p15:clr>
        </p15:guide>
        <p15:guide id="3" pos="3840">
          <p15:clr>
            <a:srgbClr val="F26B43"/>
          </p15:clr>
        </p15:guide>
        <p15:guide id="4" pos="168">
          <p15:clr>
            <a:srgbClr val="F26B43"/>
          </p15:clr>
        </p15:guide>
        <p15:guide id="5" orient="horz" pos="39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4CDFD5-E7E0-F3A8-7E5A-65E083D40DC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EEE3B9-9248-5284-E2F8-63E87A256B7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E5D627-E2EF-DE32-D627-C45DC7E4323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373DF6-6300-44FE-84EE-B805CD4A0B73}" type="datetimeFigureOut">
              <a:rPr lang="en-US" smtClean="0"/>
              <a:t>11/16/2023</a:t>
            </a:fld>
            <a:endParaRPr lang="en-US"/>
          </a:p>
        </p:txBody>
      </p:sp>
      <p:sp>
        <p:nvSpPr>
          <p:cNvPr id="5" name="Footer Placeholder 4">
            <a:extLst>
              <a:ext uri="{FF2B5EF4-FFF2-40B4-BE49-F238E27FC236}">
                <a16:creationId xmlns:a16="http://schemas.microsoft.com/office/drawing/2014/main" id="{96D9C77D-D58B-04FF-5BDA-D063E55A38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A3A7C1D-D646-750F-8C41-8857E055A65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3006B1-3717-4886-8AC2-F8E44D0375EC}" type="slidenum">
              <a:rPr lang="en-US" smtClean="0"/>
              <a:t>‹#›</a:t>
            </a:fld>
            <a:endParaRPr lang="en-US"/>
          </a:p>
        </p:txBody>
      </p:sp>
    </p:spTree>
    <p:extLst>
      <p:ext uri="{BB962C8B-B14F-4D97-AF65-F5344CB8AC3E}">
        <p14:creationId xmlns:p14="http://schemas.microsoft.com/office/powerpoint/2010/main" val="1532350683"/>
      </p:ext>
    </p:extLst>
  </p:cSld>
  <p:clrMap bg1="lt1" tx1="dk1" bg2="lt2" tx2="dk2" accent1="accent1" accent2="accent2" accent3="accent3" accent4="accent4" accent5="accent5" accent6="accent6" hlink="hlink" folHlink="folHlink"/>
  <p:sldLayoutIdLst>
    <p:sldLayoutId id="2147483655" r:id="rId1"/>
    <p:sldLayoutId id="214748364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3.xml"/></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6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1.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Layout" Target="../slideLayouts/slideLayout84.xml"/></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xml"/><Relationship Id="rId1" Type="http://schemas.openxmlformats.org/officeDocument/2006/relationships/slideLayout" Target="../slideLayouts/slideLayout69.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slides/_rels/slide1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69.xml"/><Relationship Id="rId4" Type="http://schemas.openxmlformats.org/officeDocument/2006/relationships/image" Target="../media/image69.png"/></Relationships>
</file>

<file path=ppt/slides/_rels/slide14.xml.rels><?xml version="1.0" encoding="UTF-8" standalone="yes"?>
<Relationships xmlns="http://schemas.openxmlformats.org/package/2006/relationships"><Relationship Id="rId3" Type="http://schemas.openxmlformats.org/officeDocument/2006/relationships/hyperlink" Target="https://energywerx.submittable.com/submit/a0efe99f-0b8a-4247-8979-38efc0c920e9/workstream-2-third-party-assessor-qualification-questionnaire" TargetMode="External"/><Relationship Id="rId7" Type="http://schemas.openxmlformats.org/officeDocument/2006/relationships/hyperlink" Target="mailto:info@energywerx.org" TargetMode="External"/><Relationship Id="rId2" Type="http://schemas.openxmlformats.org/officeDocument/2006/relationships/hyperlink" Target="https://energywerx.submittable.com/submit/99cd2f83-109e-412c-bf47-d7b4db021a80/workstream-1-iac-implementation-grants" TargetMode="External"/><Relationship Id="rId1" Type="http://schemas.openxmlformats.org/officeDocument/2006/relationships/slideLayout" Target="../slideLayouts/slideLayout91.xml"/><Relationship Id="rId6" Type="http://schemas.openxmlformats.org/officeDocument/2006/relationships/hyperlink" Target="https://6767739.fs1.hubspotusercontent-na1.net/hubfs/6767739/ENERGYWERX/IAC/IAC%20Implementation%20Grants%20FAQs.pdf" TargetMode="External"/><Relationship Id="rId5" Type="http://schemas.openxmlformats.org/officeDocument/2006/relationships/hyperlink" Target="https://energywerx.wufoo.com/forms/q1fv13fd1fksiqp/" TargetMode="External"/><Relationship Id="rId4" Type="http://schemas.openxmlformats.org/officeDocument/2006/relationships/hyperlink" Target="https://energywerx.wufoo.com/forms/q3q4eyg0hkrokp/" TargetMode="Externa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6.xml.rels><?xml version="1.0" encoding="UTF-8" standalone="yes"?>
<Relationships xmlns="http://schemas.openxmlformats.org/package/2006/relationships"><Relationship Id="rId8" Type="http://schemas.openxmlformats.org/officeDocument/2006/relationships/hyperlink" Target="https://www.energy.gov/mesc/industrial-assessment-centers-iacs" TargetMode="External"/><Relationship Id="rId13" Type="http://schemas.openxmlformats.org/officeDocument/2006/relationships/image" Target="../media/image72.png"/><Relationship Id="rId18" Type="http://schemas.openxmlformats.org/officeDocument/2006/relationships/image" Target="../media/image77.svg"/><Relationship Id="rId26" Type="http://schemas.openxmlformats.org/officeDocument/2006/relationships/image" Target="../media/image85.svg"/><Relationship Id="rId3" Type="http://schemas.openxmlformats.org/officeDocument/2006/relationships/hyperlink" Target="https://www.energywerx.org/opportunities/iac-round-2" TargetMode="External"/><Relationship Id="rId21" Type="http://schemas.openxmlformats.org/officeDocument/2006/relationships/image" Target="../media/image80.png"/><Relationship Id="rId7" Type="http://schemas.openxmlformats.org/officeDocument/2006/relationships/hyperlink" Target="https://www.energy.gov/mesc/industrial-research-and-assessment-center-implementation-grants" TargetMode="External"/><Relationship Id="rId12" Type="http://schemas.openxmlformats.org/officeDocument/2006/relationships/image" Target="../media/image71.svg"/><Relationship Id="rId17" Type="http://schemas.openxmlformats.org/officeDocument/2006/relationships/image" Target="../media/image76.png"/><Relationship Id="rId25" Type="http://schemas.openxmlformats.org/officeDocument/2006/relationships/image" Target="../media/image84.png"/><Relationship Id="rId2" Type="http://schemas.openxmlformats.org/officeDocument/2006/relationships/notesSlide" Target="../notesSlides/notesSlide4.xml"/><Relationship Id="rId16" Type="http://schemas.openxmlformats.org/officeDocument/2006/relationships/image" Target="../media/image75.svg"/><Relationship Id="rId20" Type="http://schemas.openxmlformats.org/officeDocument/2006/relationships/image" Target="../media/image79.svg"/><Relationship Id="rId1" Type="http://schemas.openxmlformats.org/officeDocument/2006/relationships/slideLayout" Target="../slideLayouts/slideLayout69.xml"/><Relationship Id="rId6" Type="http://schemas.openxmlformats.org/officeDocument/2006/relationships/hyperlink" Target="https://www.energy.gov/articles/biden-harris-administration-announces-80-million-strengthen-american-manufacturing" TargetMode="External"/><Relationship Id="rId11" Type="http://schemas.openxmlformats.org/officeDocument/2006/relationships/image" Target="../media/image70.png"/><Relationship Id="rId24" Type="http://schemas.openxmlformats.org/officeDocument/2006/relationships/image" Target="../media/image83.svg"/><Relationship Id="rId5" Type="http://schemas.openxmlformats.org/officeDocument/2006/relationships/hyperlink" Target="https://energywerx.submittable.com/submit/7a0545cb-884f-40f7-bebc-f1dc18a2b546/workstream-2-third-party-assessor-qualification-questionnaire" TargetMode="External"/><Relationship Id="rId15" Type="http://schemas.openxmlformats.org/officeDocument/2006/relationships/image" Target="../media/image74.png"/><Relationship Id="rId23" Type="http://schemas.openxmlformats.org/officeDocument/2006/relationships/image" Target="../media/image82.png"/><Relationship Id="rId10" Type="http://schemas.openxmlformats.org/officeDocument/2006/relationships/hyperlink" Target="https://public.govdelivery.com/accounts/USDOEMESC/subscriber/new" TargetMode="External"/><Relationship Id="rId19" Type="http://schemas.openxmlformats.org/officeDocument/2006/relationships/image" Target="../media/image78.png"/><Relationship Id="rId4" Type="http://schemas.openxmlformats.org/officeDocument/2006/relationships/hyperlink" Target="https://energywerx.submittable.com/submit/251a1a79-ce06-4ee1-bcef-12be16fd3338/workstream-1-implementation-grants-2018-2023-iac-or-chp-tap-assessments" TargetMode="External"/><Relationship Id="rId9" Type="http://schemas.openxmlformats.org/officeDocument/2006/relationships/hyperlink" Target="https://betterbuildingssolutioncenter.energy.gov/chp/chp-taps" TargetMode="External"/><Relationship Id="rId14" Type="http://schemas.openxmlformats.org/officeDocument/2006/relationships/image" Target="../media/image73.svg"/><Relationship Id="rId22" Type="http://schemas.openxmlformats.org/officeDocument/2006/relationships/image" Target="../media/image81.svg"/></Relationships>
</file>

<file path=ppt/slides/_rels/slide17.xml.rels><?xml version="1.0" encoding="UTF-8" standalone="yes"?>
<Relationships xmlns="http://schemas.openxmlformats.org/package/2006/relationships"><Relationship Id="rId2" Type="http://schemas.openxmlformats.org/officeDocument/2006/relationships/hyperlink" Target="mailto:info@energywerx.org" TargetMode="External"/><Relationship Id="rId1" Type="http://schemas.openxmlformats.org/officeDocument/2006/relationships/slideLayout" Target="../slideLayouts/slideLayout5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xml.rels><?xml version="1.0" encoding="UTF-8" standalone="yes"?>
<Relationships xmlns="http://schemas.openxmlformats.org/package/2006/relationships"><Relationship Id="rId3" Type="http://schemas.openxmlformats.org/officeDocument/2006/relationships/hyperlink" Target="http://www.slido.com/" TargetMode="External"/><Relationship Id="rId2" Type="http://schemas.openxmlformats.org/officeDocument/2006/relationships/image" Target="../media/image42.png"/><Relationship Id="rId1" Type="http://schemas.openxmlformats.org/officeDocument/2006/relationships/slideLayout" Target="../slideLayouts/slideLayout122.xml"/><Relationship Id="rId5" Type="http://schemas.openxmlformats.org/officeDocument/2006/relationships/image" Target="../media/image43.png"/><Relationship Id="rId4" Type="http://schemas.openxmlformats.org/officeDocument/2006/relationships/image" Target="../media/image41.png"/></Relationships>
</file>

<file path=ppt/slides/_rels/slide20.xml.rels><?xml version="1.0" encoding="UTF-8" standalone="yes"?>
<Relationships xmlns="http://schemas.openxmlformats.org/package/2006/relationships"><Relationship Id="rId2" Type="http://schemas.openxmlformats.org/officeDocument/2006/relationships/hyperlink" Target="https://www.energywerx.org/opportunities/iac-round-2" TargetMode="External"/><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6.png"/><Relationship Id="rId1" Type="http://schemas.openxmlformats.org/officeDocument/2006/relationships/slideLayout" Target="../slideLayouts/slideLayout67.xml"/><Relationship Id="rId5" Type="http://schemas.openxmlformats.org/officeDocument/2006/relationships/image" Target="../media/image88.svg"/><Relationship Id="rId4" Type="http://schemas.openxmlformats.org/officeDocument/2006/relationships/image" Target="../media/image87.png"/></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3" Type="http://schemas.openxmlformats.org/officeDocument/2006/relationships/hyperlink" Target="https://iac.university/" TargetMode="External"/><Relationship Id="rId2" Type="http://schemas.openxmlformats.org/officeDocument/2006/relationships/image" Target="../media/image89.png"/><Relationship Id="rId1" Type="http://schemas.openxmlformats.org/officeDocument/2006/relationships/slideLayout" Target="../slideLayouts/slideLayout69.xml"/></Relationships>
</file>

<file path=ppt/slides/_rels/slide24.xml.rels><?xml version="1.0" encoding="UTF-8" standalone="yes"?>
<Relationships xmlns="http://schemas.openxmlformats.org/package/2006/relationships"><Relationship Id="rId3" Type="http://schemas.openxmlformats.org/officeDocument/2006/relationships/hyperlink" Target="https://betterbuildingssolutioncenter.energy.gov/chp/chp-taps" TargetMode="External"/><Relationship Id="rId2" Type="http://schemas.openxmlformats.org/officeDocument/2006/relationships/image" Target="../media/image90.png"/><Relationship Id="rId1" Type="http://schemas.openxmlformats.org/officeDocument/2006/relationships/slideLayout" Target="../slideLayouts/slideLayout6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hyperlink" Target="http://www.slido.com/" TargetMode="External"/><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35.xml"/><Relationship Id="rId5" Type="http://schemas.openxmlformats.org/officeDocument/2006/relationships/image" Target="../media/image50.svg"/><Relationship Id="rId4" Type="http://schemas.openxmlformats.org/officeDocument/2006/relationships/image" Target="../media/image49.png"/></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www.energy.gov/mesc/industrial-research-and-assessment-center-implementation-grant-awards" TargetMode="External"/><Relationship Id="rId1" Type="http://schemas.openxmlformats.org/officeDocument/2006/relationships/slideLayout" Target="../slideLayouts/slideLayout84.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9.xml.rels><?xml version="1.0" encoding="UTF-8" standalone="yes"?>
<Relationships xmlns="http://schemas.openxmlformats.org/package/2006/relationships"><Relationship Id="rId3" Type="http://schemas.openxmlformats.org/officeDocument/2006/relationships/hyperlink" Target="https://www.energywerx.org/opportunities/iac-round-2" TargetMode="External"/><Relationship Id="rId2" Type="http://schemas.openxmlformats.org/officeDocument/2006/relationships/notesSlide" Target="../notesSlides/notesSlide2.xml"/><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B02F7FD-51CC-171B-B8FB-20052021CA3E}"/>
              </a:ext>
            </a:extLst>
          </p:cNvPr>
          <p:cNvSpPr txBox="1"/>
          <p:nvPr/>
        </p:nvSpPr>
        <p:spPr>
          <a:xfrm>
            <a:off x="2808083" y="506771"/>
            <a:ext cx="5908733" cy="461665"/>
          </a:xfrm>
          <a:prstGeom prst="rect">
            <a:avLst/>
          </a:prstGeom>
          <a:noFill/>
        </p:spPr>
        <p:txBody>
          <a:bodyPr wrap="none" rtlCol="0">
            <a:spAutoFit/>
          </a:bodyPr>
          <a:lstStyle/>
          <a:p>
            <a:pPr algn="ctr"/>
            <a:r>
              <a:rPr lang="en-US" sz="2400" b="1">
                <a:solidFill>
                  <a:schemeClr val="accent1">
                    <a:lumMod val="75000"/>
                  </a:schemeClr>
                </a:solidFill>
                <a:cs typeface="Segoe UI Light" panose="020B0502040204020203" pitchFamily="34" charset="0"/>
              </a:rPr>
              <a:t>Welcome to the DOE Voucher Recipient Q&amp;A</a:t>
            </a:r>
          </a:p>
        </p:txBody>
      </p:sp>
      <p:sp>
        <p:nvSpPr>
          <p:cNvPr id="5" name="TextBox 4">
            <a:extLst>
              <a:ext uri="{FF2B5EF4-FFF2-40B4-BE49-F238E27FC236}">
                <a16:creationId xmlns:a16="http://schemas.microsoft.com/office/drawing/2014/main" id="{D717F549-D4EE-15DA-ECCB-62C51B7653F5}"/>
              </a:ext>
            </a:extLst>
          </p:cNvPr>
          <p:cNvSpPr txBox="1"/>
          <p:nvPr/>
        </p:nvSpPr>
        <p:spPr>
          <a:xfrm>
            <a:off x="2846565" y="1381660"/>
            <a:ext cx="5933547" cy="400110"/>
          </a:xfrm>
          <a:prstGeom prst="rect">
            <a:avLst/>
          </a:prstGeom>
          <a:noFill/>
        </p:spPr>
        <p:txBody>
          <a:bodyPr wrap="none" rtlCol="0" anchor="ctr">
            <a:spAutoFit/>
          </a:bodyPr>
          <a:lstStyle/>
          <a:p>
            <a:pPr algn="ctr"/>
            <a:r>
              <a:rPr lang="en-US" b="1">
                <a:solidFill>
                  <a:schemeClr val="accent1">
                    <a:lumMod val="75000"/>
                  </a:schemeClr>
                </a:solidFill>
              </a:rPr>
              <a:t>This webinar is being </a:t>
            </a:r>
            <a:r>
              <a:rPr lang="en-US" sz="2000" b="1">
                <a:solidFill>
                  <a:schemeClr val="accent1">
                    <a:lumMod val="75000"/>
                  </a:schemeClr>
                </a:solidFill>
              </a:rPr>
              <a:t>recorded</a:t>
            </a:r>
            <a:r>
              <a:rPr lang="en-US" b="1">
                <a:solidFill>
                  <a:schemeClr val="accent1">
                    <a:lumMod val="75000"/>
                  </a:schemeClr>
                </a:solidFill>
              </a:rPr>
              <a:t> and will be published online</a:t>
            </a:r>
          </a:p>
        </p:txBody>
      </p:sp>
      <p:sp>
        <p:nvSpPr>
          <p:cNvPr id="6" name="TextBox 5">
            <a:extLst>
              <a:ext uri="{FF2B5EF4-FFF2-40B4-BE49-F238E27FC236}">
                <a16:creationId xmlns:a16="http://schemas.microsoft.com/office/drawing/2014/main" id="{14403131-792E-E101-E384-3D59FA2043B1}"/>
              </a:ext>
            </a:extLst>
          </p:cNvPr>
          <p:cNvSpPr txBox="1"/>
          <p:nvPr/>
        </p:nvSpPr>
        <p:spPr>
          <a:xfrm>
            <a:off x="1063127" y="2274441"/>
            <a:ext cx="9500421" cy="1938992"/>
          </a:xfrm>
          <a:prstGeom prst="rect">
            <a:avLst/>
          </a:prstGeom>
          <a:noFill/>
        </p:spPr>
        <p:txBody>
          <a:bodyPr wrap="none" lIns="91440" tIns="45720" rIns="91440" bIns="45720" rtlCol="0" anchor="t">
            <a:spAutoFit/>
          </a:bodyPr>
          <a:lstStyle/>
          <a:p>
            <a:pPr marL="285750" indent="-285750">
              <a:buFont typeface="Arial" panose="020B0604020202020204" pitchFamily="34" charset="0"/>
              <a:buChar char="•"/>
            </a:pPr>
            <a:r>
              <a:rPr lang="en-US" sz="2000"/>
              <a:t>If you do not wish to have your voice recorded, please do not speak during the call</a:t>
            </a:r>
          </a:p>
          <a:p>
            <a:pPr marL="285750" indent="-285750">
              <a:buFont typeface="Arial" panose="020B0604020202020204" pitchFamily="34" charset="0"/>
              <a:buChar char="•"/>
            </a:pPr>
            <a:r>
              <a:rPr lang="en-US" sz="2000"/>
              <a:t>If you do not wish to have your image recorded, please turn off your camera or </a:t>
            </a:r>
          </a:p>
          <a:p>
            <a:r>
              <a:rPr lang="en-US" sz="2000"/>
              <a:t>     participate by phone</a:t>
            </a:r>
          </a:p>
          <a:p>
            <a:pPr marL="285750" indent="-285750">
              <a:buFont typeface="Arial" panose="020B0604020202020204" pitchFamily="34" charset="0"/>
              <a:buChar char="•"/>
            </a:pPr>
            <a:r>
              <a:rPr lang="en-US" sz="2000"/>
              <a:t>If you speak during the call or use a video connection, you are presumed to consent to </a:t>
            </a:r>
          </a:p>
          <a:p>
            <a:r>
              <a:rPr lang="en-US" sz="2000"/>
              <a:t>     recording and use of your voice or image</a:t>
            </a:r>
          </a:p>
          <a:p>
            <a:endParaRPr lang="en-US" sz="2000">
              <a:ea typeface="Calibri" panose="020F0502020204030204"/>
              <a:cs typeface="Calibri" panose="020F0502020204030204"/>
            </a:endParaRPr>
          </a:p>
        </p:txBody>
      </p:sp>
      <p:sp>
        <p:nvSpPr>
          <p:cNvPr id="7" name="TextBox 6">
            <a:extLst>
              <a:ext uri="{FF2B5EF4-FFF2-40B4-BE49-F238E27FC236}">
                <a16:creationId xmlns:a16="http://schemas.microsoft.com/office/drawing/2014/main" id="{0390FC2C-B5CB-B93B-E2BA-2D4F9B9AFDC3}"/>
              </a:ext>
            </a:extLst>
          </p:cNvPr>
          <p:cNvSpPr txBox="1"/>
          <p:nvPr/>
        </p:nvSpPr>
        <p:spPr>
          <a:xfrm>
            <a:off x="3043799" y="4294034"/>
            <a:ext cx="5437258" cy="400110"/>
          </a:xfrm>
          <a:prstGeom prst="rect">
            <a:avLst/>
          </a:prstGeom>
          <a:noFill/>
        </p:spPr>
        <p:txBody>
          <a:bodyPr wrap="none" rtlCol="0" anchor="ctr">
            <a:spAutoFit/>
          </a:bodyPr>
          <a:lstStyle/>
          <a:p>
            <a:pPr algn="ctr"/>
            <a:r>
              <a:rPr lang="en-US" b="1">
                <a:solidFill>
                  <a:schemeClr val="accent1">
                    <a:lumMod val="75000"/>
                  </a:schemeClr>
                </a:solidFill>
              </a:rPr>
              <a:t>Please mute your phones and </a:t>
            </a:r>
            <a:r>
              <a:rPr lang="en-US" sz="2000" b="1">
                <a:solidFill>
                  <a:schemeClr val="accent1">
                    <a:lumMod val="75000"/>
                  </a:schemeClr>
                </a:solidFill>
              </a:rPr>
              <a:t>we’ll</a:t>
            </a:r>
            <a:r>
              <a:rPr lang="en-US" b="1">
                <a:solidFill>
                  <a:schemeClr val="accent1">
                    <a:lumMod val="75000"/>
                  </a:schemeClr>
                </a:solidFill>
              </a:rPr>
              <a:t> begin momentarily</a:t>
            </a:r>
          </a:p>
        </p:txBody>
      </p:sp>
      <p:pic>
        <p:nvPicPr>
          <p:cNvPr id="9" name="Picture 8" descr="A blue text on a black background&#10;&#10;Description automatically generated">
            <a:extLst>
              <a:ext uri="{FF2B5EF4-FFF2-40B4-BE49-F238E27FC236}">
                <a16:creationId xmlns:a16="http://schemas.microsoft.com/office/drawing/2014/main" id="{C4607D3A-1D2C-D72E-F6DF-EDF37B4C8D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3799" y="5082521"/>
            <a:ext cx="5082436" cy="1010766"/>
          </a:xfrm>
          <a:prstGeom prst="rect">
            <a:avLst/>
          </a:prstGeom>
        </p:spPr>
      </p:pic>
    </p:spTree>
    <p:extLst>
      <p:ext uri="{BB962C8B-B14F-4D97-AF65-F5344CB8AC3E}">
        <p14:creationId xmlns:p14="http://schemas.microsoft.com/office/powerpoint/2010/main" val="26067877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E9082-226B-2584-31A9-C8A704A8DC5A}"/>
              </a:ext>
            </a:extLst>
          </p:cNvPr>
          <p:cNvSpPr>
            <a:spLocks noGrp="1"/>
          </p:cNvSpPr>
          <p:nvPr>
            <p:ph type="title"/>
          </p:nvPr>
        </p:nvSpPr>
        <p:spPr>
          <a:xfrm>
            <a:off x="815529" y="402722"/>
            <a:ext cx="10560941" cy="553998"/>
          </a:xfrm>
        </p:spPr>
        <p:txBody>
          <a:bodyPr/>
          <a:lstStyle/>
          <a:p>
            <a:r>
              <a:rPr lang="en-US"/>
              <a:t>Application Design: </a:t>
            </a:r>
            <a:r>
              <a:rPr lang="en-US" b="0"/>
              <a:t>IAC Implementation Grants</a:t>
            </a:r>
          </a:p>
        </p:txBody>
      </p:sp>
      <p:sp>
        <p:nvSpPr>
          <p:cNvPr id="5" name="Slide Number Placeholder 4">
            <a:extLst>
              <a:ext uri="{FF2B5EF4-FFF2-40B4-BE49-F238E27FC236}">
                <a16:creationId xmlns:a16="http://schemas.microsoft.com/office/drawing/2014/main" id="{86C4C1A2-4990-B20E-6460-05F3DFC0331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B5F485-982A-41B4-B657-C5770F0E9220}" type="slidenum">
              <a:rPr kumimoji="0" lang="en-US" sz="1000" b="0" i="0" u="none" strike="noStrike" kern="1200" cap="none" spc="0" normalizeH="0" baseline="0" noProof="0" smtClean="0">
                <a:ln>
                  <a:noFill/>
                </a:ln>
                <a:solidFill>
                  <a:srgbClr val="DBDDDE">
                    <a:lumMod val="50000"/>
                  </a:srgbClr>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DBDDDE">
                  <a:lumMod val="50000"/>
                </a:srgbClr>
              </a:solidFill>
              <a:effectLst/>
              <a:uLnTx/>
              <a:uFillTx/>
              <a:latin typeface="Calibri" panose="020F0502020204030204" pitchFamily="34" charset="0"/>
              <a:ea typeface="+mn-ea"/>
              <a:cs typeface="Calibri" panose="020F0502020204030204" pitchFamily="34" charset="0"/>
            </a:endParaRPr>
          </a:p>
        </p:txBody>
      </p:sp>
      <p:pic>
        <p:nvPicPr>
          <p:cNvPr id="9" name="Picture 8">
            <a:extLst>
              <a:ext uri="{FF2B5EF4-FFF2-40B4-BE49-F238E27FC236}">
                <a16:creationId xmlns:a16="http://schemas.microsoft.com/office/drawing/2014/main" id="{4D8EF408-1DBB-38BD-8150-B55021A6A527}"/>
              </a:ext>
            </a:extLst>
          </p:cNvPr>
          <p:cNvPicPr>
            <a:picLocks noChangeAspect="1"/>
          </p:cNvPicPr>
          <p:nvPr/>
        </p:nvPicPr>
        <p:blipFill>
          <a:blip r:embed="rId2"/>
          <a:stretch>
            <a:fillRect/>
          </a:stretch>
        </p:blipFill>
        <p:spPr>
          <a:xfrm>
            <a:off x="7438070" y="4326396"/>
            <a:ext cx="2482910" cy="1712688"/>
          </a:xfrm>
          <a:prstGeom prst="rect">
            <a:avLst/>
          </a:prstGeom>
          <a:ln>
            <a:solidFill>
              <a:schemeClr val="tx1"/>
            </a:solidFill>
          </a:ln>
        </p:spPr>
      </p:pic>
      <p:grpSp>
        <p:nvGrpSpPr>
          <p:cNvPr id="17" name="Group 16">
            <a:extLst>
              <a:ext uri="{FF2B5EF4-FFF2-40B4-BE49-F238E27FC236}">
                <a16:creationId xmlns:a16="http://schemas.microsoft.com/office/drawing/2014/main" id="{B4EA7BAB-DF47-5EA5-742F-40A7FA044FD0}"/>
              </a:ext>
            </a:extLst>
          </p:cNvPr>
          <p:cNvGrpSpPr/>
          <p:nvPr/>
        </p:nvGrpSpPr>
        <p:grpSpPr>
          <a:xfrm>
            <a:off x="7508418" y="1722939"/>
            <a:ext cx="2342213" cy="1600200"/>
            <a:chOff x="4404816" y="1421888"/>
            <a:chExt cx="2367554" cy="1988222"/>
          </a:xfrm>
        </p:grpSpPr>
        <p:pic>
          <p:nvPicPr>
            <p:cNvPr id="11" name="Picture 10">
              <a:extLst>
                <a:ext uri="{FF2B5EF4-FFF2-40B4-BE49-F238E27FC236}">
                  <a16:creationId xmlns:a16="http://schemas.microsoft.com/office/drawing/2014/main" id="{5237E0F1-DA99-5D52-4F28-7A635BDAFB8A}"/>
                </a:ext>
              </a:extLst>
            </p:cNvPr>
            <p:cNvPicPr>
              <a:picLocks noChangeAspect="1"/>
            </p:cNvPicPr>
            <p:nvPr/>
          </p:nvPicPr>
          <p:blipFill>
            <a:blip r:embed="rId3"/>
            <a:stretch>
              <a:fillRect/>
            </a:stretch>
          </p:blipFill>
          <p:spPr>
            <a:xfrm>
              <a:off x="4404816" y="1421888"/>
              <a:ext cx="2190386" cy="1802401"/>
            </a:xfrm>
            <a:prstGeom prst="rect">
              <a:avLst/>
            </a:prstGeom>
            <a:ln>
              <a:solidFill>
                <a:schemeClr val="tx1"/>
              </a:solidFill>
            </a:ln>
          </p:spPr>
        </p:pic>
        <p:pic>
          <p:nvPicPr>
            <p:cNvPr id="13" name="Picture 12">
              <a:extLst>
                <a:ext uri="{FF2B5EF4-FFF2-40B4-BE49-F238E27FC236}">
                  <a16:creationId xmlns:a16="http://schemas.microsoft.com/office/drawing/2014/main" id="{75A21333-F3F2-81C1-7364-A132C0ACD77A}"/>
                </a:ext>
              </a:extLst>
            </p:cNvPr>
            <p:cNvPicPr>
              <a:picLocks noChangeAspect="1"/>
            </p:cNvPicPr>
            <p:nvPr/>
          </p:nvPicPr>
          <p:blipFill>
            <a:blip r:embed="rId4"/>
            <a:stretch>
              <a:fillRect/>
            </a:stretch>
          </p:blipFill>
          <p:spPr>
            <a:xfrm>
              <a:off x="4543840" y="1682121"/>
              <a:ext cx="2228530" cy="1727989"/>
            </a:xfrm>
            <a:prstGeom prst="rect">
              <a:avLst/>
            </a:prstGeom>
            <a:ln>
              <a:solidFill>
                <a:schemeClr val="tx1"/>
              </a:solidFill>
            </a:ln>
          </p:spPr>
        </p:pic>
      </p:grpSp>
      <p:pic>
        <p:nvPicPr>
          <p:cNvPr id="15" name="Picture 14">
            <a:extLst>
              <a:ext uri="{FF2B5EF4-FFF2-40B4-BE49-F238E27FC236}">
                <a16:creationId xmlns:a16="http://schemas.microsoft.com/office/drawing/2014/main" id="{35CC3303-011D-D32F-A122-10CF07CD5381}"/>
              </a:ext>
            </a:extLst>
          </p:cNvPr>
          <p:cNvPicPr>
            <a:picLocks noChangeAspect="1"/>
          </p:cNvPicPr>
          <p:nvPr/>
        </p:nvPicPr>
        <p:blipFill>
          <a:blip r:embed="rId5"/>
          <a:stretch>
            <a:fillRect/>
          </a:stretch>
        </p:blipFill>
        <p:spPr>
          <a:xfrm>
            <a:off x="3527263" y="4331976"/>
            <a:ext cx="2483898" cy="1712688"/>
          </a:xfrm>
          <a:prstGeom prst="rect">
            <a:avLst/>
          </a:prstGeom>
          <a:ln>
            <a:solidFill>
              <a:schemeClr val="tx1"/>
            </a:solidFill>
          </a:ln>
        </p:spPr>
      </p:pic>
      <p:grpSp>
        <p:nvGrpSpPr>
          <p:cNvPr id="18" name="Group 17">
            <a:extLst>
              <a:ext uri="{FF2B5EF4-FFF2-40B4-BE49-F238E27FC236}">
                <a16:creationId xmlns:a16="http://schemas.microsoft.com/office/drawing/2014/main" id="{F0A2914C-C219-A449-10CB-A8F8F9BA59C4}"/>
              </a:ext>
            </a:extLst>
          </p:cNvPr>
          <p:cNvGrpSpPr/>
          <p:nvPr/>
        </p:nvGrpSpPr>
        <p:grpSpPr>
          <a:xfrm>
            <a:off x="3569291" y="1805180"/>
            <a:ext cx="2329409" cy="1565592"/>
            <a:chOff x="893185" y="1425569"/>
            <a:chExt cx="2329409" cy="1798720"/>
          </a:xfrm>
        </p:grpSpPr>
        <p:pic>
          <p:nvPicPr>
            <p:cNvPr id="7" name="Picture 6">
              <a:extLst>
                <a:ext uri="{FF2B5EF4-FFF2-40B4-BE49-F238E27FC236}">
                  <a16:creationId xmlns:a16="http://schemas.microsoft.com/office/drawing/2014/main" id="{B13F5ADC-25A4-9214-E851-06943161154E}"/>
                </a:ext>
              </a:extLst>
            </p:cNvPr>
            <p:cNvPicPr>
              <a:picLocks noChangeAspect="1"/>
            </p:cNvPicPr>
            <p:nvPr/>
          </p:nvPicPr>
          <p:blipFill>
            <a:blip r:embed="rId6"/>
            <a:stretch>
              <a:fillRect/>
            </a:stretch>
          </p:blipFill>
          <p:spPr>
            <a:xfrm>
              <a:off x="893185" y="1425569"/>
              <a:ext cx="2190385" cy="1596519"/>
            </a:xfrm>
            <a:prstGeom prst="rect">
              <a:avLst/>
            </a:prstGeom>
            <a:ln>
              <a:solidFill>
                <a:schemeClr val="tx1"/>
              </a:solidFill>
            </a:ln>
          </p:spPr>
        </p:pic>
        <p:pic>
          <p:nvPicPr>
            <p:cNvPr id="4" name="Picture 3">
              <a:extLst>
                <a:ext uri="{FF2B5EF4-FFF2-40B4-BE49-F238E27FC236}">
                  <a16:creationId xmlns:a16="http://schemas.microsoft.com/office/drawing/2014/main" id="{2CC732E3-9A66-808B-9716-C3DC64BA926D}"/>
                </a:ext>
              </a:extLst>
            </p:cNvPr>
            <p:cNvPicPr>
              <a:picLocks noChangeAspect="1"/>
            </p:cNvPicPr>
            <p:nvPr/>
          </p:nvPicPr>
          <p:blipFill>
            <a:blip r:embed="rId7"/>
            <a:stretch>
              <a:fillRect/>
            </a:stretch>
          </p:blipFill>
          <p:spPr>
            <a:xfrm>
              <a:off x="1032209" y="1627770"/>
              <a:ext cx="2190385" cy="1596519"/>
            </a:xfrm>
            <a:prstGeom prst="rect">
              <a:avLst/>
            </a:prstGeom>
            <a:ln>
              <a:solidFill>
                <a:schemeClr val="tx1"/>
              </a:solidFill>
            </a:ln>
          </p:spPr>
        </p:pic>
      </p:grpSp>
      <p:sp>
        <p:nvSpPr>
          <p:cNvPr id="19" name="TextBox 18">
            <a:extLst>
              <a:ext uri="{FF2B5EF4-FFF2-40B4-BE49-F238E27FC236}">
                <a16:creationId xmlns:a16="http://schemas.microsoft.com/office/drawing/2014/main" id="{5B110932-A112-508B-8D98-145AF024E1FD}"/>
              </a:ext>
            </a:extLst>
          </p:cNvPr>
          <p:cNvSpPr txBox="1"/>
          <p:nvPr/>
        </p:nvSpPr>
        <p:spPr>
          <a:xfrm>
            <a:off x="3674019" y="1427326"/>
            <a:ext cx="2190385" cy="33855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05FAB"/>
                </a:solidFill>
                <a:effectLst/>
                <a:uLnTx/>
                <a:uFillTx/>
                <a:latin typeface="Avenir Book"/>
                <a:ea typeface="+mn-ea"/>
                <a:cs typeface="+mn-cs"/>
              </a:rPr>
              <a:t>Grant Funding Request</a:t>
            </a:r>
          </a:p>
        </p:txBody>
      </p:sp>
      <p:sp>
        <p:nvSpPr>
          <p:cNvPr id="20" name="TextBox 19">
            <a:extLst>
              <a:ext uri="{FF2B5EF4-FFF2-40B4-BE49-F238E27FC236}">
                <a16:creationId xmlns:a16="http://schemas.microsoft.com/office/drawing/2014/main" id="{768AC47D-626B-F5BD-51B9-B6DE9C37D5E5}"/>
              </a:ext>
            </a:extLst>
          </p:cNvPr>
          <p:cNvSpPr txBox="1"/>
          <p:nvPr/>
        </p:nvSpPr>
        <p:spPr>
          <a:xfrm>
            <a:off x="7611505" y="1360001"/>
            <a:ext cx="2136040" cy="33855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05FAB"/>
                </a:solidFill>
                <a:effectLst/>
                <a:uLnTx/>
                <a:uFillTx/>
                <a:latin typeface="Avenir Book"/>
                <a:ea typeface="+mn-ea"/>
                <a:cs typeface="+mn-cs"/>
              </a:rPr>
              <a:t>Entity Information</a:t>
            </a:r>
          </a:p>
        </p:txBody>
      </p:sp>
      <p:sp>
        <p:nvSpPr>
          <p:cNvPr id="21" name="TextBox 20">
            <a:extLst>
              <a:ext uri="{FF2B5EF4-FFF2-40B4-BE49-F238E27FC236}">
                <a16:creationId xmlns:a16="http://schemas.microsoft.com/office/drawing/2014/main" id="{D1976237-455A-A930-F14A-FB8FE9B370FE}"/>
              </a:ext>
            </a:extLst>
          </p:cNvPr>
          <p:cNvSpPr txBox="1"/>
          <p:nvPr/>
        </p:nvSpPr>
        <p:spPr>
          <a:xfrm>
            <a:off x="3701192" y="4024199"/>
            <a:ext cx="2136040" cy="33855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05FAB"/>
                </a:solidFill>
                <a:effectLst/>
                <a:uLnTx/>
                <a:uFillTx/>
                <a:latin typeface="Avenir Book"/>
                <a:ea typeface="+mn-ea"/>
                <a:cs typeface="+mn-cs"/>
              </a:rPr>
              <a:t>Entity Eligibility  </a:t>
            </a:r>
          </a:p>
        </p:txBody>
      </p:sp>
      <p:sp>
        <p:nvSpPr>
          <p:cNvPr id="25" name="TextBox 24">
            <a:extLst>
              <a:ext uri="{FF2B5EF4-FFF2-40B4-BE49-F238E27FC236}">
                <a16:creationId xmlns:a16="http://schemas.microsoft.com/office/drawing/2014/main" id="{89FF5771-6C23-9753-6226-997BEB7BFCC3}"/>
              </a:ext>
            </a:extLst>
          </p:cNvPr>
          <p:cNvSpPr txBox="1"/>
          <p:nvPr/>
        </p:nvSpPr>
        <p:spPr>
          <a:xfrm>
            <a:off x="3295305" y="3483901"/>
            <a:ext cx="3016404" cy="46166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315D"/>
                </a:solidFill>
                <a:effectLst/>
                <a:uLnTx/>
                <a:uFillTx/>
                <a:latin typeface="Avenir Book"/>
                <a:ea typeface="+mn-ea"/>
                <a:cs typeface="+mn-cs"/>
              </a:rPr>
              <a:t>Embedded table &amp; questions to simplify grant funding request</a:t>
            </a:r>
          </a:p>
        </p:txBody>
      </p:sp>
      <p:sp>
        <p:nvSpPr>
          <p:cNvPr id="27" name="TextBox 26">
            <a:extLst>
              <a:ext uri="{FF2B5EF4-FFF2-40B4-BE49-F238E27FC236}">
                <a16:creationId xmlns:a16="http://schemas.microsoft.com/office/drawing/2014/main" id="{10998107-6645-0042-3EE8-421990B7650A}"/>
              </a:ext>
            </a:extLst>
          </p:cNvPr>
          <p:cNvSpPr txBox="1"/>
          <p:nvPr/>
        </p:nvSpPr>
        <p:spPr>
          <a:xfrm>
            <a:off x="3261009" y="6121608"/>
            <a:ext cx="3016404" cy="46166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315D"/>
                </a:solidFill>
                <a:effectLst/>
                <a:uLnTx/>
                <a:uFillTx/>
                <a:latin typeface="Avenir Book"/>
                <a:ea typeface="+mn-ea"/>
                <a:cs typeface="+mn-cs"/>
              </a:rPr>
              <a:t>Curated questions to help minimize eligibility barriers for grant funding</a:t>
            </a:r>
          </a:p>
        </p:txBody>
      </p:sp>
      <p:sp>
        <p:nvSpPr>
          <p:cNvPr id="28" name="TextBox 27">
            <a:extLst>
              <a:ext uri="{FF2B5EF4-FFF2-40B4-BE49-F238E27FC236}">
                <a16:creationId xmlns:a16="http://schemas.microsoft.com/office/drawing/2014/main" id="{37526B88-98F4-F136-F218-6A196DD6883B}"/>
              </a:ext>
            </a:extLst>
          </p:cNvPr>
          <p:cNvSpPr txBox="1"/>
          <p:nvPr/>
        </p:nvSpPr>
        <p:spPr>
          <a:xfrm>
            <a:off x="7171323" y="6114732"/>
            <a:ext cx="3016404" cy="46166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315D"/>
                </a:solidFill>
                <a:effectLst/>
                <a:uLnTx/>
                <a:uFillTx/>
                <a:latin typeface="Avenir Book"/>
                <a:ea typeface="+mn-ea"/>
                <a:cs typeface="+mn-cs"/>
              </a:rPr>
              <a:t>Simplified Project Narrative to guide applicants to creating a complete proposal</a:t>
            </a:r>
          </a:p>
        </p:txBody>
      </p:sp>
      <p:sp>
        <p:nvSpPr>
          <p:cNvPr id="29" name="TextBox 28">
            <a:extLst>
              <a:ext uri="{FF2B5EF4-FFF2-40B4-BE49-F238E27FC236}">
                <a16:creationId xmlns:a16="http://schemas.microsoft.com/office/drawing/2014/main" id="{7C0EE56E-AB3F-9682-76EA-943924908765}"/>
              </a:ext>
            </a:extLst>
          </p:cNvPr>
          <p:cNvSpPr txBox="1"/>
          <p:nvPr/>
        </p:nvSpPr>
        <p:spPr>
          <a:xfrm>
            <a:off x="7611505" y="4024199"/>
            <a:ext cx="2136040" cy="33855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05FAB"/>
                </a:solidFill>
                <a:effectLst/>
                <a:uLnTx/>
                <a:uFillTx/>
                <a:latin typeface="Avenir Book"/>
                <a:ea typeface="+mn-ea"/>
                <a:cs typeface="+mn-cs"/>
              </a:rPr>
              <a:t>Project Narrative</a:t>
            </a:r>
          </a:p>
        </p:txBody>
      </p:sp>
      <p:sp>
        <p:nvSpPr>
          <p:cNvPr id="32" name="TextBox 31">
            <a:extLst>
              <a:ext uri="{FF2B5EF4-FFF2-40B4-BE49-F238E27FC236}">
                <a16:creationId xmlns:a16="http://schemas.microsoft.com/office/drawing/2014/main" id="{05B0CDF4-814D-0287-F73E-D87BEFDE5E99}"/>
              </a:ext>
            </a:extLst>
          </p:cNvPr>
          <p:cNvSpPr txBox="1"/>
          <p:nvPr/>
        </p:nvSpPr>
        <p:spPr>
          <a:xfrm>
            <a:off x="7171323" y="3458711"/>
            <a:ext cx="3016404" cy="46166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A315D"/>
                </a:solidFill>
                <a:effectLst/>
                <a:uLnTx/>
                <a:uFillTx/>
                <a:latin typeface="Avenir Book"/>
                <a:ea typeface="+mn-ea"/>
                <a:cs typeface="+mn-cs"/>
              </a:rPr>
              <a:t>Targeted questions to get further detail on firm and facility operation</a:t>
            </a:r>
          </a:p>
        </p:txBody>
      </p:sp>
      <p:sp>
        <p:nvSpPr>
          <p:cNvPr id="3" name="Oval 2">
            <a:extLst>
              <a:ext uri="{FF2B5EF4-FFF2-40B4-BE49-F238E27FC236}">
                <a16:creationId xmlns:a16="http://schemas.microsoft.com/office/drawing/2014/main" id="{C3E7CAFF-0AFC-149E-5BDC-3C6DC721B8F7}"/>
              </a:ext>
            </a:extLst>
          </p:cNvPr>
          <p:cNvSpPr/>
          <p:nvPr/>
        </p:nvSpPr>
        <p:spPr>
          <a:xfrm>
            <a:off x="460416" y="2414583"/>
            <a:ext cx="2483898" cy="2588141"/>
          </a:xfrm>
          <a:prstGeom prst="ellipse">
            <a:avLst/>
          </a:prstGeom>
          <a:solidFill>
            <a:schemeClr val="accent2"/>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D5684687-1AE2-7C39-344E-F65B758CEDA7}"/>
              </a:ext>
            </a:extLst>
          </p:cNvPr>
          <p:cNvSpPr txBox="1"/>
          <p:nvPr/>
        </p:nvSpPr>
        <p:spPr>
          <a:xfrm>
            <a:off x="607172" y="2923823"/>
            <a:ext cx="2190385" cy="15696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venir Book"/>
                <a:ea typeface="+mn-ea"/>
                <a:cs typeface="+mn-cs"/>
              </a:rPr>
              <a:t>Working through a “Partnership Intermediary” enables a much more streamlined grant process</a:t>
            </a:r>
          </a:p>
        </p:txBody>
      </p:sp>
    </p:spTree>
    <p:extLst>
      <p:ext uri="{BB962C8B-B14F-4D97-AF65-F5344CB8AC3E}">
        <p14:creationId xmlns:p14="http://schemas.microsoft.com/office/powerpoint/2010/main" val="3304464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97482385-351F-CC33-E9EC-0AD6A26EB61D}"/>
              </a:ext>
            </a:extLst>
          </p:cNvPr>
          <p:cNvSpPr>
            <a:spLocks noGrp="1"/>
          </p:cNvSpPr>
          <p:nvPr>
            <p:ph sz="half" idx="2"/>
          </p:nvPr>
        </p:nvSpPr>
        <p:spPr>
          <a:xfrm>
            <a:off x="5419288" y="1146729"/>
            <a:ext cx="6619586" cy="4385511"/>
          </a:xfrm>
        </p:spPr>
        <p:txBody>
          <a:bodyPr>
            <a:normAutofit fontScale="92500" lnSpcReduction="10000"/>
          </a:bodyPr>
          <a:lstStyle/>
          <a:p>
            <a:pPr marL="0" lvl="0" indent="0" algn="l">
              <a:buNone/>
            </a:pPr>
            <a:r>
              <a:rPr lang="en-US" sz="2400">
                <a:solidFill>
                  <a:schemeClr val="tx1"/>
                </a:solidFill>
                <a:latin typeface="Avenir Book"/>
              </a:rPr>
              <a:t>Applicant is a domestic entity</a:t>
            </a:r>
            <a:r>
              <a:rPr lang="en-US" sz="2400" baseline="30000">
                <a:solidFill>
                  <a:schemeClr val="tx1"/>
                </a:solidFill>
                <a:latin typeface="Avenir Book"/>
              </a:rPr>
              <a:t>1</a:t>
            </a:r>
          </a:p>
          <a:p>
            <a:pPr marL="0" lvl="0" indent="0" algn="l">
              <a:buNone/>
            </a:pPr>
            <a:endParaRPr lang="en-US">
              <a:solidFill>
                <a:schemeClr val="tx1"/>
              </a:solidFill>
              <a:latin typeface="Avenir Book"/>
            </a:endParaRPr>
          </a:p>
          <a:p>
            <a:pPr marL="0" indent="0" algn="l">
              <a:buNone/>
            </a:pPr>
            <a:r>
              <a:rPr lang="en-US" sz="2400">
                <a:solidFill>
                  <a:schemeClr val="tx1"/>
                </a:solidFill>
                <a:latin typeface="Avenir Book"/>
              </a:rPr>
              <a:t>The assessor’s protocol and implementation recommendations are vendor-agnostic for implementation-related products and services</a:t>
            </a:r>
          </a:p>
          <a:p>
            <a:pPr marL="0" lvl="0" indent="0" algn="l">
              <a:buNone/>
            </a:pPr>
            <a:endParaRPr lang="en-US" sz="2400">
              <a:solidFill>
                <a:schemeClr val="tx1"/>
              </a:solidFill>
              <a:latin typeface="Avenir Book"/>
            </a:endParaRPr>
          </a:p>
          <a:p>
            <a:pPr marL="0" indent="0" algn="l">
              <a:buNone/>
            </a:pPr>
            <a:r>
              <a:rPr lang="en-US" sz="2400">
                <a:solidFill>
                  <a:schemeClr val="tx1"/>
                </a:solidFill>
                <a:latin typeface="Avenir Book"/>
              </a:rPr>
              <a:t>Their assessments are not limited to one or a small set of technology areas or interventions</a:t>
            </a:r>
          </a:p>
          <a:p>
            <a:pPr marL="0" lvl="0" indent="0" algn="l">
              <a:buNone/>
            </a:pPr>
            <a:endParaRPr lang="en-US">
              <a:solidFill>
                <a:schemeClr val="tx1"/>
              </a:solidFill>
              <a:latin typeface="Avenir Book"/>
            </a:endParaRPr>
          </a:p>
          <a:p>
            <a:pPr marL="0" indent="0" algn="l">
              <a:buNone/>
            </a:pPr>
            <a:r>
              <a:rPr lang="en-US" sz="2400">
                <a:solidFill>
                  <a:schemeClr val="tx1"/>
                </a:solidFill>
                <a:latin typeface="Avenir Book"/>
              </a:rPr>
              <a:t>The assessor is willing, if selected for qualification, to provide its assessment protocols and details on calculations when requested, and to interact with, DOE, the IACs, and other key program stakeholders to share best practices and ensure quality</a:t>
            </a:r>
          </a:p>
        </p:txBody>
      </p:sp>
      <p:sp>
        <p:nvSpPr>
          <p:cNvPr id="10" name="Text Placeholder 9">
            <a:extLst>
              <a:ext uri="{FF2B5EF4-FFF2-40B4-BE49-F238E27FC236}">
                <a16:creationId xmlns:a16="http://schemas.microsoft.com/office/drawing/2014/main" id="{17CBC2BF-F881-9AF6-E39A-9614333877C5}"/>
              </a:ext>
            </a:extLst>
          </p:cNvPr>
          <p:cNvSpPr>
            <a:spLocks noGrp="1"/>
          </p:cNvSpPr>
          <p:nvPr>
            <p:ph type="body" idx="17"/>
          </p:nvPr>
        </p:nvSpPr>
        <p:spPr>
          <a:xfrm>
            <a:off x="4480066" y="216888"/>
            <a:ext cx="7558808" cy="908292"/>
          </a:xfrm>
        </p:spPr>
        <p:txBody>
          <a:bodyPr>
            <a:normAutofit/>
          </a:bodyPr>
          <a:lstStyle/>
          <a:p>
            <a:pPr algn="l"/>
            <a:r>
              <a:rPr lang="en-US" sz="2400">
                <a:latin typeface="Avenir Book" panose="02000503020000020003"/>
              </a:rPr>
              <a:t>Eligible assessors meet the following criteria:</a:t>
            </a:r>
            <a:endParaRPr lang="en-US" sz="2400">
              <a:solidFill>
                <a:srgbClr val="205FAB"/>
              </a:solidFill>
              <a:latin typeface="Avenir Book" panose="02000503020000020003"/>
            </a:endParaRPr>
          </a:p>
        </p:txBody>
      </p:sp>
      <p:sp>
        <p:nvSpPr>
          <p:cNvPr id="3" name="Slide Number Placeholder 2">
            <a:extLst>
              <a:ext uri="{FF2B5EF4-FFF2-40B4-BE49-F238E27FC236}">
                <a16:creationId xmlns:a16="http://schemas.microsoft.com/office/drawing/2014/main" id="{9B99613B-53F9-801C-11ED-3BF1C5575195}"/>
              </a:ext>
            </a:extLst>
          </p:cNvPr>
          <p:cNvSpPr>
            <a:spLocks noGrp="1"/>
          </p:cNvSpPr>
          <p:nvPr>
            <p:ph type="sldNum" sz="quarter" idx="4"/>
          </p:nvPr>
        </p:nvSpPr>
        <p:spPr>
          <a:xfrm>
            <a:off x="201168" y="6530975"/>
            <a:ext cx="508000" cy="1539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B5F485-982A-41B4-B657-C5770F0E9220}" type="slidenum">
              <a:rPr kumimoji="0" lang="en-US" sz="1000" b="0"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 name="Content Placeholder 7">
            <a:extLst>
              <a:ext uri="{FF2B5EF4-FFF2-40B4-BE49-F238E27FC236}">
                <a16:creationId xmlns:a16="http://schemas.microsoft.com/office/drawing/2014/main" id="{D05F98C7-7CC6-BAA7-C499-105F0EA6B2B1}"/>
              </a:ext>
            </a:extLst>
          </p:cNvPr>
          <p:cNvSpPr>
            <a:spLocks noGrp="1"/>
          </p:cNvSpPr>
          <p:nvPr>
            <p:ph sz="half" idx="1"/>
          </p:nvPr>
        </p:nvSpPr>
        <p:spPr>
          <a:xfrm>
            <a:off x="402835" y="3064825"/>
            <a:ext cx="3235353" cy="2291743"/>
          </a:xfrm>
        </p:spPr>
        <p:txBody>
          <a:bodyPr>
            <a:normAutofit lnSpcReduction="10000"/>
          </a:bodyPr>
          <a:lstStyle/>
          <a:p>
            <a:pPr marL="0" indent="0">
              <a:buNone/>
            </a:pPr>
            <a:r>
              <a:rPr lang="en-US" sz="2000">
                <a:latin typeface="Avenir Book" panose="02000503020000020003"/>
              </a:rPr>
              <a:t>Identify entities interested in qualifying as a “</a:t>
            </a:r>
            <a:r>
              <a:rPr lang="en-US" sz="2000">
                <a:solidFill>
                  <a:srgbClr val="FFCA03"/>
                </a:solidFill>
                <a:latin typeface="Avenir Book" panose="02000503020000020003"/>
              </a:rPr>
              <a:t>third-party assessor that provides an assessment equivalent</a:t>
            </a:r>
            <a:r>
              <a:rPr lang="en-US" sz="2000">
                <a:latin typeface="Avenir Book" panose="02000503020000020003"/>
              </a:rPr>
              <a:t>” to an Industrial Assessment Center or CHP/Onsite Energy TAP assessments </a:t>
            </a:r>
            <a:br>
              <a:rPr lang="en-US" sz="2000"/>
            </a:br>
            <a:endParaRPr lang="en-US" sz="2000"/>
          </a:p>
        </p:txBody>
      </p:sp>
      <p:sp>
        <p:nvSpPr>
          <p:cNvPr id="18" name="Title 6">
            <a:extLst>
              <a:ext uri="{FF2B5EF4-FFF2-40B4-BE49-F238E27FC236}">
                <a16:creationId xmlns:a16="http://schemas.microsoft.com/office/drawing/2014/main" id="{C4B97301-43B1-6511-8397-95CE2FD40190}"/>
              </a:ext>
            </a:extLst>
          </p:cNvPr>
          <p:cNvSpPr txBox="1">
            <a:spLocks/>
          </p:cNvSpPr>
          <p:nvPr/>
        </p:nvSpPr>
        <p:spPr>
          <a:xfrm>
            <a:off x="399399" y="933882"/>
            <a:ext cx="3336021" cy="1846659"/>
          </a:xfrm>
          <a:prstGeom prst="rect">
            <a:avLst/>
          </a:prstGeom>
        </p:spPr>
        <p:txBody>
          <a:bodyPr vert="horz" wrap="square" lIns="91440" tIns="0" rIns="91440" bIns="0" rtlCol="0" anchor="b" anchorCtr="0">
            <a:spAutoFit/>
          </a:bodyPr>
          <a:lstStyle>
            <a:lvl1pPr algn="l" eaLnBrk="1" hangingPunct="1">
              <a:defRPr sz="3000" b="1" i="0" baseline="0">
                <a:solidFill>
                  <a:schemeClr val="bg1"/>
                </a:solidFill>
                <a:latin typeface="Avenir Black" panose="02000503020000020003" pitchFamily="2" charset="0"/>
                <a:ea typeface="+mj-ea"/>
                <a:cs typeface="Avenir Black" panose="02000503020000020003" pitchFamily="2" charset="0"/>
              </a:defRPr>
            </a:lvl1pPr>
          </a:lstStyle>
          <a:p>
            <a:r>
              <a:rPr lang="en-US" kern="0"/>
              <a:t>Workstream 2: </a:t>
            </a:r>
            <a:r>
              <a:rPr lang="en-US" b="0" kern="0"/>
              <a:t>Third-Party Assessor Qualification</a:t>
            </a:r>
            <a:endParaRPr lang="en-US" kern="0"/>
          </a:p>
        </p:txBody>
      </p:sp>
      <p:sp>
        <p:nvSpPr>
          <p:cNvPr id="2" name="Rectangle: Rounded Corners 1">
            <a:extLst>
              <a:ext uri="{FF2B5EF4-FFF2-40B4-BE49-F238E27FC236}">
                <a16:creationId xmlns:a16="http://schemas.microsoft.com/office/drawing/2014/main" id="{EB20D8E6-5DD2-61EA-DD66-9C7715F885F5}"/>
              </a:ext>
            </a:extLst>
          </p:cNvPr>
          <p:cNvSpPr/>
          <p:nvPr/>
        </p:nvSpPr>
        <p:spPr>
          <a:xfrm>
            <a:off x="4110279" y="5930643"/>
            <a:ext cx="6124290" cy="69374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US" sz="1400" i="1" u="none" strike="noStrike" kern="1200" cap="none" spc="0" normalizeH="0" baseline="0" noProof="0">
                <a:ln>
                  <a:noFill/>
                </a:ln>
                <a:solidFill>
                  <a:schemeClr val="tx1"/>
                </a:solidFill>
                <a:effectLst/>
                <a:uLnTx/>
                <a:uFillTx/>
                <a:latin typeface="Avenir Book" panose="02000503020000020003"/>
              </a:rPr>
              <a:t>1. To qualify as a domestic entity, the entity must be organized, chartered or incorporated (or otherwise formed) under the laws of a particular state or territory of the United States; have majority domestic ownership and control; and have a physical place of business in the United States</a:t>
            </a:r>
            <a:endParaRPr kumimoji="0" lang="en-US" sz="1400" b="1" i="1" u="none" strike="noStrike" kern="1200" cap="none" spc="0" normalizeH="0" baseline="0" noProof="0">
              <a:ln>
                <a:noFill/>
              </a:ln>
              <a:solidFill>
                <a:schemeClr val="tx1"/>
              </a:solidFill>
              <a:effectLst/>
              <a:uLnTx/>
              <a:uFillTx/>
              <a:latin typeface="Avenir Book" panose="02000503020000020003"/>
            </a:endParaRPr>
          </a:p>
        </p:txBody>
      </p:sp>
      <p:pic>
        <p:nvPicPr>
          <p:cNvPr id="5" name="Graphic 4" descr="Flag outline">
            <a:extLst>
              <a:ext uri="{FF2B5EF4-FFF2-40B4-BE49-F238E27FC236}">
                <a16:creationId xmlns:a16="http://schemas.microsoft.com/office/drawing/2014/main" id="{BA97A68B-E537-B8A0-5125-D6347E674B7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775296" y="1034526"/>
            <a:ext cx="611276" cy="611276"/>
          </a:xfrm>
          <a:prstGeom prst="rect">
            <a:avLst/>
          </a:prstGeom>
        </p:spPr>
      </p:pic>
      <p:grpSp>
        <p:nvGrpSpPr>
          <p:cNvPr id="6" name="Graphic 4">
            <a:extLst>
              <a:ext uri="{FF2B5EF4-FFF2-40B4-BE49-F238E27FC236}">
                <a16:creationId xmlns:a16="http://schemas.microsoft.com/office/drawing/2014/main" id="{4BCCE2DD-7410-3D94-F235-19D3CC0CFFF1}"/>
              </a:ext>
            </a:extLst>
          </p:cNvPr>
          <p:cNvGrpSpPr/>
          <p:nvPr/>
        </p:nvGrpSpPr>
        <p:grpSpPr>
          <a:xfrm>
            <a:off x="4819300" y="1944974"/>
            <a:ext cx="523267" cy="564926"/>
            <a:chOff x="6834707" y="4836252"/>
            <a:chExt cx="523267" cy="564926"/>
          </a:xfrm>
          <a:noFill/>
        </p:grpSpPr>
        <p:grpSp>
          <p:nvGrpSpPr>
            <p:cNvPr id="7" name="Graphic 4">
              <a:extLst>
                <a:ext uri="{FF2B5EF4-FFF2-40B4-BE49-F238E27FC236}">
                  <a16:creationId xmlns:a16="http://schemas.microsoft.com/office/drawing/2014/main" id="{5FE1AAD6-4F58-C7D5-0019-3D00ED04B0BC}"/>
                </a:ext>
              </a:extLst>
            </p:cNvPr>
            <p:cNvGrpSpPr/>
            <p:nvPr/>
          </p:nvGrpSpPr>
          <p:grpSpPr>
            <a:xfrm>
              <a:off x="6834707" y="5017407"/>
              <a:ext cx="523267" cy="383771"/>
              <a:chOff x="6834707" y="5017407"/>
              <a:chExt cx="523267" cy="383771"/>
            </a:xfrm>
            <a:noFill/>
          </p:grpSpPr>
          <p:sp>
            <p:nvSpPr>
              <p:cNvPr id="45" name="Freeform 1913">
                <a:extLst>
                  <a:ext uri="{FF2B5EF4-FFF2-40B4-BE49-F238E27FC236}">
                    <a16:creationId xmlns:a16="http://schemas.microsoft.com/office/drawing/2014/main" id="{CA517887-70B1-A858-DD90-7E7A2EF6AAF2}"/>
                  </a:ext>
                </a:extLst>
              </p:cNvPr>
              <p:cNvSpPr/>
              <p:nvPr/>
            </p:nvSpPr>
            <p:spPr>
              <a:xfrm>
                <a:off x="7344088" y="5081159"/>
                <a:ext cx="6312" cy="241119"/>
              </a:xfrm>
              <a:custGeom>
                <a:avLst/>
                <a:gdLst>
                  <a:gd name="connsiteX0" fmla="*/ 0 w 6312"/>
                  <a:gd name="connsiteY0" fmla="*/ 0 h 241119"/>
                  <a:gd name="connsiteX1" fmla="*/ 0 w 6312"/>
                  <a:gd name="connsiteY1" fmla="*/ 241119 h 241119"/>
                </a:gdLst>
                <a:ahLst/>
                <a:cxnLst>
                  <a:cxn ang="0">
                    <a:pos x="connsiteX0" y="connsiteY0"/>
                  </a:cxn>
                  <a:cxn ang="0">
                    <a:pos x="connsiteX1" y="connsiteY1"/>
                  </a:cxn>
                </a:cxnLst>
                <a:rect l="l" t="t" r="r" b="b"/>
                <a:pathLst>
                  <a:path w="6312" h="241119">
                    <a:moveTo>
                      <a:pt x="0" y="0"/>
                    </a:moveTo>
                    <a:lnTo>
                      <a:pt x="0" y="241119"/>
                    </a:lnTo>
                  </a:path>
                </a:pathLst>
              </a:custGeom>
              <a:ln w="19050" cap="rnd">
                <a:solidFill>
                  <a:schemeClr val="tx2"/>
                </a:solidFill>
                <a:prstDash val="solid"/>
                <a:round/>
              </a:ln>
            </p:spPr>
            <p:txBody>
              <a:bodyPr rtlCol="0" anchor="ctr"/>
              <a:lstStyle/>
              <a:p>
                <a:endParaRPr lang="en-US"/>
              </a:p>
            </p:txBody>
          </p:sp>
          <p:sp>
            <p:nvSpPr>
              <p:cNvPr id="46" name="Freeform 1914">
                <a:extLst>
                  <a:ext uri="{FF2B5EF4-FFF2-40B4-BE49-F238E27FC236}">
                    <a16:creationId xmlns:a16="http://schemas.microsoft.com/office/drawing/2014/main" id="{0ABAAD35-0E26-9CBE-9969-36ABE50783EF}"/>
                  </a:ext>
                </a:extLst>
              </p:cNvPr>
              <p:cNvSpPr/>
              <p:nvPr/>
            </p:nvSpPr>
            <p:spPr>
              <a:xfrm>
                <a:off x="6849225" y="5081159"/>
                <a:ext cx="6312" cy="241119"/>
              </a:xfrm>
              <a:custGeom>
                <a:avLst/>
                <a:gdLst>
                  <a:gd name="connsiteX0" fmla="*/ 0 w 6312"/>
                  <a:gd name="connsiteY0" fmla="*/ 241119 h 241119"/>
                  <a:gd name="connsiteX1" fmla="*/ 0 w 6312"/>
                  <a:gd name="connsiteY1" fmla="*/ 0 h 241119"/>
                </a:gdLst>
                <a:ahLst/>
                <a:cxnLst>
                  <a:cxn ang="0">
                    <a:pos x="connsiteX0" y="connsiteY0"/>
                  </a:cxn>
                  <a:cxn ang="0">
                    <a:pos x="connsiteX1" y="connsiteY1"/>
                  </a:cxn>
                </a:cxnLst>
                <a:rect l="l" t="t" r="r" b="b"/>
                <a:pathLst>
                  <a:path w="6312" h="241119">
                    <a:moveTo>
                      <a:pt x="0" y="241119"/>
                    </a:moveTo>
                    <a:lnTo>
                      <a:pt x="0" y="0"/>
                    </a:lnTo>
                  </a:path>
                </a:pathLst>
              </a:custGeom>
              <a:ln w="19050" cap="rnd">
                <a:solidFill>
                  <a:schemeClr val="tx2"/>
                </a:solidFill>
                <a:prstDash val="solid"/>
                <a:round/>
              </a:ln>
            </p:spPr>
            <p:txBody>
              <a:bodyPr rtlCol="0" anchor="ctr"/>
              <a:lstStyle/>
              <a:p>
                <a:endParaRPr lang="en-US"/>
              </a:p>
            </p:txBody>
          </p:sp>
          <p:sp>
            <p:nvSpPr>
              <p:cNvPr id="47" name="Freeform 1915">
                <a:extLst>
                  <a:ext uri="{FF2B5EF4-FFF2-40B4-BE49-F238E27FC236}">
                    <a16:creationId xmlns:a16="http://schemas.microsoft.com/office/drawing/2014/main" id="{FD8A6230-5678-43F5-2B32-DE3402FB5A38}"/>
                  </a:ext>
                </a:extLst>
              </p:cNvPr>
              <p:cNvSpPr/>
              <p:nvPr/>
            </p:nvSpPr>
            <p:spPr>
              <a:xfrm>
                <a:off x="6834707" y="5322278"/>
                <a:ext cx="523267" cy="41028"/>
              </a:xfrm>
              <a:custGeom>
                <a:avLst/>
                <a:gdLst>
                  <a:gd name="connsiteX0" fmla="*/ 0 w 523267"/>
                  <a:gd name="connsiteY0" fmla="*/ 0 h 41028"/>
                  <a:gd name="connsiteX1" fmla="*/ 523267 w 523267"/>
                  <a:gd name="connsiteY1" fmla="*/ 0 h 41028"/>
                  <a:gd name="connsiteX2" fmla="*/ 523267 w 523267"/>
                  <a:gd name="connsiteY2" fmla="*/ 41028 h 41028"/>
                  <a:gd name="connsiteX3" fmla="*/ 0 w 523267"/>
                  <a:gd name="connsiteY3" fmla="*/ 41028 h 41028"/>
                </a:gdLst>
                <a:ahLst/>
                <a:cxnLst>
                  <a:cxn ang="0">
                    <a:pos x="connsiteX0" y="connsiteY0"/>
                  </a:cxn>
                  <a:cxn ang="0">
                    <a:pos x="connsiteX1" y="connsiteY1"/>
                  </a:cxn>
                  <a:cxn ang="0">
                    <a:pos x="connsiteX2" y="connsiteY2"/>
                  </a:cxn>
                  <a:cxn ang="0">
                    <a:pos x="connsiteX3" y="connsiteY3"/>
                  </a:cxn>
                </a:cxnLst>
                <a:rect l="l" t="t" r="r" b="b"/>
                <a:pathLst>
                  <a:path w="523267" h="41028">
                    <a:moveTo>
                      <a:pt x="0" y="0"/>
                    </a:moveTo>
                    <a:lnTo>
                      <a:pt x="523267" y="0"/>
                    </a:lnTo>
                    <a:lnTo>
                      <a:pt x="523267" y="41028"/>
                    </a:lnTo>
                    <a:lnTo>
                      <a:pt x="0" y="41028"/>
                    </a:lnTo>
                    <a:close/>
                  </a:path>
                </a:pathLst>
              </a:custGeom>
              <a:noFill/>
              <a:ln w="19050" cap="rnd">
                <a:solidFill>
                  <a:schemeClr val="tx2"/>
                </a:solidFill>
                <a:prstDash val="solid"/>
                <a:round/>
              </a:ln>
            </p:spPr>
            <p:txBody>
              <a:bodyPr rtlCol="0" anchor="ctr"/>
              <a:lstStyle/>
              <a:p>
                <a:endParaRPr lang="en-US"/>
              </a:p>
            </p:txBody>
          </p:sp>
          <p:sp>
            <p:nvSpPr>
              <p:cNvPr id="48" name="Freeform 1916">
                <a:extLst>
                  <a:ext uri="{FF2B5EF4-FFF2-40B4-BE49-F238E27FC236}">
                    <a16:creationId xmlns:a16="http://schemas.microsoft.com/office/drawing/2014/main" id="{C81A3932-B2C5-C230-D7E9-600B91A6F55E}"/>
                  </a:ext>
                </a:extLst>
              </p:cNvPr>
              <p:cNvSpPr/>
              <p:nvPr/>
            </p:nvSpPr>
            <p:spPr>
              <a:xfrm>
                <a:off x="6834707" y="5017407"/>
                <a:ext cx="523267" cy="41028"/>
              </a:xfrm>
              <a:custGeom>
                <a:avLst/>
                <a:gdLst>
                  <a:gd name="connsiteX0" fmla="*/ 0 w 523267"/>
                  <a:gd name="connsiteY0" fmla="*/ 0 h 41028"/>
                  <a:gd name="connsiteX1" fmla="*/ 523267 w 523267"/>
                  <a:gd name="connsiteY1" fmla="*/ 0 h 41028"/>
                  <a:gd name="connsiteX2" fmla="*/ 523267 w 523267"/>
                  <a:gd name="connsiteY2" fmla="*/ 41028 h 41028"/>
                  <a:gd name="connsiteX3" fmla="*/ 0 w 523267"/>
                  <a:gd name="connsiteY3" fmla="*/ 41028 h 41028"/>
                </a:gdLst>
                <a:ahLst/>
                <a:cxnLst>
                  <a:cxn ang="0">
                    <a:pos x="connsiteX0" y="connsiteY0"/>
                  </a:cxn>
                  <a:cxn ang="0">
                    <a:pos x="connsiteX1" y="connsiteY1"/>
                  </a:cxn>
                  <a:cxn ang="0">
                    <a:pos x="connsiteX2" y="connsiteY2"/>
                  </a:cxn>
                  <a:cxn ang="0">
                    <a:pos x="connsiteX3" y="connsiteY3"/>
                  </a:cxn>
                </a:cxnLst>
                <a:rect l="l" t="t" r="r" b="b"/>
                <a:pathLst>
                  <a:path w="523267" h="41028">
                    <a:moveTo>
                      <a:pt x="0" y="0"/>
                    </a:moveTo>
                    <a:lnTo>
                      <a:pt x="523267" y="0"/>
                    </a:lnTo>
                    <a:lnTo>
                      <a:pt x="523267" y="41028"/>
                    </a:lnTo>
                    <a:lnTo>
                      <a:pt x="0" y="41028"/>
                    </a:lnTo>
                    <a:close/>
                  </a:path>
                </a:pathLst>
              </a:custGeom>
              <a:noFill/>
              <a:ln w="19050" cap="rnd">
                <a:solidFill>
                  <a:schemeClr val="tx2"/>
                </a:solidFill>
                <a:prstDash val="solid"/>
                <a:round/>
              </a:ln>
            </p:spPr>
            <p:txBody>
              <a:bodyPr rtlCol="0" anchor="ctr"/>
              <a:lstStyle/>
              <a:p>
                <a:endParaRPr lang="en-US"/>
              </a:p>
            </p:txBody>
          </p:sp>
          <p:grpSp>
            <p:nvGrpSpPr>
              <p:cNvPr id="49" name="Graphic 4">
                <a:extLst>
                  <a:ext uri="{FF2B5EF4-FFF2-40B4-BE49-F238E27FC236}">
                    <a16:creationId xmlns:a16="http://schemas.microsoft.com/office/drawing/2014/main" id="{82A6F1A9-F353-3189-D898-009E20F2B4CA}"/>
                  </a:ext>
                </a:extLst>
              </p:cNvPr>
              <p:cNvGrpSpPr/>
              <p:nvPr/>
            </p:nvGrpSpPr>
            <p:grpSpPr>
              <a:xfrm>
                <a:off x="6871949" y="5383505"/>
                <a:ext cx="449415" cy="17673"/>
                <a:chOff x="6871949" y="5383505"/>
                <a:chExt cx="449415" cy="17673"/>
              </a:xfrm>
              <a:noFill/>
            </p:grpSpPr>
            <p:sp>
              <p:nvSpPr>
                <p:cNvPr id="64" name="Freeform 1918">
                  <a:extLst>
                    <a:ext uri="{FF2B5EF4-FFF2-40B4-BE49-F238E27FC236}">
                      <a16:creationId xmlns:a16="http://schemas.microsoft.com/office/drawing/2014/main" id="{7855144C-6A33-C397-5863-D6FBD067C41D}"/>
                    </a:ext>
                  </a:extLst>
                </p:cNvPr>
                <p:cNvSpPr/>
                <p:nvPr/>
              </p:nvSpPr>
              <p:spPr>
                <a:xfrm>
                  <a:off x="6871949" y="5383505"/>
                  <a:ext cx="80162" cy="17673"/>
                </a:xfrm>
                <a:custGeom>
                  <a:avLst/>
                  <a:gdLst>
                    <a:gd name="connsiteX0" fmla="*/ 80162 w 80162"/>
                    <a:gd name="connsiteY0" fmla="*/ 0 h 17673"/>
                    <a:gd name="connsiteX1" fmla="*/ 58701 w 80162"/>
                    <a:gd name="connsiteY1" fmla="*/ 17674 h 17673"/>
                    <a:gd name="connsiteX2" fmla="*/ 0 w 80162"/>
                    <a:gd name="connsiteY2" fmla="*/ 17674 h 17673"/>
                    <a:gd name="connsiteX3" fmla="*/ 0 w 80162"/>
                    <a:gd name="connsiteY3" fmla="*/ 0 h 17673"/>
                  </a:gdLst>
                  <a:ahLst/>
                  <a:cxnLst>
                    <a:cxn ang="0">
                      <a:pos x="connsiteX0" y="connsiteY0"/>
                    </a:cxn>
                    <a:cxn ang="0">
                      <a:pos x="connsiteX1" y="connsiteY1"/>
                    </a:cxn>
                    <a:cxn ang="0">
                      <a:pos x="connsiteX2" y="connsiteY2"/>
                    </a:cxn>
                    <a:cxn ang="0">
                      <a:pos x="connsiteX3" y="connsiteY3"/>
                    </a:cxn>
                  </a:cxnLst>
                  <a:rect l="l" t="t" r="r" b="b"/>
                  <a:pathLst>
                    <a:path w="80162" h="17673">
                      <a:moveTo>
                        <a:pt x="80162" y="0"/>
                      </a:moveTo>
                      <a:lnTo>
                        <a:pt x="58701" y="17674"/>
                      </a:lnTo>
                      <a:lnTo>
                        <a:pt x="0" y="17674"/>
                      </a:lnTo>
                      <a:lnTo>
                        <a:pt x="0" y="0"/>
                      </a:lnTo>
                    </a:path>
                  </a:pathLst>
                </a:custGeom>
                <a:noFill/>
                <a:ln w="19050" cap="rnd">
                  <a:solidFill>
                    <a:schemeClr val="tx2"/>
                  </a:solidFill>
                  <a:prstDash val="solid"/>
                  <a:round/>
                </a:ln>
              </p:spPr>
              <p:txBody>
                <a:bodyPr rtlCol="0" anchor="ctr"/>
                <a:lstStyle/>
                <a:p>
                  <a:endParaRPr lang="en-US"/>
                </a:p>
              </p:txBody>
            </p:sp>
            <p:sp>
              <p:nvSpPr>
                <p:cNvPr id="89" name="Freeform 1919">
                  <a:extLst>
                    <a:ext uri="{FF2B5EF4-FFF2-40B4-BE49-F238E27FC236}">
                      <a16:creationId xmlns:a16="http://schemas.microsoft.com/office/drawing/2014/main" id="{8F14AB76-E40B-3824-36C5-2B8B2ADD7540}"/>
                    </a:ext>
                  </a:extLst>
                </p:cNvPr>
                <p:cNvSpPr/>
                <p:nvPr/>
              </p:nvSpPr>
              <p:spPr>
                <a:xfrm>
                  <a:off x="7241202" y="5383505"/>
                  <a:ext cx="80162" cy="17673"/>
                </a:xfrm>
                <a:custGeom>
                  <a:avLst/>
                  <a:gdLst>
                    <a:gd name="connsiteX0" fmla="*/ 80162 w 80162"/>
                    <a:gd name="connsiteY0" fmla="*/ 0 h 17673"/>
                    <a:gd name="connsiteX1" fmla="*/ 80162 w 80162"/>
                    <a:gd name="connsiteY1" fmla="*/ 17674 h 17673"/>
                    <a:gd name="connsiteX2" fmla="*/ 21461 w 80162"/>
                    <a:gd name="connsiteY2" fmla="*/ 17674 h 17673"/>
                    <a:gd name="connsiteX3" fmla="*/ 0 w 80162"/>
                    <a:gd name="connsiteY3" fmla="*/ 0 h 17673"/>
                  </a:gdLst>
                  <a:ahLst/>
                  <a:cxnLst>
                    <a:cxn ang="0">
                      <a:pos x="connsiteX0" y="connsiteY0"/>
                    </a:cxn>
                    <a:cxn ang="0">
                      <a:pos x="connsiteX1" y="connsiteY1"/>
                    </a:cxn>
                    <a:cxn ang="0">
                      <a:pos x="connsiteX2" y="connsiteY2"/>
                    </a:cxn>
                    <a:cxn ang="0">
                      <a:pos x="connsiteX3" y="connsiteY3"/>
                    </a:cxn>
                  </a:cxnLst>
                  <a:rect l="l" t="t" r="r" b="b"/>
                  <a:pathLst>
                    <a:path w="80162" h="17673">
                      <a:moveTo>
                        <a:pt x="80162" y="0"/>
                      </a:moveTo>
                      <a:lnTo>
                        <a:pt x="80162" y="17674"/>
                      </a:lnTo>
                      <a:lnTo>
                        <a:pt x="21461" y="17674"/>
                      </a:lnTo>
                      <a:lnTo>
                        <a:pt x="0" y="0"/>
                      </a:lnTo>
                    </a:path>
                  </a:pathLst>
                </a:custGeom>
                <a:noFill/>
                <a:ln w="19050" cap="rnd">
                  <a:solidFill>
                    <a:schemeClr val="tx2"/>
                  </a:solidFill>
                  <a:prstDash val="solid"/>
                  <a:round/>
                </a:ln>
              </p:spPr>
              <p:txBody>
                <a:bodyPr rtlCol="0" anchor="ctr"/>
                <a:lstStyle/>
                <a:p>
                  <a:endParaRPr lang="en-US"/>
                </a:p>
              </p:txBody>
            </p:sp>
          </p:grpSp>
        </p:grpSp>
        <p:sp>
          <p:nvSpPr>
            <p:cNvPr id="8" name="Freeform 1888">
              <a:extLst>
                <a:ext uri="{FF2B5EF4-FFF2-40B4-BE49-F238E27FC236}">
                  <a16:creationId xmlns:a16="http://schemas.microsoft.com/office/drawing/2014/main" id="{4B679914-C747-9360-E27C-E3C2B036442A}"/>
                </a:ext>
              </a:extLst>
            </p:cNvPr>
            <p:cNvSpPr/>
            <p:nvPr/>
          </p:nvSpPr>
          <p:spPr>
            <a:xfrm>
              <a:off x="7037323" y="5091258"/>
              <a:ext cx="112354" cy="186204"/>
            </a:xfrm>
            <a:custGeom>
              <a:avLst/>
              <a:gdLst>
                <a:gd name="connsiteX0" fmla="*/ 112354 w 112354"/>
                <a:gd name="connsiteY0" fmla="*/ 76375 h 186204"/>
                <a:gd name="connsiteX1" fmla="*/ 63751 w 112354"/>
                <a:gd name="connsiteY1" fmla="*/ 74482 h 186204"/>
                <a:gd name="connsiteX2" fmla="*/ 73219 w 112354"/>
                <a:gd name="connsiteY2" fmla="*/ 0 h 186204"/>
                <a:gd name="connsiteX3" fmla="*/ 0 w 112354"/>
                <a:gd name="connsiteY3" fmla="*/ 100361 h 186204"/>
                <a:gd name="connsiteX4" fmla="*/ 47340 w 112354"/>
                <a:gd name="connsiteY4" fmla="*/ 100361 h 186204"/>
                <a:gd name="connsiteX5" fmla="*/ 25879 w 112354"/>
                <a:gd name="connsiteY5" fmla="*/ 186205 h 18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354" h="186204">
                  <a:moveTo>
                    <a:pt x="112354" y="76375"/>
                  </a:moveTo>
                  <a:lnTo>
                    <a:pt x="63751" y="74482"/>
                  </a:lnTo>
                  <a:lnTo>
                    <a:pt x="73219" y="0"/>
                  </a:lnTo>
                  <a:lnTo>
                    <a:pt x="0" y="100361"/>
                  </a:lnTo>
                  <a:lnTo>
                    <a:pt x="47340" y="100361"/>
                  </a:lnTo>
                  <a:lnTo>
                    <a:pt x="25879" y="186205"/>
                  </a:lnTo>
                  <a:close/>
                </a:path>
              </a:pathLst>
            </a:custGeom>
            <a:noFill/>
            <a:ln w="19050" cap="rnd">
              <a:solidFill>
                <a:schemeClr val="tx2"/>
              </a:solidFill>
              <a:prstDash val="solid"/>
              <a:round/>
            </a:ln>
          </p:spPr>
          <p:txBody>
            <a:bodyPr rtlCol="0" anchor="ctr"/>
            <a:lstStyle/>
            <a:p>
              <a:endParaRPr lang="en-US"/>
            </a:p>
          </p:txBody>
        </p:sp>
        <p:grpSp>
          <p:nvGrpSpPr>
            <p:cNvPr id="11" name="Graphic 4">
              <a:extLst>
                <a:ext uri="{FF2B5EF4-FFF2-40B4-BE49-F238E27FC236}">
                  <a16:creationId xmlns:a16="http://schemas.microsoft.com/office/drawing/2014/main" id="{F8DF5EC3-EC78-E22E-6945-8C25D298199B}"/>
                </a:ext>
              </a:extLst>
            </p:cNvPr>
            <p:cNvGrpSpPr/>
            <p:nvPr/>
          </p:nvGrpSpPr>
          <p:grpSpPr>
            <a:xfrm>
              <a:off x="6930019" y="5108931"/>
              <a:ext cx="333275" cy="167899"/>
              <a:chOff x="6930019" y="5108931"/>
              <a:chExt cx="333275" cy="167899"/>
            </a:xfrm>
          </p:grpSpPr>
          <p:sp>
            <p:nvSpPr>
              <p:cNvPr id="39" name="Freeform 1907">
                <a:extLst>
                  <a:ext uri="{FF2B5EF4-FFF2-40B4-BE49-F238E27FC236}">
                    <a16:creationId xmlns:a16="http://schemas.microsoft.com/office/drawing/2014/main" id="{8354D805-1779-40AF-0D84-301CBCD3B4FF}"/>
                  </a:ext>
                </a:extLst>
              </p:cNvPr>
              <p:cNvSpPr/>
              <p:nvPr/>
            </p:nvSpPr>
            <p:spPr>
              <a:xfrm>
                <a:off x="6930019" y="5108931"/>
                <a:ext cx="6312" cy="167899"/>
              </a:xfrm>
              <a:custGeom>
                <a:avLst/>
                <a:gdLst>
                  <a:gd name="connsiteX0" fmla="*/ 0 w 6312"/>
                  <a:gd name="connsiteY0" fmla="*/ 0 h 167899"/>
                  <a:gd name="connsiteX1" fmla="*/ 0 w 6312"/>
                  <a:gd name="connsiteY1" fmla="*/ 167900 h 167899"/>
                </a:gdLst>
                <a:ahLst/>
                <a:cxnLst>
                  <a:cxn ang="0">
                    <a:pos x="connsiteX0" y="connsiteY0"/>
                  </a:cxn>
                  <a:cxn ang="0">
                    <a:pos x="connsiteX1" y="connsiteY1"/>
                  </a:cxn>
                </a:cxnLst>
                <a:rect l="l" t="t" r="r" b="b"/>
                <a:pathLst>
                  <a:path w="6312" h="167899">
                    <a:moveTo>
                      <a:pt x="0" y="0"/>
                    </a:moveTo>
                    <a:lnTo>
                      <a:pt x="0" y="167900"/>
                    </a:lnTo>
                  </a:path>
                </a:pathLst>
              </a:custGeom>
              <a:ln w="19050" cap="rnd">
                <a:solidFill>
                  <a:schemeClr val="tx2"/>
                </a:solidFill>
                <a:prstDash val="solid"/>
                <a:round/>
              </a:ln>
            </p:spPr>
            <p:txBody>
              <a:bodyPr rtlCol="0" anchor="ctr"/>
              <a:lstStyle/>
              <a:p>
                <a:endParaRPr lang="en-US"/>
              </a:p>
            </p:txBody>
          </p:sp>
          <p:sp>
            <p:nvSpPr>
              <p:cNvPr id="40" name="Freeform 1908">
                <a:extLst>
                  <a:ext uri="{FF2B5EF4-FFF2-40B4-BE49-F238E27FC236}">
                    <a16:creationId xmlns:a16="http://schemas.microsoft.com/office/drawing/2014/main" id="{6A4D10F9-58D6-3FA3-8DEE-E7E1259AEE50}"/>
                  </a:ext>
                </a:extLst>
              </p:cNvPr>
              <p:cNvSpPr/>
              <p:nvPr/>
            </p:nvSpPr>
            <p:spPr>
              <a:xfrm>
                <a:off x="7013338" y="5230754"/>
                <a:ext cx="6312" cy="46077"/>
              </a:xfrm>
              <a:custGeom>
                <a:avLst/>
                <a:gdLst>
                  <a:gd name="connsiteX0" fmla="*/ 0 w 6312"/>
                  <a:gd name="connsiteY0" fmla="*/ 0 h 46077"/>
                  <a:gd name="connsiteX1" fmla="*/ 0 w 6312"/>
                  <a:gd name="connsiteY1" fmla="*/ 46078 h 46077"/>
                </a:gdLst>
                <a:ahLst/>
                <a:cxnLst>
                  <a:cxn ang="0">
                    <a:pos x="connsiteX0" y="connsiteY0"/>
                  </a:cxn>
                  <a:cxn ang="0">
                    <a:pos x="connsiteX1" y="connsiteY1"/>
                  </a:cxn>
                </a:cxnLst>
                <a:rect l="l" t="t" r="r" b="b"/>
                <a:pathLst>
                  <a:path w="6312" h="46077">
                    <a:moveTo>
                      <a:pt x="0" y="0"/>
                    </a:moveTo>
                    <a:lnTo>
                      <a:pt x="0" y="46078"/>
                    </a:lnTo>
                  </a:path>
                </a:pathLst>
              </a:custGeom>
              <a:ln w="19050" cap="rnd">
                <a:solidFill>
                  <a:schemeClr val="tx2"/>
                </a:solidFill>
                <a:prstDash val="solid"/>
                <a:round/>
              </a:ln>
            </p:spPr>
            <p:txBody>
              <a:bodyPr rtlCol="0" anchor="ctr"/>
              <a:lstStyle/>
              <a:p>
                <a:endParaRPr lang="en-US"/>
              </a:p>
            </p:txBody>
          </p:sp>
          <p:sp>
            <p:nvSpPr>
              <p:cNvPr id="41" name="Freeform 1909">
                <a:extLst>
                  <a:ext uri="{FF2B5EF4-FFF2-40B4-BE49-F238E27FC236}">
                    <a16:creationId xmlns:a16="http://schemas.microsoft.com/office/drawing/2014/main" id="{20F8549C-75BA-8090-621B-4958B0F3F2BD}"/>
                  </a:ext>
                </a:extLst>
              </p:cNvPr>
              <p:cNvSpPr/>
              <p:nvPr/>
            </p:nvSpPr>
            <p:spPr>
              <a:xfrm>
                <a:off x="7013338" y="5108931"/>
                <a:ext cx="6312" cy="47971"/>
              </a:xfrm>
              <a:custGeom>
                <a:avLst/>
                <a:gdLst>
                  <a:gd name="connsiteX0" fmla="*/ 0 w 6312"/>
                  <a:gd name="connsiteY0" fmla="*/ 0 h 47971"/>
                  <a:gd name="connsiteX1" fmla="*/ 0 w 6312"/>
                  <a:gd name="connsiteY1" fmla="*/ 47971 h 47971"/>
                </a:gdLst>
                <a:ahLst/>
                <a:cxnLst>
                  <a:cxn ang="0">
                    <a:pos x="connsiteX0" y="connsiteY0"/>
                  </a:cxn>
                  <a:cxn ang="0">
                    <a:pos x="connsiteX1" y="connsiteY1"/>
                  </a:cxn>
                </a:cxnLst>
                <a:rect l="l" t="t" r="r" b="b"/>
                <a:pathLst>
                  <a:path w="6312" h="47971">
                    <a:moveTo>
                      <a:pt x="0" y="0"/>
                    </a:moveTo>
                    <a:lnTo>
                      <a:pt x="0" y="47971"/>
                    </a:lnTo>
                  </a:path>
                </a:pathLst>
              </a:custGeom>
              <a:ln w="19050" cap="rnd">
                <a:solidFill>
                  <a:schemeClr val="tx2"/>
                </a:solidFill>
                <a:prstDash val="solid"/>
                <a:round/>
              </a:ln>
            </p:spPr>
            <p:txBody>
              <a:bodyPr rtlCol="0" anchor="ctr"/>
              <a:lstStyle/>
              <a:p>
                <a:endParaRPr lang="en-US"/>
              </a:p>
            </p:txBody>
          </p:sp>
          <p:sp>
            <p:nvSpPr>
              <p:cNvPr id="42" name="Freeform 1910">
                <a:extLst>
                  <a:ext uri="{FF2B5EF4-FFF2-40B4-BE49-F238E27FC236}">
                    <a16:creationId xmlns:a16="http://schemas.microsoft.com/office/drawing/2014/main" id="{3EF4A9D8-C0CF-4E8E-1D44-5D698E49BBE9}"/>
                  </a:ext>
                </a:extLst>
              </p:cNvPr>
              <p:cNvSpPr/>
              <p:nvPr/>
            </p:nvSpPr>
            <p:spPr>
              <a:xfrm>
                <a:off x="7179975" y="5201718"/>
                <a:ext cx="6312" cy="75113"/>
              </a:xfrm>
              <a:custGeom>
                <a:avLst/>
                <a:gdLst>
                  <a:gd name="connsiteX0" fmla="*/ 0 w 6312"/>
                  <a:gd name="connsiteY0" fmla="*/ 0 h 75113"/>
                  <a:gd name="connsiteX1" fmla="*/ 0 w 6312"/>
                  <a:gd name="connsiteY1" fmla="*/ 75113 h 75113"/>
                </a:gdLst>
                <a:ahLst/>
                <a:cxnLst>
                  <a:cxn ang="0">
                    <a:pos x="connsiteX0" y="connsiteY0"/>
                  </a:cxn>
                  <a:cxn ang="0">
                    <a:pos x="connsiteX1" y="connsiteY1"/>
                  </a:cxn>
                </a:cxnLst>
                <a:rect l="l" t="t" r="r" b="b"/>
                <a:pathLst>
                  <a:path w="6312" h="75113">
                    <a:moveTo>
                      <a:pt x="0" y="0"/>
                    </a:moveTo>
                    <a:lnTo>
                      <a:pt x="0" y="75113"/>
                    </a:lnTo>
                  </a:path>
                </a:pathLst>
              </a:custGeom>
              <a:ln w="19050" cap="rnd">
                <a:solidFill>
                  <a:schemeClr val="tx2"/>
                </a:solidFill>
                <a:prstDash val="solid"/>
                <a:round/>
              </a:ln>
            </p:spPr>
            <p:txBody>
              <a:bodyPr rtlCol="0" anchor="ctr"/>
              <a:lstStyle/>
              <a:p>
                <a:endParaRPr lang="en-US"/>
              </a:p>
            </p:txBody>
          </p:sp>
          <p:sp>
            <p:nvSpPr>
              <p:cNvPr id="43" name="Freeform 1911">
                <a:extLst>
                  <a:ext uri="{FF2B5EF4-FFF2-40B4-BE49-F238E27FC236}">
                    <a16:creationId xmlns:a16="http://schemas.microsoft.com/office/drawing/2014/main" id="{F22D1B03-D5B0-CF1A-079B-B90B6CC66CBB}"/>
                  </a:ext>
                </a:extLst>
              </p:cNvPr>
              <p:cNvSpPr/>
              <p:nvPr/>
            </p:nvSpPr>
            <p:spPr>
              <a:xfrm>
                <a:off x="7179975" y="5108931"/>
                <a:ext cx="6312" cy="40396"/>
              </a:xfrm>
              <a:custGeom>
                <a:avLst/>
                <a:gdLst>
                  <a:gd name="connsiteX0" fmla="*/ 0 w 6312"/>
                  <a:gd name="connsiteY0" fmla="*/ 0 h 40396"/>
                  <a:gd name="connsiteX1" fmla="*/ 0 w 6312"/>
                  <a:gd name="connsiteY1" fmla="*/ 40397 h 40396"/>
                </a:gdLst>
                <a:ahLst/>
                <a:cxnLst>
                  <a:cxn ang="0">
                    <a:pos x="connsiteX0" y="connsiteY0"/>
                  </a:cxn>
                  <a:cxn ang="0">
                    <a:pos x="connsiteX1" y="connsiteY1"/>
                  </a:cxn>
                </a:cxnLst>
                <a:rect l="l" t="t" r="r" b="b"/>
                <a:pathLst>
                  <a:path w="6312" h="40396">
                    <a:moveTo>
                      <a:pt x="0" y="0"/>
                    </a:moveTo>
                    <a:lnTo>
                      <a:pt x="0" y="40397"/>
                    </a:lnTo>
                  </a:path>
                </a:pathLst>
              </a:custGeom>
              <a:ln w="19050" cap="rnd">
                <a:solidFill>
                  <a:schemeClr val="tx2"/>
                </a:solidFill>
                <a:prstDash val="solid"/>
                <a:round/>
              </a:ln>
            </p:spPr>
            <p:txBody>
              <a:bodyPr rtlCol="0" anchor="ctr"/>
              <a:lstStyle/>
              <a:p>
                <a:endParaRPr lang="en-US"/>
              </a:p>
            </p:txBody>
          </p:sp>
          <p:sp>
            <p:nvSpPr>
              <p:cNvPr id="44" name="Freeform 1912">
                <a:extLst>
                  <a:ext uri="{FF2B5EF4-FFF2-40B4-BE49-F238E27FC236}">
                    <a16:creationId xmlns:a16="http://schemas.microsoft.com/office/drawing/2014/main" id="{AD91D537-7063-02AD-53A1-4DA4D0907FE0}"/>
                  </a:ext>
                </a:extLst>
              </p:cNvPr>
              <p:cNvSpPr/>
              <p:nvPr/>
            </p:nvSpPr>
            <p:spPr>
              <a:xfrm>
                <a:off x="7263294" y="5108931"/>
                <a:ext cx="6312" cy="167899"/>
              </a:xfrm>
              <a:custGeom>
                <a:avLst/>
                <a:gdLst>
                  <a:gd name="connsiteX0" fmla="*/ 0 w 6312"/>
                  <a:gd name="connsiteY0" fmla="*/ 0 h 167899"/>
                  <a:gd name="connsiteX1" fmla="*/ 0 w 6312"/>
                  <a:gd name="connsiteY1" fmla="*/ 167900 h 167899"/>
                </a:gdLst>
                <a:ahLst/>
                <a:cxnLst>
                  <a:cxn ang="0">
                    <a:pos x="connsiteX0" y="connsiteY0"/>
                  </a:cxn>
                  <a:cxn ang="0">
                    <a:pos x="connsiteX1" y="connsiteY1"/>
                  </a:cxn>
                </a:cxnLst>
                <a:rect l="l" t="t" r="r" b="b"/>
                <a:pathLst>
                  <a:path w="6312" h="167899">
                    <a:moveTo>
                      <a:pt x="0" y="0"/>
                    </a:moveTo>
                    <a:lnTo>
                      <a:pt x="0" y="167900"/>
                    </a:lnTo>
                  </a:path>
                </a:pathLst>
              </a:custGeom>
              <a:ln w="19050" cap="rnd">
                <a:solidFill>
                  <a:schemeClr val="tx2"/>
                </a:solidFill>
                <a:prstDash val="solid"/>
                <a:round/>
              </a:ln>
            </p:spPr>
            <p:txBody>
              <a:bodyPr rtlCol="0" anchor="ctr"/>
              <a:lstStyle/>
              <a:p>
                <a:endParaRPr lang="en-US"/>
              </a:p>
            </p:txBody>
          </p:sp>
        </p:grpSp>
        <p:sp>
          <p:nvSpPr>
            <p:cNvPr id="12" name="Freeform 1890">
              <a:extLst>
                <a:ext uri="{FF2B5EF4-FFF2-40B4-BE49-F238E27FC236}">
                  <a16:creationId xmlns:a16="http://schemas.microsoft.com/office/drawing/2014/main" id="{4EF4132E-D76C-C7F1-7A88-5F7504831E04}"/>
                </a:ext>
              </a:extLst>
            </p:cNvPr>
            <p:cNvSpPr/>
            <p:nvPr/>
          </p:nvSpPr>
          <p:spPr>
            <a:xfrm>
              <a:off x="6906034" y="4870337"/>
              <a:ext cx="47340" cy="147070"/>
            </a:xfrm>
            <a:custGeom>
              <a:avLst/>
              <a:gdLst>
                <a:gd name="connsiteX0" fmla="*/ 47340 w 47340"/>
                <a:gd name="connsiteY0" fmla="*/ 147070 h 147070"/>
                <a:gd name="connsiteX1" fmla="*/ 47340 w 47340"/>
                <a:gd name="connsiteY1" fmla="*/ 22092 h 147070"/>
                <a:gd name="connsiteX2" fmla="*/ 25248 w 47340"/>
                <a:gd name="connsiteY2" fmla="*/ 0 h 147070"/>
                <a:gd name="connsiteX3" fmla="*/ 22092 w 47340"/>
                <a:gd name="connsiteY3" fmla="*/ 0 h 147070"/>
                <a:gd name="connsiteX4" fmla="*/ 0 w 47340"/>
                <a:gd name="connsiteY4" fmla="*/ 22092 h 147070"/>
                <a:gd name="connsiteX5" fmla="*/ 0 w 47340"/>
                <a:gd name="connsiteY5" fmla="*/ 147070 h 14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40" h="147070">
                  <a:moveTo>
                    <a:pt x="47340" y="147070"/>
                  </a:moveTo>
                  <a:lnTo>
                    <a:pt x="47340" y="22092"/>
                  </a:lnTo>
                  <a:cubicBezTo>
                    <a:pt x="47340" y="10099"/>
                    <a:pt x="37240" y="0"/>
                    <a:pt x="25248" y="0"/>
                  </a:cubicBezTo>
                  <a:lnTo>
                    <a:pt x="22092" y="0"/>
                  </a:lnTo>
                  <a:cubicBezTo>
                    <a:pt x="10099" y="0"/>
                    <a:pt x="0" y="10099"/>
                    <a:pt x="0" y="22092"/>
                  </a:cubicBezTo>
                  <a:lnTo>
                    <a:pt x="0" y="147070"/>
                  </a:lnTo>
                </a:path>
              </a:pathLst>
            </a:custGeom>
            <a:noFill/>
            <a:ln w="19050" cap="rnd">
              <a:solidFill>
                <a:schemeClr val="tx2"/>
              </a:solidFill>
              <a:prstDash val="solid"/>
              <a:round/>
            </a:ln>
          </p:spPr>
          <p:txBody>
            <a:bodyPr rtlCol="0" anchor="ctr"/>
            <a:lstStyle/>
            <a:p>
              <a:endParaRPr lang="en-US"/>
            </a:p>
          </p:txBody>
        </p:sp>
        <p:sp>
          <p:nvSpPr>
            <p:cNvPr id="13" name="Freeform 1891">
              <a:extLst>
                <a:ext uri="{FF2B5EF4-FFF2-40B4-BE49-F238E27FC236}">
                  <a16:creationId xmlns:a16="http://schemas.microsoft.com/office/drawing/2014/main" id="{3AD37AA1-CA20-9FA4-5BE6-3EB6E3974612}"/>
                </a:ext>
              </a:extLst>
            </p:cNvPr>
            <p:cNvSpPr/>
            <p:nvPr/>
          </p:nvSpPr>
          <p:spPr>
            <a:xfrm>
              <a:off x="6930019" y="4836252"/>
              <a:ext cx="6312" cy="34084"/>
            </a:xfrm>
            <a:custGeom>
              <a:avLst/>
              <a:gdLst>
                <a:gd name="connsiteX0" fmla="*/ 0 w 6312"/>
                <a:gd name="connsiteY0" fmla="*/ 0 h 34084"/>
                <a:gd name="connsiteX1" fmla="*/ 0 w 6312"/>
                <a:gd name="connsiteY1" fmla="*/ 34085 h 34084"/>
              </a:gdLst>
              <a:ahLst/>
              <a:cxnLst>
                <a:cxn ang="0">
                  <a:pos x="connsiteX0" y="connsiteY0"/>
                </a:cxn>
                <a:cxn ang="0">
                  <a:pos x="connsiteX1" y="connsiteY1"/>
                </a:cxn>
              </a:cxnLst>
              <a:rect l="l" t="t" r="r" b="b"/>
              <a:pathLst>
                <a:path w="6312" h="34084">
                  <a:moveTo>
                    <a:pt x="0" y="0"/>
                  </a:moveTo>
                  <a:lnTo>
                    <a:pt x="0" y="34085"/>
                  </a:lnTo>
                </a:path>
              </a:pathLst>
            </a:custGeom>
            <a:ln w="19050" cap="rnd">
              <a:solidFill>
                <a:schemeClr val="tx2"/>
              </a:solidFill>
              <a:prstDash val="solid"/>
              <a:round/>
            </a:ln>
          </p:spPr>
          <p:txBody>
            <a:bodyPr rtlCol="0" anchor="ctr"/>
            <a:lstStyle/>
            <a:p>
              <a:endParaRPr lang="en-US"/>
            </a:p>
          </p:txBody>
        </p:sp>
        <p:sp>
          <p:nvSpPr>
            <p:cNvPr id="16" name="Freeform 1892">
              <a:extLst>
                <a:ext uri="{FF2B5EF4-FFF2-40B4-BE49-F238E27FC236}">
                  <a16:creationId xmlns:a16="http://schemas.microsoft.com/office/drawing/2014/main" id="{D02C9707-0AB0-BD37-1610-B1C4E2D666F1}"/>
                </a:ext>
              </a:extLst>
            </p:cNvPr>
            <p:cNvSpPr/>
            <p:nvPr/>
          </p:nvSpPr>
          <p:spPr>
            <a:xfrm>
              <a:off x="6890884" y="4908209"/>
              <a:ext cx="77637" cy="6312"/>
            </a:xfrm>
            <a:custGeom>
              <a:avLst/>
              <a:gdLst>
                <a:gd name="connsiteX0" fmla="*/ 0 w 77637"/>
                <a:gd name="connsiteY0" fmla="*/ 0 h 6312"/>
                <a:gd name="connsiteX1" fmla="*/ 77638 w 77637"/>
                <a:gd name="connsiteY1" fmla="*/ 0 h 6312"/>
              </a:gdLst>
              <a:ahLst/>
              <a:cxnLst>
                <a:cxn ang="0">
                  <a:pos x="connsiteX0" y="connsiteY0"/>
                </a:cxn>
                <a:cxn ang="0">
                  <a:pos x="connsiteX1" y="connsiteY1"/>
                </a:cxn>
              </a:cxnLst>
              <a:rect l="l" t="t" r="r" b="b"/>
              <a:pathLst>
                <a:path w="77637" h="6312">
                  <a:moveTo>
                    <a:pt x="0" y="0"/>
                  </a:moveTo>
                  <a:lnTo>
                    <a:pt x="77638" y="0"/>
                  </a:lnTo>
                </a:path>
              </a:pathLst>
            </a:custGeom>
            <a:ln w="19050" cap="rnd">
              <a:solidFill>
                <a:schemeClr val="tx2"/>
              </a:solidFill>
              <a:prstDash val="solid"/>
              <a:round/>
            </a:ln>
          </p:spPr>
          <p:txBody>
            <a:bodyPr rtlCol="0" anchor="ctr"/>
            <a:lstStyle/>
            <a:p>
              <a:endParaRPr lang="en-US"/>
            </a:p>
          </p:txBody>
        </p:sp>
        <p:sp>
          <p:nvSpPr>
            <p:cNvPr id="17" name="Freeform 1893">
              <a:extLst>
                <a:ext uri="{FF2B5EF4-FFF2-40B4-BE49-F238E27FC236}">
                  <a16:creationId xmlns:a16="http://schemas.microsoft.com/office/drawing/2014/main" id="{A95BDECC-622D-288A-DB18-7F26359BC0E0}"/>
                </a:ext>
              </a:extLst>
            </p:cNvPr>
            <p:cNvSpPr/>
            <p:nvPr/>
          </p:nvSpPr>
          <p:spPr>
            <a:xfrm>
              <a:off x="6890884" y="4943556"/>
              <a:ext cx="77637" cy="6312"/>
            </a:xfrm>
            <a:custGeom>
              <a:avLst/>
              <a:gdLst>
                <a:gd name="connsiteX0" fmla="*/ 0 w 77637"/>
                <a:gd name="connsiteY0" fmla="*/ 0 h 6312"/>
                <a:gd name="connsiteX1" fmla="*/ 77638 w 77637"/>
                <a:gd name="connsiteY1" fmla="*/ 0 h 6312"/>
              </a:gdLst>
              <a:ahLst/>
              <a:cxnLst>
                <a:cxn ang="0">
                  <a:pos x="connsiteX0" y="connsiteY0"/>
                </a:cxn>
                <a:cxn ang="0">
                  <a:pos x="connsiteX1" y="connsiteY1"/>
                </a:cxn>
              </a:cxnLst>
              <a:rect l="l" t="t" r="r" b="b"/>
              <a:pathLst>
                <a:path w="77637" h="6312">
                  <a:moveTo>
                    <a:pt x="0" y="0"/>
                  </a:moveTo>
                  <a:lnTo>
                    <a:pt x="77638" y="0"/>
                  </a:lnTo>
                </a:path>
              </a:pathLst>
            </a:custGeom>
            <a:ln w="19050" cap="rnd">
              <a:solidFill>
                <a:schemeClr val="tx2"/>
              </a:solidFill>
              <a:prstDash val="solid"/>
              <a:round/>
            </a:ln>
          </p:spPr>
          <p:txBody>
            <a:bodyPr rtlCol="0" anchor="ctr"/>
            <a:lstStyle/>
            <a:p>
              <a:endParaRPr lang="en-US"/>
            </a:p>
          </p:txBody>
        </p:sp>
        <p:sp>
          <p:nvSpPr>
            <p:cNvPr id="26" name="Freeform 1894">
              <a:extLst>
                <a:ext uri="{FF2B5EF4-FFF2-40B4-BE49-F238E27FC236}">
                  <a16:creationId xmlns:a16="http://schemas.microsoft.com/office/drawing/2014/main" id="{784CCC43-1569-0AED-CE44-277058DA3CBE}"/>
                </a:ext>
              </a:extLst>
            </p:cNvPr>
            <p:cNvSpPr/>
            <p:nvPr/>
          </p:nvSpPr>
          <p:spPr>
            <a:xfrm>
              <a:off x="6890884" y="4978904"/>
              <a:ext cx="77637" cy="6312"/>
            </a:xfrm>
            <a:custGeom>
              <a:avLst/>
              <a:gdLst>
                <a:gd name="connsiteX0" fmla="*/ 0 w 77637"/>
                <a:gd name="connsiteY0" fmla="*/ 0 h 6312"/>
                <a:gd name="connsiteX1" fmla="*/ 77638 w 77637"/>
                <a:gd name="connsiteY1" fmla="*/ 0 h 6312"/>
              </a:gdLst>
              <a:ahLst/>
              <a:cxnLst>
                <a:cxn ang="0">
                  <a:pos x="connsiteX0" y="connsiteY0"/>
                </a:cxn>
                <a:cxn ang="0">
                  <a:pos x="connsiteX1" y="connsiteY1"/>
                </a:cxn>
              </a:cxnLst>
              <a:rect l="l" t="t" r="r" b="b"/>
              <a:pathLst>
                <a:path w="77637" h="6312">
                  <a:moveTo>
                    <a:pt x="0" y="0"/>
                  </a:moveTo>
                  <a:lnTo>
                    <a:pt x="77638" y="0"/>
                  </a:lnTo>
                </a:path>
              </a:pathLst>
            </a:custGeom>
            <a:ln w="19050" cap="rnd">
              <a:solidFill>
                <a:schemeClr val="tx2"/>
              </a:solidFill>
              <a:prstDash val="solid"/>
              <a:round/>
            </a:ln>
          </p:spPr>
          <p:txBody>
            <a:bodyPr rtlCol="0" anchor="ctr"/>
            <a:lstStyle/>
            <a:p>
              <a:endParaRPr lang="en-US"/>
            </a:p>
          </p:txBody>
        </p:sp>
        <p:grpSp>
          <p:nvGrpSpPr>
            <p:cNvPr id="27" name="Graphic 4">
              <a:extLst>
                <a:ext uri="{FF2B5EF4-FFF2-40B4-BE49-F238E27FC236}">
                  <a16:creationId xmlns:a16="http://schemas.microsoft.com/office/drawing/2014/main" id="{2A826B2B-54A0-8F29-C851-8B32A9CB9F2D}"/>
                </a:ext>
              </a:extLst>
            </p:cNvPr>
            <p:cNvGrpSpPr/>
            <p:nvPr/>
          </p:nvGrpSpPr>
          <p:grpSpPr>
            <a:xfrm>
              <a:off x="7042373" y="4836252"/>
              <a:ext cx="77006" cy="181155"/>
              <a:chOff x="7042373" y="4836252"/>
              <a:chExt cx="77006" cy="181155"/>
            </a:xfrm>
            <a:noFill/>
          </p:grpSpPr>
          <p:sp>
            <p:nvSpPr>
              <p:cNvPr id="34" name="Freeform 1902">
                <a:extLst>
                  <a:ext uri="{FF2B5EF4-FFF2-40B4-BE49-F238E27FC236}">
                    <a16:creationId xmlns:a16="http://schemas.microsoft.com/office/drawing/2014/main" id="{68826907-7B8E-8239-D9ED-AA8D19073831}"/>
                  </a:ext>
                </a:extLst>
              </p:cNvPr>
              <p:cNvSpPr/>
              <p:nvPr/>
            </p:nvSpPr>
            <p:spPr>
              <a:xfrm>
                <a:off x="7057522" y="4870337"/>
                <a:ext cx="47340" cy="147070"/>
              </a:xfrm>
              <a:custGeom>
                <a:avLst/>
                <a:gdLst>
                  <a:gd name="connsiteX0" fmla="*/ 47340 w 47340"/>
                  <a:gd name="connsiteY0" fmla="*/ 147070 h 147070"/>
                  <a:gd name="connsiteX1" fmla="*/ 47340 w 47340"/>
                  <a:gd name="connsiteY1" fmla="*/ 22092 h 147070"/>
                  <a:gd name="connsiteX2" fmla="*/ 25248 w 47340"/>
                  <a:gd name="connsiteY2" fmla="*/ 0 h 147070"/>
                  <a:gd name="connsiteX3" fmla="*/ 22092 w 47340"/>
                  <a:gd name="connsiteY3" fmla="*/ 0 h 147070"/>
                  <a:gd name="connsiteX4" fmla="*/ 0 w 47340"/>
                  <a:gd name="connsiteY4" fmla="*/ 22092 h 147070"/>
                  <a:gd name="connsiteX5" fmla="*/ 0 w 47340"/>
                  <a:gd name="connsiteY5" fmla="*/ 147070 h 14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40" h="147070">
                    <a:moveTo>
                      <a:pt x="47340" y="147070"/>
                    </a:moveTo>
                    <a:lnTo>
                      <a:pt x="47340" y="22092"/>
                    </a:lnTo>
                    <a:cubicBezTo>
                      <a:pt x="47340" y="10099"/>
                      <a:pt x="37240" y="0"/>
                      <a:pt x="25248" y="0"/>
                    </a:cubicBezTo>
                    <a:lnTo>
                      <a:pt x="22092" y="0"/>
                    </a:lnTo>
                    <a:cubicBezTo>
                      <a:pt x="10099" y="0"/>
                      <a:pt x="0" y="10099"/>
                      <a:pt x="0" y="22092"/>
                    </a:cubicBezTo>
                    <a:lnTo>
                      <a:pt x="0" y="147070"/>
                    </a:lnTo>
                  </a:path>
                </a:pathLst>
              </a:custGeom>
              <a:noFill/>
              <a:ln w="19050" cap="rnd">
                <a:solidFill>
                  <a:schemeClr val="tx2"/>
                </a:solidFill>
                <a:prstDash val="solid"/>
                <a:round/>
              </a:ln>
            </p:spPr>
            <p:txBody>
              <a:bodyPr rtlCol="0" anchor="ctr"/>
              <a:lstStyle/>
              <a:p>
                <a:endParaRPr lang="en-US"/>
              </a:p>
            </p:txBody>
          </p:sp>
          <p:sp>
            <p:nvSpPr>
              <p:cNvPr id="35" name="Freeform 1903">
                <a:extLst>
                  <a:ext uri="{FF2B5EF4-FFF2-40B4-BE49-F238E27FC236}">
                    <a16:creationId xmlns:a16="http://schemas.microsoft.com/office/drawing/2014/main" id="{F2BB724E-B3B8-19F9-637D-D0B0C278B202}"/>
                  </a:ext>
                </a:extLst>
              </p:cNvPr>
              <p:cNvSpPr/>
              <p:nvPr/>
            </p:nvSpPr>
            <p:spPr>
              <a:xfrm>
                <a:off x="7081508" y="4836252"/>
                <a:ext cx="6312" cy="34084"/>
              </a:xfrm>
              <a:custGeom>
                <a:avLst/>
                <a:gdLst>
                  <a:gd name="connsiteX0" fmla="*/ 0 w 6312"/>
                  <a:gd name="connsiteY0" fmla="*/ 0 h 34084"/>
                  <a:gd name="connsiteX1" fmla="*/ 0 w 6312"/>
                  <a:gd name="connsiteY1" fmla="*/ 34085 h 34084"/>
                </a:gdLst>
                <a:ahLst/>
                <a:cxnLst>
                  <a:cxn ang="0">
                    <a:pos x="connsiteX0" y="connsiteY0"/>
                  </a:cxn>
                  <a:cxn ang="0">
                    <a:pos x="connsiteX1" y="connsiteY1"/>
                  </a:cxn>
                </a:cxnLst>
                <a:rect l="l" t="t" r="r" b="b"/>
                <a:pathLst>
                  <a:path w="6312" h="34084">
                    <a:moveTo>
                      <a:pt x="0" y="0"/>
                    </a:moveTo>
                    <a:lnTo>
                      <a:pt x="0" y="34085"/>
                    </a:lnTo>
                  </a:path>
                </a:pathLst>
              </a:custGeom>
              <a:ln w="19050" cap="rnd">
                <a:solidFill>
                  <a:schemeClr val="tx2"/>
                </a:solidFill>
                <a:prstDash val="solid"/>
                <a:round/>
              </a:ln>
            </p:spPr>
            <p:txBody>
              <a:bodyPr rtlCol="0" anchor="ctr"/>
              <a:lstStyle/>
              <a:p>
                <a:endParaRPr lang="en-US"/>
              </a:p>
            </p:txBody>
          </p:sp>
          <p:sp>
            <p:nvSpPr>
              <p:cNvPr id="36" name="Freeform 1904">
                <a:extLst>
                  <a:ext uri="{FF2B5EF4-FFF2-40B4-BE49-F238E27FC236}">
                    <a16:creationId xmlns:a16="http://schemas.microsoft.com/office/drawing/2014/main" id="{4FEDA6E6-D70B-F51D-E230-7D84A7C1BD79}"/>
                  </a:ext>
                </a:extLst>
              </p:cNvPr>
              <p:cNvSpPr/>
              <p:nvPr/>
            </p:nvSpPr>
            <p:spPr>
              <a:xfrm>
                <a:off x="7042373" y="4908209"/>
                <a:ext cx="77006" cy="6312"/>
              </a:xfrm>
              <a:custGeom>
                <a:avLst/>
                <a:gdLst>
                  <a:gd name="connsiteX0" fmla="*/ 0 w 77006"/>
                  <a:gd name="connsiteY0" fmla="*/ 0 h 6312"/>
                  <a:gd name="connsiteX1" fmla="*/ 77007 w 77006"/>
                  <a:gd name="connsiteY1" fmla="*/ 0 h 6312"/>
                </a:gdLst>
                <a:ahLst/>
                <a:cxnLst>
                  <a:cxn ang="0">
                    <a:pos x="connsiteX0" y="connsiteY0"/>
                  </a:cxn>
                  <a:cxn ang="0">
                    <a:pos x="connsiteX1" y="connsiteY1"/>
                  </a:cxn>
                </a:cxnLst>
                <a:rect l="l" t="t" r="r" b="b"/>
                <a:pathLst>
                  <a:path w="77006" h="6312">
                    <a:moveTo>
                      <a:pt x="0" y="0"/>
                    </a:moveTo>
                    <a:lnTo>
                      <a:pt x="77007" y="0"/>
                    </a:lnTo>
                  </a:path>
                </a:pathLst>
              </a:custGeom>
              <a:ln w="19050" cap="rnd">
                <a:solidFill>
                  <a:schemeClr val="tx2"/>
                </a:solidFill>
                <a:prstDash val="solid"/>
                <a:round/>
              </a:ln>
            </p:spPr>
            <p:txBody>
              <a:bodyPr rtlCol="0" anchor="ctr"/>
              <a:lstStyle/>
              <a:p>
                <a:endParaRPr lang="en-US"/>
              </a:p>
            </p:txBody>
          </p:sp>
          <p:sp>
            <p:nvSpPr>
              <p:cNvPr id="37" name="Freeform 1905">
                <a:extLst>
                  <a:ext uri="{FF2B5EF4-FFF2-40B4-BE49-F238E27FC236}">
                    <a16:creationId xmlns:a16="http://schemas.microsoft.com/office/drawing/2014/main" id="{75E15846-9512-8BFF-4F9E-994A7A144E9A}"/>
                  </a:ext>
                </a:extLst>
              </p:cNvPr>
              <p:cNvSpPr/>
              <p:nvPr/>
            </p:nvSpPr>
            <p:spPr>
              <a:xfrm>
                <a:off x="7042373" y="4943556"/>
                <a:ext cx="77006" cy="6312"/>
              </a:xfrm>
              <a:custGeom>
                <a:avLst/>
                <a:gdLst>
                  <a:gd name="connsiteX0" fmla="*/ 0 w 77006"/>
                  <a:gd name="connsiteY0" fmla="*/ 0 h 6312"/>
                  <a:gd name="connsiteX1" fmla="*/ 77007 w 77006"/>
                  <a:gd name="connsiteY1" fmla="*/ 0 h 6312"/>
                </a:gdLst>
                <a:ahLst/>
                <a:cxnLst>
                  <a:cxn ang="0">
                    <a:pos x="connsiteX0" y="connsiteY0"/>
                  </a:cxn>
                  <a:cxn ang="0">
                    <a:pos x="connsiteX1" y="connsiteY1"/>
                  </a:cxn>
                </a:cxnLst>
                <a:rect l="l" t="t" r="r" b="b"/>
                <a:pathLst>
                  <a:path w="77006" h="6312">
                    <a:moveTo>
                      <a:pt x="0" y="0"/>
                    </a:moveTo>
                    <a:lnTo>
                      <a:pt x="77007" y="0"/>
                    </a:lnTo>
                  </a:path>
                </a:pathLst>
              </a:custGeom>
              <a:ln w="19050" cap="rnd">
                <a:solidFill>
                  <a:schemeClr val="tx2"/>
                </a:solidFill>
                <a:prstDash val="solid"/>
                <a:round/>
              </a:ln>
            </p:spPr>
            <p:txBody>
              <a:bodyPr rtlCol="0" anchor="ctr"/>
              <a:lstStyle/>
              <a:p>
                <a:endParaRPr lang="en-US"/>
              </a:p>
            </p:txBody>
          </p:sp>
          <p:sp>
            <p:nvSpPr>
              <p:cNvPr id="38" name="Freeform 1906">
                <a:extLst>
                  <a:ext uri="{FF2B5EF4-FFF2-40B4-BE49-F238E27FC236}">
                    <a16:creationId xmlns:a16="http://schemas.microsoft.com/office/drawing/2014/main" id="{CF7D60F7-8751-124F-2ABE-6D6F778B7F09}"/>
                  </a:ext>
                </a:extLst>
              </p:cNvPr>
              <p:cNvSpPr/>
              <p:nvPr/>
            </p:nvSpPr>
            <p:spPr>
              <a:xfrm>
                <a:off x="7042373" y="4978904"/>
                <a:ext cx="77006" cy="6312"/>
              </a:xfrm>
              <a:custGeom>
                <a:avLst/>
                <a:gdLst>
                  <a:gd name="connsiteX0" fmla="*/ 0 w 77006"/>
                  <a:gd name="connsiteY0" fmla="*/ 0 h 6312"/>
                  <a:gd name="connsiteX1" fmla="*/ 77007 w 77006"/>
                  <a:gd name="connsiteY1" fmla="*/ 0 h 6312"/>
                </a:gdLst>
                <a:ahLst/>
                <a:cxnLst>
                  <a:cxn ang="0">
                    <a:pos x="connsiteX0" y="connsiteY0"/>
                  </a:cxn>
                  <a:cxn ang="0">
                    <a:pos x="connsiteX1" y="connsiteY1"/>
                  </a:cxn>
                </a:cxnLst>
                <a:rect l="l" t="t" r="r" b="b"/>
                <a:pathLst>
                  <a:path w="77006" h="6312">
                    <a:moveTo>
                      <a:pt x="0" y="0"/>
                    </a:moveTo>
                    <a:lnTo>
                      <a:pt x="77007" y="0"/>
                    </a:lnTo>
                  </a:path>
                </a:pathLst>
              </a:custGeom>
              <a:ln w="19050" cap="rnd">
                <a:solidFill>
                  <a:schemeClr val="tx2"/>
                </a:solidFill>
                <a:prstDash val="solid"/>
                <a:round/>
              </a:ln>
            </p:spPr>
            <p:txBody>
              <a:bodyPr rtlCol="0" anchor="ctr"/>
              <a:lstStyle/>
              <a:p>
                <a:endParaRPr lang="en-US"/>
              </a:p>
            </p:txBody>
          </p:sp>
        </p:grpSp>
        <p:grpSp>
          <p:nvGrpSpPr>
            <p:cNvPr id="28" name="Graphic 4">
              <a:extLst>
                <a:ext uri="{FF2B5EF4-FFF2-40B4-BE49-F238E27FC236}">
                  <a16:creationId xmlns:a16="http://schemas.microsoft.com/office/drawing/2014/main" id="{A1F52189-E23A-FA71-0443-B3245E61D279}"/>
                </a:ext>
              </a:extLst>
            </p:cNvPr>
            <p:cNvGrpSpPr/>
            <p:nvPr/>
          </p:nvGrpSpPr>
          <p:grpSpPr>
            <a:xfrm>
              <a:off x="7202067" y="4836252"/>
              <a:ext cx="77637" cy="181155"/>
              <a:chOff x="7202067" y="4836252"/>
              <a:chExt cx="77637" cy="181155"/>
            </a:xfrm>
            <a:noFill/>
          </p:grpSpPr>
          <p:sp>
            <p:nvSpPr>
              <p:cNvPr id="29" name="Freeform 1897">
                <a:extLst>
                  <a:ext uri="{FF2B5EF4-FFF2-40B4-BE49-F238E27FC236}">
                    <a16:creationId xmlns:a16="http://schemas.microsoft.com/office/drawing/2014/main" id="{C2BB0CB2-0549-9FED-490A-E6F11EE62119}"/>
                  </a:ext>
                </a:extLst>
              </p:cNvPr>
              <p:cNvSpPr/>
              <p:nvPr/>
            </p:nvSpPr>
            <p:spPr>
              <a:xfrm>
                <a:off x="7217216" y="4870337"/>
                <a:ext cx="47340" cy="147070"/>
              </a:xfrm>
              <a:custGeom>
                <a:avLst/>
                <a:gdLst>
                  <a:gd name="connsiteX0" fmla="*/ 47340 w 47340"/>
                  <a:gd name="connsiteY0" fmla="*/ 147070 h 147070"/>
                  <a:gd name="connsiteX1" fmla="*/ 47340 w 47340"/>
                  <a:gd name="connsiteY1" fmla="*/ 22092 h 147070"/>
                  <a:gd name="connsiteX2" fmla="*/ 25248 w 47340"/>
                  <a:gd name="connsiteY2" fmla="*/ 0 h 147070"/>
                  <a:gd name="connsiteX3" fmla="*/ 22092 w 47340"/>
                  <a:gd name="connsiteY3" fmla="*/ 0 h 147070"/>
                  <a:gd name="connsiteX4" fmla="*/ 0 w 47340"/>
                  <a:gd name="connsiteY4" fmla="*/ 22092 h 147070"/>
                  <a:gd name="connsiteX5" fmla="*/ 0 w 47340"/>
                  <a:gd name="connsiteY5" fmla="*/ 147070 h 14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340" h="147070">
                    <a:moveTo>
                      <a:pt x="47340" y="147070"/>
                    </a:moveTo>
                    <a:lnTo>
                      <a:pt x="47340" y="22092"/>
                    </a:lnTo>
                    <a:cubicBezTo>
                      <a:pt x="47340" y="10099"/>
                      <a:pt x="37241" y="0"/>
                      <a:pt x="25248" y="0"/>
                    </a:cubicBezTo>
                    <a:lnTo>
                      <a:pt x="22092" y="0"/>
                    </a:lnTo>
                    <a:cubicBezTo>
                      <a:pt x="10099" y="0"/>
                      <a:pt x="0" y="10099"/>
                      <a:pt x="0" y="22092"/>
                    </a:cubicBezTo>
                    <a:lnTo>
                      <a:pt x="0" y="147070"/>
                    </a:lnTo>
                  </a:path>
                </a:pathLst>
              </a:custGeom>
              <a:noFill/>
              <a:ln w="19050" cap="rnd">
                <a:solidFill>
                  <a:schemeClr val="tx2"/>
                </a:solidFill>
                <a:prstDash val="solid"/>
                <a:round/>
              </a:ln>
            </p:spPr>
            <p:txBody>
              <a:bodyPr rtlCol="0" anchor="ctr"/>
              <a:lstStyle/>
              <a:p>
                <a:endParaRPr lang="en-US"/>
              </a:p>
            </p:txBody>
          </p:sp>
          <p:sp>
            <p:nvSpPr>
              <p:cNvPr id="30" name="Freeform 1898">
                <a:extLst>
                  <a:ext uri="{FF2B5EF4-FFF2-40B4-BE49-F238E27FC236}">
                    <a16:creationId xmlns:a16="http://schemas.microsoft.com/office/drawing/2014/main" id="{C41DDE69-BE72-09C6-D971-655118CD7A91}"/>
                  </a:ext>
                </a:extLst>
              </p:cNvPr>
              <p:cNvSpPr/>
              <p:nvPr/>
            </p:nvSpPr>
            <p:spPr>
              <a:xfrm>
                <a:off x="7241202" y="4836252"/>
                <a:ext cx="6312" cy="34084"/>
              </a:xfrm>
              <a:custGeom>
                <a:avLst/>
                <a:gdLst>
                  <a:gd name="connsiteX0" fmla="*/ 0 w 6312"/>
                  <a:gd name="connsiteY0" fmla="*/ 0 h 34084"/>
                  <a:gd name="connsiteX1" fmla="*/ 0 w 6312"/>
                  <a:gd name="connsiteY1" fmla="*/ 34085 h 34084"/>
                </a:gdLst>
                <a:ahLst/>
                <a:cxnLst>
                  <a:cxn ang="0">
                    <a:pos x="connsiteX0" y="connsiteY0"/>
                  </a:cxn>
                  <a:cxn ang="0">
                    <a:pos x="connsiteX1" y="connsiteY1"/>
                  </a:cxn>
                </a:cxnLst>
                <a:rect l="l" t="t" r="r" b="b"/>
                <a:pathLst>
                  <a:path w="6312" h="34084">
                    <a:moveTo>
                      <a:pt x="0" y="0"/>
                    </a:moveTo>
                    <a:lnTo>
                      <a:pt x="0" y="34085"/>
                    </a:lnTo>
                  </a:path>
                </a:pathLst>
              </a:custGeom>
              <a:ln w="19050" cap="rnd">
                <a:solidFill>
                  <a:schemeClr val="tx2"/>
                </a:solidFill>
                <a:prstDash val="solid"/>
                <a:round/>
              </a:ln>
            </p:spPr>
            <p:txBody>
              <a:bodyPr rtlCol="0" anchor="ctr"/>
              <a:lstStyle/>
              <a:p>
                <a:endParaRPr lang="en-US"/>
              </a:p>
            </p:txBody>
          </p:sp>
          <p:sp>
            <p:nvSpPr>
              <p:cNvPr id="31" name="Freeform 1899">
                <a:extLst>
                  <a:ext uri="{FF2B5EF4-FFF2-40B4-BE49-F238E27FC236}">
                    <a16:creationId xmlns:a16="http://schemas.microsoft.com/office/drawing/2014/main" id="{4773AC5D-39CE-5800-585D-DC2408FB8703}"/>
                  </a:ext>
                </a:extLst>
              </p:cNvPr>
              <p:cNvSpPr/>
              <p:nvPr/>
            </p:nvSpPr>
            <p:spPr>
              <a:xfrm>
                <a:off x="7202067" y="4908209"/>
                <a:ext cx="77637" cy="6312"/>
              </a:xfrm>
              <a:custGeom>
                <a:avLst/>
                <a:gdLst>
                  <a:gd name="connsiteX0" fmla="*/ 0 w 77637"/>
                  <a:gd name="connsiteY0" fmla="*/ 0 h 6312"/>
                  <a:gd name="connsiteX1" fmla="*/ 77638 w 77637"/>
                  <a:gd name="connsiteY1" fmla="*/ 0 h 6312"/>
                </a:gdLst>
                <a:ahLst/>
                <a:cxnLst>
                  <a:cxn ang="0">
                    <a:pos x="connsiteX0" y="connsiteY0"/>
                  </a:cxn>
                  <a:cxn ang="0">
                    <a:pos x="connsiteX1" y="connsiteY1"/>
                  </a:cxn>
                </a:cxnLst>
                <a:rect l="l" t="t" r="r" b="b"/>
                <a:pathLst>
                  <a:path w="77637" h="6312">
                    <a:moveTo>
                      <a:pt x="0" y="0"/>
                    </a:moveTo>
                    <a:lnTo>
                      <a:pt x="77638" y="0"/>
                    </a:lnTo>
                  </a:path>
                </a:pathLst>
              </a:custGeom>
              <a:ln w="19050" cap="rnd">
                <a:solidFill>
                  <a:schemeClr val="tx2"/>
                </a:solidFill>
                <a:prstDash val="solid"/>
                <a:round/>
              </a:ln>
            </p:spPr>
            <p:txBody>
              <a:bodyPr rtlCol="0" anchor="ctr"/>
              <a:lstStyle/>
              <a:p>
                <a:endParaRPr lang="en-US"/>
              </a:p>
            </p:txBody>
          </p:sp>
          <p:sp>
            <p:nvSpPr>
              <p:cNvPr id="32" name="Freeform 1900">
                <a:extLst>
                  <a:ext uri="{FF2B5EF4-FFF2-40B4-BE49-F238E27FC236}">
                    <a16:creationId xmlns:a16="http://schemas.microsoft.com/office/drawing/2014/main" id="{187D1894-2C3D-61B5-512B-60619046329D}"/>
                  </a:ext>
                </a:extLst>
              </p:cNvPr>
              <p:cNvSpPr/>
              <p:nvPr/>
            </p:nvSpPr>
            <p:spPr>
              <a:xfrm>
                <a:off x="7202067" y="4943556"/>
                <a:ext cx="77637" cy="6312"/>
              </a:xfrm>
              <a:custGeom>
                <a:avLst/>
                <a:gdLst>
                  <a:gd name="connsiteX0" fmla="*/ 0 w 77637"/>
                  <a:gd name="connsiteY0" fmla="*/ 0 h 6312"/>
                  <a:gd name="connsiteX1" fmla="*/ 77638 w 77637"/>
                  <a:gd name="connsiteY1" fmla="*/ 0 h 6312"/>
                </a:gdLst>
                <a:ahLst/>
                <a:cxnLst>
                  <a:cxn ang="0">
                    <a:pos x="connsiteX0" y="connsiteY0"/>
                  </a:cxn>
                  <a:cxn ang="0">
                    <a:pos x="connsiteX1" y="connsiteY1"/>
                  </a:cxn>
                </a:cxnLst>
                <a:rect l="l" t="t" r="r" b="b"/>
                <a:pathLst>
                  <a:path w="77637" h="6312">
                    <a:moveTo>
                      <a:pt x="0" y="0"/>
                    </a:moveTo>
                    <a:lnTo>
                      <a:pt x="77638" y="0"/>
                    </a:lnTo>
                  </a:path>
                </a:pathLst>
              </a:custGeom>
              <a:ln w="19050" cap="rnd">
                <a:solidFill>
                  <a:schemeClr val="tx2"/>
                </a:solidFill>
                <a:prstDash val="solid"/>
                <a:round/>
              </a:ln>
            </p:spPr>
            <p:txBody>
              <a:bodyPr rtlCol="0" anchor="ctr"/>
              <a:lstStyle/>
              <a:p>
                <a:endParaRPr lang="en-US"/>
              </a:p>
            </p:txBody>
          </p:sp>
          <p:sp>
            <p:nvSpPr>
              <p:cNvPr id="33" name="Freeform 1901">
                <a:extLst>
                  <a:ext uri="{FF2B5EF4-FFF2-40B4-BE49-F238E27FC236}">
                    <a16:creationId xmlns:a16="http://schemas.microsoft.com/office/drawing/2014/main" id="{77D678BB-8796-6414-B967-F0B2BD761B8B}"/>
                  </a:ext>
                </a:extLst>
              </p:cNvPr>
              <p:cNvSpPr/>
              <p:nvPr/>
            </p:nvSpPr>
            <p:spPr>
              <a:xfrm>
                <a:off x="7202067" y="4978904"/>
                <a:ext cx="77637" cy="6312"/>
              </a:xfrm>
              <a:custGeom>
                <a:avLst/>
                <a:gdLst>
                  <a:gd name="connsiteX0" fmla="*/ 0 w 77637"/>
                  <a:gd name="connsiteY0" fmla="*/ 0 h 6312"/>
                  <a:gd name="connsiteX1" fmla="*/ 77638 w 77637"/>
                  <a:gd name="connsiteY1" fmla="*/ 0 h 6312"/>
                </a:gdLst>
                <a:ahLst/>
                <a:cxnLst>
                  <a:cxn ang="0">
                    <a:pos x="connsiteX0" y="connsiteY0"/>
                  </a:cxn>
                  <a:cxn ang="0">
                    <a:pos x="connsiteX1" y="connsiteY1"/>
                  </a:cxn>
                </a:cxnLst>
                <a:rect l="l" t="t" r="r" b="b"/>
                <a:pathLst>
                  <a:path w="77637" h="6312">
                    <a:moveTo>
                      <a:pt x="0" y="0"/>
                    </a:moveTo>
                    <a:lnTo>
                      <a:pt x="77638" y="0"/>
                    </a:lnTo>
                  </a:path>
                </a:pathLst>
              </a:custGeom>
              <a:ln w="19050" cap="rnd">
                <a:solidFill>
                  <a:schemeClr val="tx2"/>
                </a:solidFill>
                <a:prstDash val="solid"/>
                <a:round/>
              </a:ln>
            </p:spPr>
            <p:txBody>
              <a:bodyPr rtlCol="0" anchor="ctr"/>
              <a:lstStyle/>
              <a:p>
                <a:endParaRPr lang="en-US"/>
              </a:p>
            </p:txBody>
          </p:sp>
        </p:grpSp>
      </p:grpSp>
      <p:grpSp>
        <p:nvGrpSpPr>
          <p:cNvPr id="102" name="Graphic 4">
            <a:extLst>
              <a:ext uri="{FF2B5EF4-FFF2-40B4-BE49-F238E27FC236}">
                <a16:creationId xmlns:a16="http://schemas.microsoft.com/office/drawing/2014/main" id="{6ADBEDAB-E2E9-19CD-7B5B-ECABC1C51DF6}"/>
              </a:ext>
            </a:extLst>
          </p:cNvPr>
          <p:cNvGrpSpPr/>
          <p:nvPr/>
        </p:nvGrpSpPr>
        <p:grpSpPr>
          <a:xfrm>
            <a:off x="4851666" y="3067008"/>
            <a:ext cx="482655" cy="480593"/>
            <a:chOff x="3499055" y="4047001"/>
            <a:chExt cx="482655" cy="480593"/>
          </a:xfrm>
          <a:solidFill>
            <a:schemeClr val="tx2"/>
          </a:solidFill>
        </p:grpSpPr>
        <p:grpSp>
          <p:nvGrpSpPr>
            <p:cNvPr id="103" name="Graphic 4">
              <a:extLst>
                <a:ext uri="{FF2B5EF4-FFF2-40B4-BE49-F238E27FC236}">
                  <a16:creationId xmlns:a16="http://schemas.microsoft.com/office/drawing/2014/main" id="{503E2DE3-7438-1344-B53C-F85831CF7787}"/>
                </a:ext>
              </a:extLst>
            </p:cNvPr>
            <p:cNvGrpSpPr/>
            <p:nvPr/>
          </p:nvGrpSpPr>
          <p:grpSpPr>
            <a:xfrm>
              <a:off x="3499055" y="4047001"/>
              <a:ext cx="403716" cy="444614"/>
              <a:chOff x="3499055" y="4047001"/>
              <a:chExt cx="403716" cy="444614"/>
            </a:xfrm>
            <a:grpFill/>
          </p:grpSpPr>
          <p:grpSp>
            <p:nvGrpSpPr>
              <p:cNvPr id="105" name="Graphic 4">
                <a:extLst>
                  <a:ext uri="{FF2B5EF4-FFF2-40B4-BE49-F238E27FC236}">
                    <a16:creationId xmlns:a16="http://schemas.microsoft.com/office/drawing/2014/main" id="{E0A12D34-1180-C91B-1CCE-C37B1D45851B}"/>
                  </a:ext>
                </a:extLst>
              </p:cNvPr>
              <p:cNvGrpSpPr/>
              <p:nvPr/>
            </p:nvGrpSpPr>
            <p:grpSpPr>
              <a:xfrm>
                <a:off x="3499055" y="4047001"/>
                <a:ext cx="403716" cy="444614"/>
                <a:chOff x="3499055" y="4047001"/>
                <a:chExt cx="403716" cy="444614"/>
              </a:xfrm>
              <a:grpFill/>
            </p:grpSpPr>
            <p:sp>
              <p:nvSpPr>
                <p:cNvPr id="110" name="Freeform 1493">
                  <a:extLst>
                    <a:ext uri="{FF2B5EF4-FFF2-40B4-BE49-F238E27FC236}">
                      <a16:creationId xmlns:a16="http://schemas.microsoft.com/office/drawing/2014/main" id="{3DAAE5D9-3626-A2F8-DF26-9ECBB7532DE4}"/>
                    </a:ext>
                  </a:extLst>
                </p:cNvPr>
                <p:cNvSpPr/>
                <p:nvPr/>
              </p:nvSpPr>
              <p:spPr>
                <a:xfrm>
                  <a:off x="3847225" y="4396304"/>
                  <a:ext cx="55545" cy="95311"/>
                </a:xfrm>
                <a:custGeom>
                  <a:avLst/>
                  <a:gdLst>
                    <a:gd name="connsiteX0" fmla="*/ 37872 w 55545"/>
                    <a:gd name="connsiteY0" fmla="*/ 95312 h 95311"/>
                    <a:gd name="connsiteX1" fmla="*/ 5050 w 55545"/>
                    <a:gd name="connsiteY1" fmla="*/ 95312 h 95311"/>
                    <a:gd name="connsiteX2" fmla="*/ 0 w 55545"/>
                    <a:gd name="connsiteY2" fmla="*/ 90262 h 95311"/>
                    <a:gd name="connsiteX3" fmla="*/ 5050 w 55545"/>
                    <a:gd name="connsiteY3" fmla="*/ 85212 h 95311"/>
                    <a:gd name="connsiteX4" fmla="*/ 37872 w 55545"/>
                    <a:gd name="connsiteY4" fmla="*/ 85212 h 95311"/>
                    <a:gd name="connsiteX5" fmla="*/ 45447 w 55545"/>
                    <a:gd name="connsiteY5" fmla="*/ 77638 h 95311"/>
                    <a:gd name="connsiteX6" fmla="*/ 45447 w 55545"/>
                    <a:gd name="connsiteY6" fmla="*/ 5050 h 95311"/>
                    <a:gd name="connsiteX7" fmla="*/ 50496 w 55545"/>
                    <a:gd name="connsiteY7" fmla="*/ 0 h 95311"/>
                    <a:gd name="connsiteX8" fmla="*/ 55546 w 55545"/>
                    <a:gd name="connsiteY8" fmla="*/ 5050 h 95311"/>
                    <a:gd name="connsiteX9" fmla="*/ 55546 w 55545"/>
                    <a:gd name="connsiteY9" fmla="*/ 77638 h 95311"/>
                    <a:gd name="connsiteX10" fmla="*/ 37872 w 55545"/>
                    <a:gd name="connsiteY10" fmla="*/ 95312 h 9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545" h="95311">
                      <a:moveTo>
                        <a:pt x="37872" y="95312"/>
                      </a:moveTo>
                      <a:lnTo>
                        <a:pt x="5050" y="95312"/>
                      </a:lnTo>
                      <a:cubicBezTo>
                        <a:pt x="1894" y="95312"/>
                        <a:pt x="0" y="92787"/>
                        <a:pt x="0" y="90262"/>
                      </a:cubicBezTo>
                      <a:cubicBezTo>
                        <a:pt x="0" y="87737"/>
                        <a:pt x="2525" y="85212"/>
                        <a:pt x="5050" y="85212"/>
                      </a:cubicBezTo>
                      <a:lnTo>
                        <a:pt x="37872" y="85212"/>
                      </a:lnTo>
                      <a:cubicBezTo>
                        <a:pt x="41659" y="85212"/>
                        <a:pt x="45447" y="82056"/>
                        <a:pt x="45447" y="77638"/>
                      </a:cubicBezTo>
                      <a:lnTo>
                        <a:pt x="45447" y="5050"/>
                      </a:lnTo>
                      <a:cubicBezTo>
                        <a:pt x="45447" y="1894"/>
                        <a:pt x="47971" y="0"/>
                        <a:pt x="50496" y="0"/>
                      </a:cubicBezTo>
                      <a:cubicBezTo>
                        <a:pt x="53652" y="0"/>
                        <a:pt x="55546" y="2525"/>
                        <a:pt x="55546" y="5050"/>
                      </a:cubicBezTo>
                      <a:lnTo>
                        <a:pt x="55546" y="77638"/>
                      </a:lnTo>
                      <a:cubicBezTo>
                        <a:pt x="55546" y="87737"/>
                        <a:pt x="47971" y="95312"/>
                        <a:pt x="37872" y="95312"/>
                      </a:cubicBezTo>
                      <a:close/>
                    </a:path>
                  </a:pathLst>
                </a:custGeom>
                <a:grpFill/>
                <a:ln w="3175" cap="flat">
                  <a:solidFill>
                    <a:schemeClr val="tx2"/>
                  </a:solidFill>
                  <a:prstDash val="solid"/>
                  <a:miter/>
                </a:ln>
              </p:spPr>
              <p:txBody>
                <a:bodyPr rtlCol="0" anchor="ctr"/>
                <a:lstStyle/>
                <a:p>
                  <a:endParaRPr lang="en-US"/>
                </a:p>
              </p:txBody>
            </p:sp>
            <p:sp>
              <p:nvSpPr>
                <p:cNvPr id="111" name="Freeform 1494">
                  <a:extLst>
                    <a:ext uri="{FF2B5EF4-FFF2-40B4-BE49-F238E27FC236}">
                      <a16:creationId xmlns:a16="http://schemas.microsoft.com/office/drawing/2014/main" id="{5A919E8C-FE9C-FBD9-84B8-41EC1776E219}"/>
                    </a:ext>
                  </a:extLst>
                </p:cNvPr>
                <p:cNvSpPr/>
                <p:nvPr/>
              </p:nvSpPr>
              <p:spPr>
                <a:xfrm>
                  <a:off x="3499432" y="4047249"/>
                  <a:ext cx="403338" cy="444366"/>
                </a:xfrm>
                <a:custGeom>
                  <a:avLst/>
                  <a:gdLst>
                    <a:gd name="connsiteX0" fmla="*/ 159695 w 403338"/>
                    <a:gd name="connsiteY0" fmla="*/ 444367 h 444366"/>
                    <a:gd name="connsiteX1" fmla="*/ 17674 w 403338"/>
                    <a:gd name="connsiteY1" fmla="*/ 444367 h 444366"/>
                    <a:gd name="connsiteX2" fmla="*/ 0 w 403338"/>
                    <a:gd name="connsiteY2" fmla="*/ 426693 h 444366"/>
                    <a:gd name="connsiteX3" fmla="*/ 0 w 403338"/>
                    <a:gd name="connsiteY3" fmla="*/ 108567 h 444366"/>
                    <a:gd name="connsiteX4" fmla="*/ 1262 w 403338"/>
                    <a:gd name="connsiteY4" fmla="*/ 104780 h 444366"/>
                    <a:gd name="connsiteX5" fmla="*/ 104780 w 403338"/>
                    <a:gd name="connsiteY5" fmla="*/ 1262 h 444366"/>
                    <a:gd name="connsiteX6" fmla="*/ 108567 w 403338"/>
                    <a:gd name="connsiteY6" fmla="*/ 0 h 444366"/>
                    <a:gd name="connsiteX7" fmla="*/ 385665 w 403338"/>
                    <a:gd name="connsiteY7" fmla="*/ 0 h 444366"/>
                    <a:gd name="connsiteX8" fmla="*/ 403339 w 403338"/>
                    <a:gd name="connsiteY8" fmla="*/ 17674 h 444366"/>
                    <a:gd name="connsiteX9" fmla="*/ 403339 w 403338"/>
                    <a:gd name="connsiteY9" fmla="*/ 147702 h 444366"/>
                    <a:gd name="connsiteX10" fmla="*/ 398289 w 403338"/>
                    <a:gd name="connsiteY10" fmla="*/ 152751 h 444366"/>
                    <a:gd name="connsiteX11" fmla="*/ 393240 w 403338"/>
                    <a:gd name="connsiteY11" fmla="*/ 147702 h 444366"/>
                    <a:gd name="connsiteX12" fmla="*/ 393240 w 403338"/>
                    <a:gd name="connsiteY12" fmla="*/ 17674 h 444366"/>
                    <a:gd name="connsiteX13" fmla="*/ 385665 w 403338"/>
                    <a:gd name="connsiteY13" fmla="*/ 10099 h 444366"/>
                    <a:gd name="connsiteX14" fmla="*/ 110460 w 403338"/>
                    <a:gd name="connsiteY14" fmla="*/ 10099 h 444366"/>
                    <a:gd name="connsiteX15" fmla="*/ 10099 w 403338"/>
                    <a:gd name="connsiteY15" fmla="*/ 110460 h 444366"/>
                    <a:gd name="connsiteX16" fmla="*/ 10099 w 403338"/>
                    <a:gd name="connsiteY16" fmla="*/ 426693 h 444366"/>
                    <a:gd name="connsiteX17" fmla="*/ 17674 w 403338"/>
                    <a:gd name="connsiteY17" fmla="*/ 434267 h 444366"/>
                    <a:gd name="connsiteX18" fmla="*/ 159695 w 403338"/>
                    <a:gd name="connsiteY18" fmla="*/ 434267 h 444366"/>
                    <a:gd name="connsiteX19" fmla="*/ 164744 w 403338"/>
                    <a:gd name="connsiteY19" fmla="*/ 439317 h 444366"/>
                    <a:gd name="connsiteX20" fmla="*/ 159695 w 403338"/>
                    <a:gd name="connsiteY20" fmla="*/ 444367 h 44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3338" h="444366">
                      <a:moveTo>
                        <a:pt x="159695" y="444367"/>
                      </a:moveTo>
                      <a:lnTo>
                        <a:pt x="17674" y="444367"/>
                      </a:lnTo>
                      <a:cubicBezTo>
                        <a:pt x="7575" y="444367"/>
                        <a:pt x="0" y="436161"/>
                        <a:pt x="0" y="426693"/>
                      </a:cubicBezTo>
                      <a:lnTo>
                        <a:pt x="0" y="108567"/>
                      </a:lnTo>
                      <a:cubicBezTo>
                        <a:pt x="0" y="107304"/>
                        <a:pt x="631" y="106042"/>
                        <a:pt x="1262" y="104780"/>
                      </a:cubicBezTo>
                      <a:lnTo>
                        <a:pt x="104780" y="1262"/>
                      </a:lnTo>
                      <a:cubicBezTo>
                        <a:pt x="106042" y="0"/>
                        <a:pt x="107304" y="0"/>
                        <a:pt x="108567" y="0"/>
                      </a:cubicBezTo>
                      <a:lnTo>
                        <a:pt x="385665" y="0"/>
                      </a:lnTo>
                      <a:cubicBezTo>
                        <a:pt x="395764" y="0"/>
                        <a:pt x="403339" y="8206"/>
                        <a:pt x="403339" y="17674"/>
                      </a:cubicBezTo>
                      <a:lnTo>
                        <a:pt x="403339" y="147702"/>
                      </a:lnTo>
                      <a:cubicBezTo>
                        <a:pt x="403339" y="150858"/>
                        <a:pt x="400814" y="152751"/>
                        <a:pt x="398289" y="152751"/>
                      </a:cubicBezTo>
                      <a:cubicBezTo>
                        <a:pt x="395133" y="152751"/>
                        <a:pt x="393240" y="150226"/>
                        <a:pt x="393240" y="147702"/>
                      </a:cubicBezTo>
                      <a:lnTo>
                        <a:pt x="393240" y="17674"/>
                      </a:lnTo>
                      <a:cubicBezTo>
                        <a:pt x="393240" y="13887"/>
                        <a:pt x="390084" y="10099"/>
                        <a:pt x="385665" y="10099"/>
                      </a:cubicBezTo>
                      <a:lnTo>
                        <a:pt x="110460" y="10099"/>
                      </a:lnTo>
                      <a:lnTo>
                        <a:pt x="10099" y="110460"/>
                      </a:lnTo>
                      <a:lnTo>
                        <a:pt x="10099" y="426693"/>
                      </a:lnTo>
                      <a:cubicBezTo>
                        <a:pt x="10099" y="430480"/>
                        <a:pt x="13255" y="434267"/>
                        <a:pt x="17674" y="434267"/>
                      </a:cubicBezTo>
                      <a:lnTo>
                        <a:pt x="159695" y="434267"/>
                      </a:lnTo>
                      <a:cubicBezTo>
                        <a:pt x="162851" y="434267"/>
                        <a:pt x="164744" y="436792"/>
                        <a:pt x="164744" y="439317"/>
                      </a:cubicBezTo>
                      <a:cubicBezTo>
                        <a:pt x="164744" y="441842"/>
                        <a:pt x="162851" y="444367"/>
                        <a:pt x="159695" y="444367"/>
                      </a:cubicBezTo>
                      <a:close/>
                    </a:path>
                  </a:pathLst>
                </a:custGeom>
                <a:grpFill/>
                <a:ln w="3175" cap="flat">
                  <a:solidFill>
                    <a:schemeClr val="tx2"/>
                  </a:solidFill>
                  <a:prstDash val="solid"/>
                  <a:miter/>
                </a:ln>
              </p:spPr>
              <p:txBody>
                <a:bodyPr rtlCol="0" anchor="ctr"/>
                <a:lstStyle/>
                <a:p>
                  <a:endParaRPr lang="en-US"/>
                </a:p>
              </p:txBody>
            </p:sp>
            <p:sp>
              <p:nvSpPr>
                <p:cNvPr id="112" name="Freeform 1495">
                  <a:extLst>
                    <a:ext uri="{FF2B5EF4-FFF2-40B4-BE49-F238E27FC236}">
                      <a16:creationId xmlns:a16="http://schemas.microsoft.com/office/drawing/2014/main" id="{72F68B42-6634-B058-DB9A-A0A418266AF8}"/>
                    </a:ext>
                  </a:extLst>
                </p:cNvPr>
                <p:cNvSpPr/>
                <p:nvPr/>
              </p:nvSpPr>
              <p:spPr>
                <a:xfrm>
                  <a:off x="3499055" y="4047001"/>
                  <a:ext cx="113993" cy="113864"/>
                </a:xfrm>
                <a:custGeom>
                  <a:avLst/>
                  <a:gdLst>
                    <a:gd name="connsiteX0" fmla="*/ 108944 w 113993"/>
                    <a:gd name="connsiteY0" fmla="*/ 113864 h 113864"/>
                    <a:gd name="connsiteX1" fmla="*/ 5427 w 113993"/>
                    <a:gd name="connsiteY1" fmla="*/ 113864 h 113864"/>
                    <a:gd name="connsiteX2" fmla="*/ 377 w 113993"/>
                    <a:gd name="connsiteY2" fmla="*/ 110708 h 113864"/>
                    <a:gd name="connsiteX3" fmla="*/ 1640 w 113993"/>
                    <a:gd name="connsiteY3" fmla="*/ 105027 h 113864"/>
                    <a:gd name="connsiteX4" fmla="*/ 105157 w 113993"/>
                    <a:gd name="connsiteY4" fmla="*/ 1510 h 113864"/>
                    <a:gd name="connsiteX5" fmla="*/ 110838 w 113993"/>
                    <a:gd name="connsiteY5" fmla="*/ 248 h 113864"/>
                    <a:gd name="connsiteX6" fmla="*/ 113994 w 113993"/>
                    <a:gd name="connsiteY6" fmla="*/ 5297 h 113864"/>
                    <a:gd name="connsiteX7" fmla="*/ 113994 w 113993"/>
                    <a:gd name="connsiteY7" fmla="*/ 108814 h 113864"/>
                    <a:gd name="connsiteX8" fmla="*/ 108944 w 113993"/>
                    <a:gd name="connsiteY8" fmla="*/ 113864 h 113864"/>
                    <a:gd name="connsiteX9" fmla="*/ 18051 w 113993"/>
                    <a:gd name="connsiteY9" fmla="*/ 103765 h 113864"/>
                    <a:gd name="connsiteX10" fmla="*/ 103264 w 113993"/>
                    <a:gd name="connsiteY10" fmla="*/ 103765 h 113864"/>
                    <a:gd name="connsiteX11" fmla="*/ 103264 w 113993"/>
                    <a:gd name="connsiteY11" fmla="*/ 18553 h 113864"/>
                    <a:gd name="connsiteX12" fmla="*/ 18051 w 113993"/>
                    <a:gd name="connsiteY12" fmla="*/ 103765 h 113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993" h="113864">
                      <a:moveTo>
                        <a:pt x="108944" y="113864"/>
                      </a:moveTo>
                      <a:lnTo>
                        <a:pt x="5427" y="113864"/>
                      </a:lnTo>
                      <a:cubicBezTo>
                        <a:pt x="3533" y="113864"/>
                        <a:pt x="1640" y="112602"/>
                        <a:pt x="377" y="110708"/>
                      </a:cubicBezTo>
                      <a:cubicBezTo>
                        <a:pt x="-254" y="108814"/>
                        <a:pt x="-254" y="106290"/>
                        <a:pt x="1640" y="105027"/>
                      </a:cubicBezTo>
                      <a:lnTo>
                        <a:pt x="105157" y="1510"/>
                      </a:lnTo>
                      <a:cubicBezTo>
                        <a:pt x="106420" y="248"/>
                        <a:pt x="108944" y="-383"/>
                        <a:pt x="110838" y="248"/>
                      </a:cubicBezTo>
                      <a:cubicBezTo>
                        <a:pt x="112732" y="879"/>
                        <a:pt x="113994" y="2773"/>
                        <a:pt x="113994" y="5297"/>
                      </a:cubicBezTo>
                      <a:lnTo>
                        <a:pt x="113994" y="108814"/>
                      </a:lnTo>
                      <a:cubicBezTo>
                        <a:pt x="113994" y="111339"/>
                        <a:pt x="111469" y="113864"/>
                        <a:pt x="108944" y="113864"/>
                      </a:cubicBezTo>
                      <a:close/>
                      <a:moveTo>
                        <a:pt x="18051" y="103765"/>
                      </a:moveTo>
                      <a:lnTo>
                        <a:pt x="103264" y="103765"/>
                      </a:lnTo>
                      <a:lnTo>
                        <a:pt x="103264" y="18553"/>
                      </a:lnTo>
                      <a:lnTo>
                        <a:pt x="18051" y="103765"/>
                      </a:lnTo>
                      <a:close/>
                    </a:path>
                  </a:pathLst>
                </a:custGeom>
                <a:grpFill/>
                <a:ln w="3175" cap="flat">
                  <a:solidFill>
                    <a:schemeClr val="tx2"/>
                  </a:solidFill>
                  <a:prstDash val="solid"/>
                  <a:miter/>
                </a:ln>
              </p:spPr>
              <p:txBody>
                <a:bodyPr rtlCol="0" anchor="ctr"/>
                <a:lstStyle/>
                <a:p>
                  <a:endParaRPr lang="en-US"/>
                </a:p>
              </p:txBody>
            </p:sp>
          </p:grpSp>
          <p:grpSp>
            <p:nvGrpSpPr>
              <p:cNvPr id="106" name="Graphic 4">
                <a:extLst>
                  <a:ext uri="{FF2B5EF4-FFF2-40B4-BE49-F238E27FC236}">
                    <a16:creationId xmlns:a16="http://schemas.microsoft.com/office/drawing/2014/main" id="{26C4F1F6-B9E8-8160-FBC6-B8647F199B49}"/>
                  </a:ext>
                </a:extLst>
              </p:cNvPr>
              <p:cNvGrpSpPr/>
              <p:nvPr/>
            </p:nvGrpSpPr>
            <p:grpSpPr>
              <a:xfrm>
                <a:off x="3596007" y="4131830"/>
                <a:ext cx="246169" cy="148332"/>
                <a:chOff x="3596007" y="4131830"/>
                <a:chExt cx="246169" cy="148332"/>
              </a:xfrm>
              <a:grpFill/>
            </p:grpSpPr>
            <p:sp>
              <p:nvSpPr>
                <p:cNvPr id="107" name="Freeform 1490">
                  <a:extLst>
                    <a:ext uri="{FF2B5EF4-FFF2-40B4-BE49-F238E27FC236}">
                      <a16:creationId xmlns:a16="http://schemas.microsoft.com/office/drawing/2014/main" id="{1E73FF2A-0E43-D720-29C1-838BEFA788B5}"/>
                    </a:ext>
                  </a:extLst>
                </p:cNvPr>
                <p:cNvSpPr/>
                <p:nvPr/>
              </p:nvSpPr>
              <p:spPr>
                <a:xfrm>
                  <a:off x="3670489" y="4131830"/>
                  <a:ext cx="96573" cy="10099"/>
                </a:xfrm>
                <a:custGeom>
                  <a:avLst/>
                  <a:gdLst>
                    <a:gd name="connsiteX0" fmla="*/ 91524 w 96573"/>
                    <a:gd name="connsiteY0" fmla="*/ 10099 h 10099"/>
                    <a:gd name="connsiteX1" fmla="*/ 5050 w 96573"/>
                    <a:gd name="connsiteY1" fmla="*/ 10099 h 10099"/>
                    <a:gd name="connsiteX2" fmla="*/ 0 w 96573"/>
                    <a:gd name="connsiteY2" fmla="*/ 5050 h 10099"/>
                    <a:gd name="connsiteX3" fmla="*/ 5050 w 96573"/>
                    <a:gd name="connsiteY3" fmla="*/ 0 h 10099"/>
                    <a:gd name="connsiteX4" fmla="*/ 91524 w 96573"/>
                    <a:gd name="connsiteY4" fmla="*/ 0 h 10099"/>
                    <a:gd name="connsiteX5" fmla="*/ 96574 w 96573"/>
                    <a:gd name="connsiteY5" fmla="*/ 5050 h 10099"/>
                    <a:gd name="connsiteX6" fmla="*/ 91524 w 96573"/>
                    <a:gd name="connsiteY6" fmla="*/ 10099 h 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573" h="10099">
                      <a:moveTo>
                        <a:pt x="91524" y="10099"/>
                      </a:moveTo>
                      <a:lnTo>
                        <a:pt x="5050" y="10099"/>
                      </a:lnTo>
                      <a:cubicBezTo>
                        <a:pt x="1894" y="10099"/>
                        <a:pt x="0" y="7575"/>
                        <a:pt x="0" y="5050"/>
                      </a:cubicBezTo>
                      <a:cubicBezTo>
                        <a:pt x="0" y="2525"/>
                        <a:pt x="2525" y="0"/>
                        <a:pt x="5050" y="0"/>
                      </a:cubicBezTo>
                      <a:lnTo>
                        <a:pt x="91524" y="0"/>
                      </a:lnTo>
                      <a:cubicBezTo>
                        <a:pt x="94680" y="0"/>
                        <a:pt x="96574" y="2525"/>
                        <a:pt x="96574" y="5050"/>
                      </a:cubicBezTo>
                      <a:cubicBezTo>
                        <a:pt x="96574" y="7575"/>
                        <a:pt x="94049" y="10099"/>
                        <a:pt x="91524" y="10099"/>
                      </a:cubicBezTo>
                      <a:close/>
                    </a:path>
                  </a:pathLst>
                </a:custGeom>
                <a:grpFill/>
                <a:ln w="3175" cap="flat">
                  <a:solidFill>
                    <a:schemeClr val="tx2"/>
                  </a:solidFill>
                  <a:prstDash val="solid"/>
                  <a:miter/>
                </a:ln>
              </p:spPr>
              <p:txBody>
                <a:bodyPr rtlCol="0" anchor="ctr"/>
                <a:lstStyle/>
                <a:p>
                  <a:endParaRPr lang="en-US"/>
                </a:p>
              </p:txBody>
            </p:sp>
            <p:sp>
              <p:nvSpPr>
                <p:cNvPr id="108" name="Freeform 1491">
                  <a:extLst>
                    <a:ext uri="{FF2B5EF4-FFF2-40B4-BE49-F238E27FC236}">
                      <a16:creationId xmlns:a16="http://schemas.microsoft.com/office/drawing/2014/main" id="{FA8F8B80-E311-0814-3638-03966DD9A0C5}"/>
                    </a:ext>
                  </a:extLst>
                </p:cNvPr>
                <p:cNvSpPr/>
                <p:nvPr/>
              </p:nvSpPr>
              <p:spPr>
                <a:xfrm>
                  <a:off x="3596007" y="4205681"/>
                  <a:ext cx="246169" cy="10099"/>
                </a:xfrm>
                <a:custGeom>
                  <a:avLst/>
                  <a:gdLst>
                    <a:gd name="connsiteX0" fmla="*/ 241119 w 246169"/>
                    <a:gd name="connsiteY0" fmla="*/ 10099 h 10099"/>
                    <a:gd name="connsiteX1" fmla="*/ 5050 w 246169"/>
                    <a:gd name="connsiteY1" fmla="*/ 10099 h 10099"/>
                    <a:gd name="connsiteX2" fmla="*/ 0 w 246169"/>
                    <a:gd name="connsiteY2" fmla="*/ 5050 h 10099"/>
                    <a:gd name="connsiteX3" fmla="*/ 5050 w 246169"/>
                    <a:gd name="connsiteY3" fmla="*/ 0 h 10099"/>
                    <a:gd name="connsiteX4" fmla="*/ 241119 w 246169"/>
                    <a:gd name="connsiteY4" fmla="*/ 0 h 10099"/>
                    <a:gd name="connsiteX5" fmla="*/ 246169 w 246169"/>
                    <a:gd name="connsiteY5" fmla="*/ 5050 h 10099"/>
                    <a:gd name="connsiteX6" fmla="*/ 241119 w 246169"/>
                    <a:gd name="connsiteY6" fmla="*/ 10099 h 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169" h="10099">
                      <a:moveTo>
                        <a:pt x="241119" y="10099"/>
                      </a:moveTo>
                      <a:lnTo>
                        <a:pt x="5050" y="10099"/>
                      </a:lnTo>
                      <a:cubicBezTo>
                        <a:pt x="1894" y="10099"/>
                        <a:pt x="0" y="7574"/>
                        <a:pt x="0" y="5050"/>
                      </a:cubicBezTo>
                      <a:cubicBezTo>
                        <a:pt x="0" y="2525"/>
                        <a:pt x="2525" y="0"/>
                        <a:pt x="5050" y="0"/>
                      </a:cubicBezTo>
                      <a:lnTo>
                        <a:pt x="241119" y="0"/>
                      </a:lnTo>
                      <a:cubicBezTo>
                        <a:pt x="244275" y="0"/>
                        <a:pt x="246169" y="2525"/>
                        <a:pt x="246169" y="5050"/>
                      </a:cubicBezTo>
                      <a:cubicBezTo>
                        <a:pt x="246169" y="7574"/>
                        <a:pt x="243644" y="10099"/>
                        <a:pt x="241119" y="10099"/>
                      </a:cubicBezTo>
                      <a:close/>
                    </a:path>
                  </a:pathLst>
                </a:custGeom>
                <a:grpFill/>
                <a:ln w="3175" cap="flat">
                  <a:solidFill>
                    <a:schemeClr val="tx2"/>
                  </a:solidFill>
                  <a:prstDash val="solid"/>
                  <a:miter/>
                </a:ln>
              </p:spPr>
              <p:txBody>
                <a:bodyPr rtlCol="0" anchor="ctr"/>
                <a:lstStyle/>
                <a:p>
                  <a:endParaRPr lang="en-US"/>
                </a:p>
              </p:txBody>
            </p:sp>
            <p:sp>
              <p:nvSpPr>
                <p:cNvPr id="109" name="Freeform 1492">
                  <a:extLst>
                    <a:ext uri="{FF2B5EF4-FFF2-40B4-BE49-F238E27FC236}">
                      <a16:creationId xmlns:a16="http://schemas.microsoft.com/office/drawing/2014/main" id="{67558570-7026-7668-35C5-A3AC7B7D0B78}"/>
                    </a:ext>
                  </a:extLst>
                </p:cNvPr>
                <p:cNvSpPr/>
                <p:nvPr/>
              </p:nvSpPr>
              <p:spPr>
                <a:xfrm>
                  <a:off x="3596007" y="4270063"/>
                  <a:ext cx="215239" cy="10099"/>
                </a:xfrm>
                <a:custGeom>
                  <a:avLst/>
                  <a:gdLst>
                    <a:gd name="connsiteX0" fmla="*/ 210190 w 215239"/>
                    <a:gd name="connsiteY0" fmla="*/ 10099 h 10099"/>
                    <a:gd name="connsiteX1" fmla="*/ 5050 w 215239"/>
                    <a:gd name="connsiteY1" fmla="*/ 10099 h 10099"/>
                    <a:gd name="connsiteX2" fmla="*/ 0 w 215239"/>
                    <a:gd name="connsiteY2" fmla="*/ 5050 h 10099"/>
                    <a:gd name="connsiteX3" fmla="*/ 5050 w 215239"/>
                    <a:gd name="connsiteY3" fmla="*/ 0 h 10099"/>
                    <a:gd name="connsiteX4" fmla="*/ 210190 w 215239"/>
                    <a:gd name="connsiteY4" fmla="*/ 0 h 10099"/>
                    <a:gd name="connsiteX5" fmla="*/ 215240 w 215239"/>
                    <a:gd name="connsiteY5" fmla="*/ 5050 h 10099"/>
                    <a:gd name="connsiteX6" fmla="*/ 210190 w 215239"/>
                    <a:gd name="connsiteY6" fmla="*/ 10099 h 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239" h="10099">
                      <a:moveTo>
                        <a:pt x="210190" y="10099"/>
                      </a:moveTo>
                      <a:lnTo>
                        <a:pt x="5050" y="10099"/>
                      </a:lnTo>
                      <a:cubicBezTo>
                        <a:pt x="1894" y="10099"/>
                        <a:pt x="0" y="7575"/>
                        <a:pt x="0" y="5050"/>
                      </a:cubicBezTo>
                      <a:cubicBezTo>
                        <a:pt x="0" y="1894"/>
                        <a:pt x="2525" y="0"/>
                        <a:pt x="5050" y="0"/>
                      </a:cubicBezTo>
                      <a:lnTo>
                        <a:pt x="210190" y="0"/>
                      </a:lnTo>
                      <a:cubicBezTo>
                        <a:pt x="213346" y="0"/>
                        <a:pt x="215240" y="2525"/>
                        <a:pt x="215240" y="5050"/>
                      </a:cubicBezTo>
                      <a:cubicBezTo>
                        <a:pt x="215240" y="7575"/>
                        <a:pt x="212715" y="10099"/>
                        <a:pt x="210190" y="10099"/>
                      </a:cubicBezTo>
                      <a:close/>
                    </a:path>
                  </a:pathLst>
                </a:custGeom>
                <a:grpFill/>
                <a:ln w="3175" cap="flat">
                  <a:solidFill>
                    <a:schemeClr val="tx2"/>
                  </a:solidFill>
                  <a:prstDash val="solid"/>
                  <a:miter/>
                </a:ln>
              </p:spPr>
              <p:txBody>
                <a:bodyPr rtlCol="0" anchor="ctr"/>
                <a:lstStyle/>
                <a:p>
                  <a:endParaRPr lang="en-US"/>
                </a:p>
              </p:txBody>
            </p:sp>
          </p:grpSp>
        </p:grpSp>
        <p:sp>
          <p:nvSpPr>
            <p:cNvPr id="104" name="Freeform 1487">
              <a:extLst>
                <a:ext uri="{FF2B5EF4-FFF2-40B4-BE49-F238E27FC236}">
                  <a16:creationId xmlns:a16="http://schemas.microsoft.com/office/drawing/2014/main" id="{DFAB7FBE-15CC-5238-7BF5-F15843B9B7A8}"/>
                </a:ext>
              </a:extLst>
            </p:cNvPr>
            <p:cNvSpPr/>
            <p:nvPr/>
          </p:nvSpPr>
          <p:spPr>
            <a:xfrm>
              <a:off x="3678024" y="4223849"/>
              <a:ext cx="303687" cy="303744"/>
            </a:xfrm>
            <a:custGeom>
              <a:avLst/>
              <a:gdLst>
                <a:gd name="connsiteX0" fmla="*/ 78940 w 303687"/>
                <a:gd name="connsiteY0" fmla="*/ 303745 h 303744"/>
                <a:gd name="connsiteX1" fmla="*/ 75784 w 303687"/>
                <a:gd name="connsiteY1" fmla="*/ 303745 h 303744"/>
                <a:gd name="connsiteX2" fmla="*/ 68209 w 303687"/>
                <a:gd name="connsiteY2" fmla="*/ 303114 h 303744"/>
                <a:gd name="connsiteX3" fmla="*/ 56216 w 303687"/>
                <a:gd name="connsiteY3" fmla="*/ 294908 h 303744"/>
                <a:gd name="connsiteX4" fmla="*/ 58741 w 303687"/>
                <a:gd name="connsiteY4" fmla="*/ 281021 h 303744"/>
                <a:gd name="connsiteX5" fmla="*/ 86514 w 303687"/>
                <a:gd name="connsiteY5" fmla="*/ 251355 h 303744"/>
                <a:gd name="connsiteX6" fmla="*/ 83989 w 303687"/>
                <a:gd name="connsiteY6" fmla="*/ 219795 h 303744"/>
                <a:gd name="connsiteX7" fmla="*/ 52429 w 303687"/>
                <a:gd name="connsiteY7" fmla="*/ 217270 h 303744"/>
                <a:gd name="connsiteX8" fmla="*/ 22763 w 303687"/>
                <a:gd name="connsiteY8" fmla="*/ 245043 h 303744"/>
                <a:gd name="connsiteX9" fmla="*/ 8876 w 303687"/>
                <a:gd name="connsiteY9" fmla="*/ 247568 h 303744"/>
                <a:gd name="connsiteX10" fmla="*/ 671 w 303687"/>
                <a:gd name="connsiteY10" fmla="*/ 235575 h 303744"/>
                <a:gd name="connsiteX11" fmla="*/ 40 w 303687"/>
                <a:gd name="connsiteY11" fmla="*/ 228001 h 303744"/>
                <a:gd name="connsiteX12" fmla="*/ 20238 w 303687"/>
                <a:gd name="connsiteY12" fmla="*/ 175610 h 303744"/>
                <a:gd name="connsiteX13" fmla="*/ 24025 w 303687"/>
                <a:gd name="connsiteY13" fmla="*/ 171823 h 303744"/>
                <a:gd name="connsiteX14" fmla="*/ 83358 w 303687"/>
                <a:gd name="connsiteY14" fmla="*/ 156674 h 303744"/>
                <a:gd name="connsiteX15" fmla="*/ 98507 w 303687"/>
                <a:gd name="connsiteY15" fmla="*/ 159830 h 303744"/>
                <a:gd name="connsiteX16" fmla="*/ 159734 w 303687"/>
                <a:gd name="connsiteY16" fmla="*/ 98604 h 303744"/>
                <a:gd name="connsiteX17" fmla="*/ 156578 w 303687"/>
                <a:gd name="connsiteY17" fmla="*/ 83455 h 303744"/>
                <a:gd name="connsiteX18" fmla="*/ 171726 w 303687"/>
                <a:gd name="connsiteY18" fmla="*/ 24122 h 303744"/>
                <a:gd name="connsiteX19" fmla="*/ 175514 w 303687"/>
                <a:gd name="connsiteY19" fmla="*/ 20335 h 303744"/>
                <a:gd name="connsiteX20" fmla="*/ 227904 w 303687"/>
                <a:gd name="connsiteY20" fmla="*/ 136 h 303744"/>
                <a:gd name="connsiteX21" fmla="*/ 235478 w 303687"/>
                <a:gd name="connsiteY21" fmla="*/ 768 h 303744"/>
                <a:gd name="connsiteX22" fmla="*/ 247471 w 303687"/>
                <a:gd name="connsiteY22" fmla="*/ 8973 h 303744"/>
                <a:gd name="connsiteX23" fmla="*/ 244946 w 303687"/>
                <a:gd name="connsiteY23" fmla="*/ 22860 h 303744"/>
                <a:gd name="connsiteX24" fmla="*/ 217173 w 303687"/>
                <a:gd name="connsiteY24" fmla="*/ 52526 h 303744"/>
                <a:gd name="connsiteX25" fmla="*/ 219698 w 303687"/>
                <a:gd name="connsiteY25" fmla="*/ 84086 h 303744"/>
                <a:gd name="connsiteX26" fmla="*/ 251258 w 303687"/>
                <a:gd name="connsiteY26" fmla="*/ 86611 h 303744"/>
                <a:gd name="connsiteX27" fmla="*/ 280925 w 303687"/>
                <a:gd name="connsiteY27" fmla="*/ 58838 h 303744"/>
                <a:gd name="connsiteX28" fmla="*/ 294811 w 303687"/>
                <a:gd name="connsiteY28" fmla="*/ 56313 h 303744"/>
                <a:gd name="connsiteX29" fmla="*/ 303017 w 303687"/>
                <a:gd name="connsiteY29" fmla="*/ 68306 h 303744"/>
                <a:gd name="connsiteX30" fmla="*/ 303648 w 303687"/>
                <a:gd name="connsiteY30" fmla="*/ 75881 h 303744"/>
                <a:gd name="connsiteX31" fmla="*/ 283449 w 303687"/>
                <a:gd name="connsiteY31" fmla="*/ 128270 h 303744"/>
                <a:gd name="connsiteX32" fmla="*/ 279662 w 303687"/>
                <a:gd name="connsiteY32" fmla="*/ 132058 h 303744"/>
                <a:gd name="connsiteX33" fmla="*/ 220329 w 303687"/>
                <a:gd name="connsiteY33" fmla="*/ 147206 h 303744"/>
                <a:gd name="connsiteX34" fmla="*/ 205180 w 303687"/>
                <a:gd name="connsiteY34" fmla="*/ 144050 h 303744"/>
                <a:gd name="connsiteX35" fmla="*/ 143954 w 303687"/>
                <a:gd name="connsiteY35" fmla="*/ 205277 h 303744"/>
                <a:gd name="connsiteX36" fmla="*/ 147110 w 303687"/>
                <a:gd name="connsiteY36" fmla="*/ 220426 h 303744"/>
                <a:gd name="connsiteX37" fmla="*/ 131961 w 303687"/>
                <a:gd name="connsiteY37" fmla="*/ 279759 h 303744"/>
                <a:gd name="connsiteX38" fmla="*/ 128174 w 303687"/>
                <a:gd name="connsiteY38" fmla="*/ 283546 h 303744"/>
                <a:gd name="connsiteX39" fmla="*/ 78940 w 303687"/>
                <a:gd name="connsiteY39" fmla="*/ 303745 h 303744"/>
                <a:gd name="connsiteX40" fmla="*/ 95351 w 303687"/>
                <a:gd name="connsiteY40" fmla="*/ 257667 h 303744"/>
                <a:gd name="connsiteX41" fmla="*/ 94720 w 303687"/>
                <a:gd name="connsiteY41" fmla="*/ 258298 h 303744"/>
                <a:gd name="connsiteX42" fmla="*/ 66947 w 303687"/>
                <a:gd name="connsiteY42" fmla="*/ 287965 h 303744"/>
                <a:gd name="connsiteX43" fmla="*/ 66316 w 303687"/>
                <a:gd name="connsiteY43" fmla="*/ 291121 h 303744"/>
                <a:gd name="connsiteX44" fmla="*/ 68840 w 303687"/>
                <a:gd name="connsiteY44" fmla="*/ 293014 h 303744"/>
                <a:gd name="connsiteX45" fmla="*/ 76415 w 303687"/>
                <a:gd name="connsiteY45" fmla="*/ 293645 h 303744"/>
                <a:gd name="connsiteX46" fmla="*/ 121230 w 303687"/>
                <a:gd name="connsiteY46" fmla="*/ 276603 h 303744"/>
                <a:gd name="connsiteX47" fmla="*/ 124386 w 303687"/>
                <a:gd name="connsiteY47" fmla="*/ 273447 h 303744"/>
                <a:gd name="connsiteX48" fmla="*/ 137642 w 303687"/>
                <a:gd name="connsiteY48" fmla="*/ 222951 h 303744"/>
                <a:gd name="connsiteX49" fmla="*/ 133854 w 303687"/>
                <a:gd name="connsiteY49" fmla="*/ 205277 h 303744"/>
                <a:gd name="connsiteX50" fmla="*/ 135117 w 303687"/>
                <a:gd name="connsiteY50" fmla="*/ 200859 h 303744"/>
                <a:gd name="connsiteX51" fmla="*/ 200130 w 303687"/>
                <a:gd name="connsiteY51" fmla="*/ 135845 h 303744"/>
                <a:gd name="connsiteX52" fmla="*/ 204549 w 303687"/>
                <a:gd name="connsiteY52" fmla="*/ 134582 h 303744"/>
                <a:gd name="connsiteX53" fmla="*/ 222223 w 303687"/>
                <a:gd name="connsiteY53" fmla="*/ 138370 h 303744"/>
                <a:gd name="connsiteX54" fmla="*/ 272719 w 303687"/>
                <a:gd name="connsiteY54" fmla="*/ 125114 h 303744"/>
                <a:gd name="connsiteX55" fmla="*/ 275875 w 303687"/>
                <a:gd name="connsiteY55" fmla="*/ 121958 h 303744"/>
                <a:gd name="connsiteX56" fmla="*/ 292917 w 303687"/>
                <a:gd name="connsiteY56" fmla="*/ 77143 h 303744"/>
                <a:gd name="connsiteX57" fmla="*/ 292286 w 303687"/>
                <a:gd name="connsiteY57" fmla="*/ 69569 h 303744"/>
                <a:gd name="connsiteX58" fmla="*/ 290393 w 303687"/>
                <a:gd name="connsiteY58" fmla="*/ 67044 h 303744"/>
                <a:gd name="connsiteX59" fmla="*/ 287237 w 303687"/>
                <a:gd name="connsiteY59" fmla="*/ 67675 h 303744"/>
                <a:gd name="connsiteX60" fmla="*/ 257570 w 303687"/>
                <a:gd name="connsiteY60" fmla="*/ 95448 h 303744"/>
                <a:gd name="connsiteX61" fmla="*/ 256939 w 303687"/>
                <a:gd name="connsiteY61" fmla="*/ 96079 h 303744"/>
                <a:gd name="connsiteX62" fmla="*/ 212123 w 303687"/>
                <a:gd name="connsiteY62" fmla="*/ 92292 h 303744"/>
                <a:gd name="connsiteX63" fmla="*/ 208336 w 303687"/>
                <a:gd name="connsiteY63" fmla="*/ 46845 h 303744"/>
                <a:gd name="connsiteX64" fmla="*/ 208967 w 303687"/>
                <a:gd name="connsiteY64" fmla="*/ 46214 h 303744"/>
                <a:gd name="connsiteX65" fmla="*/ 236741 w 303687"/>
                <a:gd name="connsiteY65" fmla="*/ 15916 h 303744"/>
                <a:gd name="connsiteX66" fmla="*/ 237372 w 303687"/>
                <a:gd name="connsiteY66" fmla="*/ 12760 h 303744"/>
                <a:gd name="connsiteX67" fmla="*/ 234847 w 303687"/>
                <a:gd name="connsiteY67" fmla="*/ 10867 h 303744"/>
                <a:gd name="connsiteX68" fmla="*/ 227272 w 303687"/>
                <a:gd name="connsiteY68" fmla="*/ 10236 h 303744"/>
                <a:gd name="connsiteX69" fmla="*/ 183088 w 303687"/>
                <a:gd name="connsiteY69" fmla="*/ 27278 h 303744"/>
                <a:gd name="connsiteX70" fmla="*/ 179932 w 303687"/>
                <a:gd name="connsiteY70" fmla="*/ 30434 h 303744"/>
                <a:gd name="connsiteX71" fmla="*/ 166677 w 303687"/>
                <a:gd name="connsiteY71" fmla="*/ 80930 h 303744"/>
                <a:gd name="connsiteX72" fmla="*/ 170464 w 303687"/>
                <a:gd name="connsiteY72" fmla="*/ 98604 h 303744"/>
                <a:gd name="connsiteX73" fmla="*/ 169202 w 303687"/>
                <a:gd name="connsiteY73" fmla="*/ 103654 h 303744"/>
                <a:gd name="connsiteX74" fmla="*/ 104819 w 303687"/>
                <a:gd name="connsiteY74" fmla="*/ 169298 h 303744"/>
                <a:gd name="connsiteX75" fmla="*/ 99769 w 303687"/>
                <a:gd name="connsiteY75" fmla="*/ 170561 h 303744"/>
                <a:gd name="connsiteX76" fmla="*/ 82096 w 303687"/>
                <a:gd name="connsiteY76" fmla="*/ 166774 h 303744"/>
                <a:gd name="connsiteX77" fmla="*/ 31600 w 303687"/>
                <a:gd name="connsiteY77" fmla="*/ 180029 h 303744"/>
                <a:gd name="connsiteX78" fmla="*/ 28444 w 303687"/>
                <a:gd name="connsiteY78" fmla="*/ 183185 h 303744"/>
                <a:gd name="connsiteX79" fmla="*/ 11401 w 303687"/>
                <a:gd name="connsiteY79" fmla="*/ 227369 h 303744"/>
                <a:gd name="connsiteX80" fmla="*/ 12032 w 303687"/>
                <a:gd name="connsiteY80" fmla="*/ 234944 h 303744"/>
                <a:gd name="connsiteX81" fmla="*/ 13926 w 303687"/>
                <a:gd name="connsiteY81" fmla="*/ 237469 h 303744"/>
                <a:gd name="connsiteX82" fmla="*/ 17082 w 303687"/>
                <a:gd name="connsiteY82" fmla="*/ 236837 h 303744"/>
                <a:gd name="connsiteX83" fmla="*/ 47380 w 303687"/>
                <a:gd name="connsiteY83" fmla="*/ 209065 h 303744"/>
                <a:gd name="connsiteX84" fmla="*/ 48011 w 303687"/>
                <a:gd name="connsiteY84" fmla="*/ 208433 h 303744"/>
                <a:gd name="connsiteX85" fmla="*/ 93457 w 303687"/>
                <a:gd name="connsiteY85" fmla="*/ 212221 h 303744"/>
                <a:gd name="connsiteX86" fmla="*/ 95351 w 303687"/>
                <a:gd name="connsiteY86" fmla="*/ 257667 h 303744"/>
                <a:gd name="connsiteX87" fmla="*/ 95351 w 303687"/>
                <a:gd name="connsiteY87" fmla="*/ 257667 h 30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03687" h="303744">
                  <a:moveTo>
                    <a:pt x="78940" y="303745"/>
                  </a:moveTo>
                  <a:cubicBezTo>
                    <a:pt x="77677" y="303745"/>
                    <a:pt x="77046" y="303745"/>
                    <a:pt x="75784" y="303745"/>
                  </a:cubicBezTo>
                  <a:lnTo>
                    <a:pt x="68209" y="303114"/>
                  </a:lnTo>
                  <a:cubicBezTo>
                    <a:pt x="63160" y="303114"/>
                    <a:pt x="58741" y="299957"/>
                    <a:pt x="56216" y="294908"/>
                  </a:cubicBezTo>
                  <a:cubicBezTo>
                    <a:pt x="54323" y="289858"/>
                    <a:pt x="54954" y="284809"/>
                    <a:pt x="58741" y="281021"/>
                  </a:cubicBezTo>
                  <a:lnTo>
                    <a:pt x="86514" y="251355"/>
                  </a:lnTo>
                  <a:cubicBezTo>
                    <a:pt x="93457" y="241887"/>
                    <a:pt x="92195" y="228632"/>
                    <a:pt x="83989" y="219795"/>
                  </a:cubicBezTo>
                  <a:cubicBezTo>
                    <a:pt x="75784" y="211589"/>
                    <a:pt x="62528" y="210327"/>
                    <a:pt x="52429" y="217270"/>
                  </a:cubicBezTo>
                  <a:lnTo>
                    <a:pt x="22763" y="245043"/>
                  </a:lnTo>
                  <a:cubicBezTo>
                    <a:pt x="18976" y="248830"/>
                    <a:pt x="13295" y="249461"/>
                    <a:pt x="8876" y="247568"/>
                  </a:cubicBezTo>
                  <a:cubicBezTo>
                    <a:pt x="3827" y="245674"/>
                    <a:pt x="671" y="241256"/>
                    <a:pt x="671" y="235575"/>
                  </a:cubicBezTo>
                  <a:lnTo>
                    <a:pt x="40" y="228001"/>
                  </a:lnTo>
                  <a:cubicBezTo>
                    <a:pt x="-592" y="208433"/>
                    <a:pt x="6352" y="189497"/>
                    <a:pt x="20238" y="175610"/>
                  </a:cubicBezTo>
                  <a:cubicBezTo>
                    <a:pt x="21500" y="174348"/>
                    <a:pt x="22763" y="173086"/>
                    <a:pt x="24025" y="171823"/>
                  </a:cubicBezTo>
                  <a:cubicBezTo>
                    <a:pt x="40436" y="157937"/>
                    <a:pt x="61897" y="152256"/>
                    <a:pt x="83358" y="156674"/>
                  </a:cubicBezTo>
                  <a:lnTo>
                    <a:pt x="98507" y="159830"/>
                  </a:lnTo>
                  <a:lnTo>
                    <a:pt x="159734" y="98604"/>
                  </a:lnTo>
                  <a:lnTo>
                    <a:pt x="156578" y="83455"/>
                  </a:lnTo>
                  <a:cubicBezTo>
                    <a:pt x="152159" y="61994"/>
                    <a:pt x="157840" y="40533"/>
                    <a:pt x="171726" y="24122"/>
                  </a:cubicBezTo>
                  <a:cubicBezTo>
                    <a:pt x="172989" y="22860"/>
                    <a:pt x="174251" y="21597"/>
                    <a:pt x="175514" y="20335"/>
                  </a:cubicBezTo>
                  <a:cubicBezTo>
                    <a:pt x="189400" y="6448"/>
                    <a:pt x="208336" y="-1126"/>
                    <a:pt x="227904" y="136"/>
                  </a:cubicBezTo>
                  <a:lnTo>
                    <a:pt x="235478" y="768"/>
                  </a:lnTo>
                  <a:cubicBezTo>
                    <a:pt x="240528" y="768"/>
                    <a:pt x="244946" y="3924"/>
                    <a:pt x="247471" y="8973"/>
                  </a:cubicBezTo>
                  <a:cubicBezTo>
                    <a:pt x="249365" y="14023"/>
                    <a:pt x="248733" y="19072"/>
                    <a:pt x="244946" y="22860"/>
                  </a:cubicBezTo>
                  <a:lnTo>
                    <a:pt x="217173" y="52526"/>
                  </a:lnTo>
                  <a:cubicBezTo>
                    <a:pt x="210230" y="61994"/>
                    <a:pt x="211492" y="75249"/>
                    <a:pt x="219698" y="84086"/>
                  </a:cubicBezTo>
                  <a:cubicBezTo>
                    <a:pt x="227904" y="92923"/>
                    <a:pt x="241159" y="93554"/>
                    <a:pt x="251258" y="86611"/>
                  </a:cubicBezTo>
                  <a:lnTo>
                    <a:pt x="280925" y="58838"/>
                  </a:lnTo>
                  <a:cubicBezTo>
                    <a:pt x="284712" y="55051"/>
                    <a:pt x="290393" y="54420"/>
                    <a:pt x="294811" y="56313"/>
                  </a:cubicBezTo>
                  <a:cubicBezTo>
                    <a:pt x="299861" y="58207"/>
                    <a:pt x="303017" y="62625"/>
                    <a:pt x="303017" y="68306"/>
                  </a:cubicBezTo>
                  <a:lnTo>
                    <a:pt x="303648" y="75881"/>
                  </a:lnTo>
                  <a:cubicBezTo>
                    <a:pt x="304279" y="95448"/>
                    <a:pt x="297336" y="114384"/>
                    <a:pt x="283449" y="128270"/>
                  </a:cubicBezTo>
                  <a:cubicBezTo>
                    <a:pt x="282187" y="129533"/>
                    <a:pt x="280925" y="130795"/>
                    <a:pt x="279662" y="132058"/>
                  </a:cubicBezTo>
                  <a:cubicBezTo>
                    <a:pt x="263251" y="145944"/>
                    <a:pt x="241790" y="151625"/>
                    <a:pt x="220329" y="147206"/>
                  </a:cubicBezTo>
                  <a:lnTo>
                    <a:pt x="205180" y="144050"/>
                  </a:lnTo>
                  <a:lnTo>
                    <a:pt x="143954" y="205277"/>
                  </a:lnTo>
                  <a:lnTo>
                    <a:pt x="147110" y="220426"/>
                  </a:lnTo>
                  <a:cubicBezTo>
                    <a:pt x="151528" y="241887"/>
                    <a:pt x="145847" y="263348"/>
                    <a:pt x="131961" y="279759"/>
                  </a:cubicBezTo>
                  <a:cubicBezTo>
                    <a:pt x="130698" y="281021"/>
                    <a:pt x="129436" y="282284"/>
                    <a:pt x="128174" y="283546"/>
                  </a:cubicBezTo>
                  <a:cubicBezTo>
                    <a:pt x="115550" y="296801"/>
                    <a:pt x="97245" y="303745"/>
                    <a:pt x="78940" y="303745"/>
                  </a:cubicBezTo>
                  <a:close/>
                  <a:moveTo>
                    <a:pt x="95351" y="257667"/>
                  </a:moveTo>
                  <a:cubicBezTo>
                    <a:pt x="95351" y="257667"/>
                    <a:pt x="94720" y="258298"/>
                    <a:pt x="94720" y="258298"/>
                  </a:cubicBezTo>
                  <a:lnTo>
                    <a:pt x="66947" y="287965"/>
                  </a:lnTo>
                  <a:cubicBezTo>
                    <a:pt x="65684" y="289227"/>
                    <a:pt x="66316" y="290489"/>
                    <a:pt x="66316" y="291121"/>
                  </a:cubicBezTo>
                  <a:cubicBezTo>
                    <a:pt x="66316" y="291752"/>
                    <a:pt x="66947" y="293014"/>
                    <a:pt x="68840" y="293014"/>
                  </a:cubicBezTo>
                  <a:lnTo>
                    <a:pt x="76415" y="293645"/>
                  </a:lnTo>
                  <a:cubicBezTo>
                    <a:pt x="92826" y="294277"/>
                    <a:pt x="109238" y="287965"/>
                    <a:pt x="121230" y="276603"/>
                  </a:cubicBezTo>
                  <a:cubicBezTo>
                    <a:pt x="122493" y="275341"/>
                    <a:pt x="123124" y="274078"/>
                    <a:pt x="124386" y="273447"/>
                  </a:cubicBezTo>
                  <a:cubicBezTo>
                    <a:pt x="136379" y="259561"/>
                    <a:pt x="140798" y="241256"/>
                    <a:pt x="137642" y="222951"/>
                  </a:cubicBezTo>
                  <a:lnTo>
                    <a:pt x="133854" y="205277"/>
                  </a:lnTo>
                  <a:cubicBezTo>
                    <a:pt x="133223" y="203384"/>
                    <a:pt x="133854" y="201490"/>
                    <a:pt x="135117" y="200859"/>
                  </a:cubicBezTo>
                  <a:lnTo>
                    <a:pt x="200130" y="135845"/>
                  </a:lnTo>
                  <a:cubicBezTo>
                    <a:pt x="201393" y="134582"/>
                    <a:pt x="203286" y="133951"/>
                    <a:pt x="204549" y="134582"/>
                  </a:cubicBezTo>
                  <a:lnTo>
                    <a:pt x="222223" y="138370"/>
                  </a:lnTo>
                  <a:cubicBezTo>
                    <a:pt x="240528" y="142157"/>
                    <a:pt x="258833" y="137107"/>
                    <a:pt x="272719" y="125114"/>
                  </a:cubicBezTo>
                  <a:cubicBezTo>
                    <a:pt x="273981" y="123852"/>
                    <a:pt x="275244" y="123221"/>
                    <a:pt x="275875" y="121958"/>
                  </a:cubicBezTo>
                  <a:cubicBezTo>
                    <a:pt x="287868" y="109966"/>
                    <a:pt x="294180" y="94186"/>
                    <a:pt x="292917" y="77143"/>
                  </a:cubicBezTo>
                  <a:lnTo>
                    <a:pt x="292286" y="69569"/>
                  </a:lnTo>
                  <a:cubicBezTo>
                    <a:pt x="292286" y="67675"/>
                    <a:pt x="291024" y="67044"/>
                    <a:pt x="290393" y="67044"/>
                  </a:cubicBezTo>
                  <a:cubicBezTo>
                    <a:pt x="289761" y="67044"/>
                    <a:pt x="288499" y="66412"/>
                    <a:pt x="287237" y="67675"/>
                  </a:cubicBezTo>
                  <a:lnTo>
                    <a:pt x="257570" y="95448"/>
                  </a:lnTo>
                  <a:cubicBezTo>
                    <a:pt x="257570" y="95448"/>
                    <a:pt x="256939" y="96079"/>
                    <a:pt x="256939" y="96079"/>
                  </a:cubicBezTo>
                  <a:cubicBezTo>
                    <a:pt x="243053" y="106178"/>
                    <a:pt x="224116" y="104916"/>
                    <a:pt x="212123" y="92292"/>
                  </a:cubicBezTo>
                  <a:cubicBezTo>
                    <a:pt x="200130" y="80299"/>
                    <a:pt x="198237" y="61363"/>
                    <a:pt x="208336" y="46845"/>
                  </a:cubicBezTo>
                  <a:cubicBezTo>
                    <a:pt x="208336" y="46845"/>
                    <a:pt x="208336" y="46214"/>
                    <a:pt x="208967" y="46214"/>
                  </a:cubicBezTo>
                  <a:lnTo>
                    <a:pt x="236741" y="15916"/>
                  </a:lnTo>
                  <a:cubicBezTo>
                    <a:pt x="238003" y="14654"/>
                    <a:pt x="237372" y="13392"/>
                    <a:pt x="237372" y="12760"/>
                  </a:cubicBezTo>
                  <a:cubicBezTo>
                    <a:pt x="237372" y="12129"/>
                    <a:pt x="236741" y="10867"/>
                    <a:pt x="234847" y="10867"/>
                  </a:cubicBezTo>
                  <a:lnTo>
                    <a:pt x="227272" y="10236"/>
                  </a:lnTo>
                  <a:cubicBezTo>
                    <a:pt x="210861" y="9604"/>
                    <a:pt x="194450" y="15916"/>
                    <a:pt x="183088" y="27278"/>
                  </a:cubicBezTo>
                  <a:cubicBezTo>
                    <a:pt x="181826" y="28540"/>
                    <a:pt x="181194" y="29803"/>
                    <a:pt x="179932" y="30434"/>
                  </a:cubicBezTo>
                  <a:cubicBezTo>
                    <a:pt x="167939" y="44320"/>
                    <a:pt x="163521" y="62625"/>
                    <a:pt x="166677" y="80930"/>
                  </a:cubicBezTo>
                  <a:lnTo>
                    <a:pt x="170464" y="98604"/>
                  </a:lnTo>
                  <a:cubicBezTo>
                    <a:pt x="171095" y="100498"/>
                    <a:pt x="170464" y="102391"/>
                    <a:pt x="169202" y="103654"/>
                  </a:cubicBezTo>
                  <a:lnTo>
                    <a:pt x="104819" y="169298"/>
                  </a:lnTo>
                  <a:cubicBezTo>
                    <a:pt x="103557" y="170561"/>
                    <a:pt x="101663" y="171192"/>
                    <a:pt x="99769" y="170561"/>
                  </a:cubicBezTo>
                  <a:lnTo>
                    <a:pt x="82096" y="166774"/>
                  </a:lnTo>
                  <a:cubicBezTo>
                    <a:pt x="63791" y="162986"/>
                    <a:pt x="45486" y="168036"/>
                    <a:pt x="31600" y="180029"/>
                  </a:cubicBezTo>
                  <a:cubicBezTo>
                    <a:pt x="30337" y="181291"/>
                    <a:pt x="29075" y="181923"/>
                    <a:pt x="28444" y="183185"/>
                  </a:cubicBezTo>
                  <a:cubicBezTo>
                    <a:pt x="16451" y="195178"/>
                    <a:pt x="10139" y="210958"/>
                    <a:pt x="11401" y="227369"/>
                  </a:cubicBezTo>
                  <a:lnTo>
                    <a:pt x="12032" y="234944"/>
                  </a:lnTo>
                  <a:cubicBezTo>
                    <a:pt x="12032" y="236837"/>
                    <a:pt x="13295" y="237469"/>
                    <a:pt x="13926" y="237469"/>
                  </a:cubicBezTo>
                  <a:cubicBezTo>
                    <a:pt x="14557" y="237469"/>
                    <a:pt x="15820" y="238100"/>
                    <a:pt x="17082" y="236837"/>
                  </a:cubicBezTo>
                  <a:lnTo>
                    <a:pt x="47380" y="209065"/>
                  </a:lnTo>
                  <a:cubicBezTo>
                    <a:pt x="47380" y="209065"/>
                    <a:pt x="47380" y="209065"/>
                    <a:pt x="48011" y="208433"/>
                  </a:cubicBezTo>
                  <a:cubicBezTo>
                    <a:pt x="61897" y="198334"/>
                    <a:pt x="80833" y="199596"/>
                    <a:pt x="93457" y="212221"/>
                  </a:cubicBezTo>
                  <a:cubicBezTo>
                    <a:pt x="104188" y="224845"/>
                    <a:pt x="105450" y="243781"/>
                    <a:pt x="95351" y="257667"/>
                  </a:cubicBezTo>
                  <a:cubicBezTo>
                    <a:pt x="95351" y="257667"/>
                    <a:pt x="95351" y="257667"/>
                    <a:pt x="95351" y="257667"/>
                  </a:cubicBezTo>
                  <a:close/>
                </a:path>
              </a:pathLst>
            </a:custGeom>
            <a:grpFill/>
            <a:ln w="3175" cap="flat">
              <a:solidFill>
                <a:schemeClr val="tx2"/>
              </a:solidFill>
              <a:prstDash val="solid"/>
              <a:miter/>
            </a:ln>
          </p:spPr>
          <p:txBody>
            <a:bodyPr rtlCol="0" anchor="ctr"/>
            <a:lstStyle/>
            <a:p>
              <a:endParaRPr lang="en-US"/>
            </a:p>
          </p:txBody>
        </p:sp>
      </p:grpSp>
      <p:grpSp>
        <p:nvGrpSpPr>
          <p:cNvPr id="113" name="Graphic 4">
            <a:extLst>
              <a:ext uri="{FF2B5EF4-FFF2-40B4-BE49-F238E27FC236}">
                <a16:creationId xmlns:a16="http://schemas.microsoft.com/office/drawing/2014/main" id="{F0741BDB-EDB1-343F-0E54-15D938A344BF}"/>
              </a:ext>
            </a:extLst>
          </p:cNvPr>
          <p:cNvGrpSpPr/>
          <p:nvPr/>
        </p:nvGrpSpPr>
        <p:grpSpPr>
          <a:xfrm>
            <a:off x="4776063" y="3995248"/>
            <a:ext cx="626784" cy="412175"/>
            <a:chOff x="926651" y="4069972"/>
            <a:chExt cx="626784" cy="412175"/>
          </a:xfrm>
          <a:solidFill>
            <a:schemeClr val="tx2"/>
          </a:solidFill>
        </p:grpSpPr>
        <p:grpSp>
          <p:nvGrpSpPr>
            <p:cNvPr id="114" name="Graphic 4">
              <a:extLst>
                <a:ext uri="{FF2B5EF4-FFF2-40B4-BE49-F238E27FC236}">
                  <a16:creationId xmlns:a16="http://schemas.microsoft.com/office/drawing/2014/main" id="{2A2C15D6-5CCB-FC88-D90B-C6C6BEFAE863}"/>
                </a:ext>
              </a:extLst>
            </p:cNvPr>
            <p:cNvGrpSpPr/>
            <p:nvPr/>
          </p:nvGrpSpPr>
          <p:grpSpPr>
            <a:xfrm>
              <a:off x="926651" y="4155184"/>
              <a:ext cx="309920" cy="326962"/>
              <a:chOff x="926651" y="4155184"/>
              <a:chExt cx="309920" cy="326962"/>
            </a:xfrm>
            <a:grpFill/>
          </p:grpSpPr>
          <p:grpSp>
            <p:nvGrpSpPr>
              <p:cNvPr id="120" name="Graphic 4">
                <a:extLst>
                  <a:ext uri="{FF2B5EF4-FFF2-40B4-BE49-F238E27FC236}">
                    <a16:creationId xmlns:a16="http://schemas.microsoft.com/office/drawing/2014/main" id="{B45BDCFE-2448-BECD-E415-694458FD6EAB}"/>
                  </a:ext>
                </a:extLst>
              </p:cNvPr>
              <p:cNvGrpSpPr/>
              <p:nvPr/>
            </p:nvGrpSpPr>
            <p:grpSpPr>
              <a:xfrm>
                <a:off x="926651" y="4155184"/>
                <a:ext cx="309920" cy="326962"/>
                <a:chOff x="926651" y="4155184"/>
                <a:chExt cx="309920" cy="326962"/>
              </a:xfrm>
              <a:grpFill/>
            </p:grpSpPr>
            <p:sp>
              <p:nvSpPr>
                <p:cNvPr id="124" name="Freeform 61">
                  <a:extLst>
                    <a:ext uri="{FF2B5EF4-FFF2-40B4-BE49-F238E27FC236}">
                      <a16:creationId xmlns:a16="http://schemas.microsoft.com/office/drawing/2014/main" id="{0F8560D3-D473-C2AA-83BD-40A5BD397EFB}"/>
                    </a:ext>
                  </a:extLst>
                </p:cNvPr>
                <p:cNvSpPr/>
                <p:nvPr/>
              </p:nvSpPr>
              <p:spPr>
                <a:xfrm>
                  <a:off x="926651" y="4310460"/>
                  <a:ext cx="309920" cy="171687"/>
                </a:xfrm>
                <a:custGeom>
                  <a:avLst/>
                  <a:gdLst>
                    <a:gd name="connsiteX0" fmla="*/ 302977 w 309920"/>
                    <a:gd name="connsiteY0" fmla="*/ 171687 h 171687"/>
                    <a:gd name="connsiteX1" fmla="*/ 296034 w 309920"/>
                    <a:gd name="connsiteY1" fmla="*/ 164744 h 171687"/>
                    <a:gd name="connsiteX2" fmla="*/ 296034 w 309920"/>
                    <a:gd name="connsiteY2" fmla="*/ 72588 h 171687"/>
                    <a:gd name="connsiteX3" fmla="*/ 237332 w 309920"/>
                    <a:gd name="connsiteY3" fmla="*/ 13887 h 171687"/>
                    <a:gd name="connsiteX4" fmla="*/ 72588 w 309920"/>
                    <a:gd name="connsiteY4" fmla="*/ 13887 h 171687"/>
                    <a:gd name="connsiteX5" fmla="*/ 13886 w 309920"/>
                    <a:gd name="connsiteY5" fmla="*/ 72588 h 171687"/>
                    <a:gd name="connsiteX6" fmla="*/ 13886 w 309920"/>
                    <a:gd name="connsiteY6" fmla="*/ 164744 h 171687"/>
                    <a:gd name="connsiteX7" fmla="*/ 6943 w 309920"/>
                    <a:gd name="connsiteY7" fmla="*/ 171687 h 171687"/>
                    <a:gd name="connsiteX8" fmla="*/ 0 w 309920"/>
                    <a:gd name="connsiteY8" fmla="*/ 164744 h 171687"/>
                    <a:gd name="connsiteX9" fmla="*/ 0 w 309920"/>
                    <a:gd name="connsiteY9" fmla="*/ 72588 h 171687"/>
                    <a:gd name="connsiteX10" fmla="*/ 72588 w 309920"/>
                    <a:gd name="connsiteY10" fmla="*/ 0 h 171687"/>
                    <a:gd name="connsiteX11" fmla="*/ 237332 w 309920"/>
                    <a:gd name="connsiteY11" fmla="*/ 0 h 171687"/>
                    <a:gd name="connsiteX12" fmla="*/ 309921 w 309920"/>
                    <a:gd name="connsiteY12" fmla="*/ 72588 h 171687"/>
                    <a:gd name="connsiteX13" fmla="*/ 309921 w 309920"/>
                    <a:gd name="connsiteY13" fmla="*/ 164744 h 171687"/>
                    <a:gd name="connsiteX14" fmla="*/ 302977 w 309920"/>
                    <a:gd name="connsiteY14" fmla="*/ 171687 h 171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9920" h="171687">
                      <a:moveTo>
                        <a:pt x="302977" y="171687"/>
                      </a:moveTo>
                      <a:cubicBezTo>
                        <a:pt x="299190" y="171687"/>
                        <a:pt x="296034" y="168531"/>
                        <a:pt x="296034" y="164744"/>
                      </a:cubicBezTo>
                      <a:lnTo>
                        <a:pt x="296034" y="72588"/>
                      </a:lnTo>
                      <a:cubicBezTo>
                        <a:pt x="296034" y="40397"/>
                        <a:pt x="269524" y="13887"/>
                        <a:pt x="237332" y="13887"/>
                      </a:cubicBezTo>
                      <a:lnTo>
                        <a:pt x="72588" y="13887"/>
                      </a:lnTo>
                      <a:cubicBezTo>
                        <a:pt x="40397" y="13887"/>
                        <a:pt x="13886" y="40397"/>
                        <a:pt x="13886" y="72588"/>
                      </a:cubicBezTo>
                      <a:lnTo>
                        <a:pt x="13886" y="164744"/>
                      </a:lnTo>
                      <a:cubicBezTo>
                        <a:pt x="13886" y="168531"/>
                        <a:pt x="10730" y="171687"/>
                        <a:pt x="6943" y="171687"/>
                      </a:cubicBezTo>
                      <a:cubicBezTo>
                        <a:pt x="3156" y="171687"/>
                        <a:pt x="0" y="168531"/>
                        <a:pt x="0" y="164744"/>
                      </a:cubicBezTo>
                      <a:lnTo>
                        <a:pt x="0" y="72588"/>
                      </a:lnTo>
                      <a:cubicBezTo>
                        <a:pt x="0" y="32823"/>
                        <a:pt x="32823" y="0"/>
                        <a:pt x="72588" y="0"/>
                      </a:cubicBezTo>
                      <a:lnTo>
                        <a:pt x="237332" y="0"/>
                      </a:lnTo>
                      <a:cubicBezTo>
                        <a:pt x="277098" y="0"/>
                        <a:pt x="309921" y="32823"/>
                        <a:pt x="309921" y="72588"/>
                      </a:cubicBezTo>
                      <a:lnTo>
                        <a:pt x="309921" y="164744"/>
                      </a:lnTo>
                      <a:cubicBezTo>
                        <a:pt x="309921" y="168531"/>
                        <a:pt x="306765" y="171687"/>
                        <a:pt x="302977" y="171687"/>
                      </a:cubicBezTo>
                      <a:close/>
                    </a:path>
                  </a:pathLst>
                </a:custGeom>
                <a:grpFill/>
                <a:ln w="0" cap="flat">
                  <a:solidFill>
                    <a:schemeClr val="tx2"/>
                  </a:solidFill>
                  <a:prstDash val="solid"/>
                  <a:miter/>
                </a:ln>
              </p:spPr>
              <p:txBody>
                <a:bodyPr rtlCol="0" anchor="ctr"/>
                <a:lstStyle/>
                <a:p>
                  <a:endParaRPr lang="en-US"/>
                </a:p>
              </p:txBody>
            </p:sp>
            <p:sp>
              <p:nvSpPr>
                <p:cNvPr id="125" name="Freeform 62">
                  <a:extLst>
                    <a:ext uri="{FF2B5EF4-FFF2-40B4-BE49-F238E27FC236}">
                      <a16:creationId xmlns:a16="http://schemas.microsoft.com/office/drawing/2014/main" id="{7DF9CC29-EE97-C55F-BA31-EC84FC313DF3}"/>
                    </a:ext>
                  </a:extLst>
                </p:cNvPr>
                <p:cNvSpPr/>
                <p:nvPr/>
              </p:nvSpPr>
              <p:spPr>
                <a:xfrm>
                  <a:off x="1019437" y="4155184"/>
                  <a:ext cx="124978" cy="124978"/>
                </a:xfrm>
                <a:custGeom>
                  <a:avLst/>
                  <a:gdLst>
                    <a:gd name="connsiteX0" fmla="*/ 62489 w 124978"/>
                    <a:gd name="connsiteY0" fmla="*/ 124978 h 124978"/>
                    <a:gd name="connsiteX1" fmla="*/ 0 w 124978"/>
                    <a:gd name="connsiteY1" fmla="*/ 62489 h 124978"/>
                    <a:gd name="connsiteX2" fmla="*/ 62489 w 124978"/>
                    <a:gd name="connsiteY2" fmla="*/ 0 h 124978"/>
                    <a:gd name="connsiteX3" fmla="*/ 124978 w 124978"/>
                    <a:gd name="connsiteY3" fmla="*/ 62489 h 124978"/>
                    <a:gd name="connsiteX4" fmla="*/ 62489 w 124978"/>
                    <a:gd name="connsiteY4" fmla="*/ 124978 h 124978"/>
                    <a:gd name="connsiteX5" fmla="*/ 62489 w 124978"/>
                    <a:gd name="connsiteY5" fmla="*/ 13886 h 124978"/>
                    <a:gd name="connsiteX6" fmla="*/ 14518 w 124978"/>
                    <a:gd name="connsiteY6" fmla="*/ 61858 h 124978"/>
                    <a:gd name="connsiteX7" fmla="*/ 62489 w 124978"/>
                    <a:gd name="connsiteY7" fmla="*/ 109829 h 124978"/>
                    <a:gd name="connsiteX8" fmla="*/ 110460 w 124978"/>
                    <a:gd name="connsiteY8" fmla="*/ 61858 h 124978"/>
                    <a:gd name="connsiteX9" fmla="*/ 62489 w 124978"/>
                    <a:gd name="connsiteY9" fmla="*/ 13886 h 124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978" h="124978">
                      <a:moveTo>
                        <a:pt x="62489" y="124978"/>
                      </a:moveTo>
                      <a:cubicBezTo>
                        <a:pt x="27773" y="124978"/>
                        <a:pt x="0" y="97205"/>
                        <a:pt x="0" y="62489"/>
                      </a:cubicBezTo>
                      <a:cubicBezTo>
                        <a:pt x="0" y="27773"/>
                        <a:pt x="27773" y="0"/>
                        <a:pt x="62489" y="0"/>
                      </a:cubicBezTo>
                      <a:cubicBezTo>
                        <a:pt x="97205" y="0"/>
                        <a:pt x="124978" y="27773"/>
                        <a:pt x="124978" y="62489"/>
                      </a:cubicBezTo>
                      <a:cubicBezTo>
                        <a:pt x="124978" y="96574"/>
                        <a:pt x="96574" y="124978"/>
                        <a:pt x="62489" y="124978"/>
                      </a:cubicBezTo>
                      <a:close/>
                      <a:moveTo>
                        <a:pt x="62489" y="13886"/>
                      </a:moveTo>
                      <a:cubicBezTo>
                        <a:pt x="35979" y="13886"/>
                        <a:pt x="14518" y="35347"/>
                        <a:pt x="14518" y="61858"/>
                      </a:cubicBezTo>
                      <a:cubicBezTo>
                        <a:pt x="14518" y="88368"/>
                        <a:pt x="35979" y="109829"/>
                        <a:pt x="62489" y="109829"/>
                      </a:cubicBezTo>
                      <a:cubicBezTo>
                        <a:pt x="89000" y="109829"/>
                        <a:pt x="110460" y="88368"/>
                        <a:pt x="110460" y="61858"/>
                      </a:cubicBezTo>
                      <a:cubicBezTo>
                        <a:pt x="110460" y="35978"/>
                        <a:pt x="89000" y="13886"/>
                        <a:pt x="62489" y="13886"/>
                      </a:cubicBezTo>
                      <a:close/>
                    </a:path>
                  </a:pathLst>
                </a:custGeom>
                <a:grpFill/>
                <a:ln w="0" cap="flat">
                  <a:solidFill>
                    <a:schemeClr val="tx2"/>
                  </a:solidFill>
                  <a:prstDash val="solid"/>
                  <a:miter/>
                </a:ln>
              </p:spPr>
              <p:txBody>
                <a:bodyPr rtlCol="0" anchor="ctr"/>
                <a:lstStyle/>
                <a:p>
                  <a:endParaRPr lang="en-US"/>
                </a:p>
              </p:txBody>
            </p:sp>
          </p:grpSp>
          <p:grpSp>
            <p:nvGrpSpPr>
              <p:cNvPr id="121" name="Graphic 4">
                <a:extLst>
                  <a:ext uri="{FF2B5EF4-FFF2-40B4-BE49-F238E27FC236}">
                    <a16:creationId xmlns:a16="http://schemas.microsoft.com/office/drawing/2014/main" id="{4EF90518-B2F9-5F6E-453C-9E10DE3AA3AD}"/>
                  </a:ext>
                </a:extLst>
              </p:cNvPr>
              <p:cNvGrpSpPr/>
              <p:nvPr/>
            </p:nvGrpSpPr>
            <p:grpSpPr>
              <a:xfrm>
                <a:off x="987877" y="4386204"/>
                <a:ext cx="187467" cy="95942"/>
                <a:chOff x="987877" y="4386204"/>
                <a:chExt cx="187467" cy="95942"/>
              </a:xfrm>
              <a:grpFill/>
            </p:grpSpPr>
            <p:sp>
              <p:nvSpPr>
                <p:cNvPr id="122" name="Freeform 59">
                  <a:extLst>
                    <a:ext uri="{FF2B5EF4-FFF2-40B4-BE49-F238E27FC236}">
                      <a16:creationId xmlns:a16="http://schemas.microsoft.com/office/drawing/2014/main" id="{0CC1BD1C-EE97-3E2C-4F8C-CF0F58088183}"/>
                    </a:ext>
                  </a:extLst>
                </p:cNvPr>
                <p:cNvSpPr/>
                <p:nvPr/>
              </p:nvSpPr>
              <p:spPr>
                <a:xfrm>
                  <a:off x="987877" y="4386204"/>
                  <a:ext cx="13886" cy="95942"/>
                </a:xfrm>
                <a:custGeom>
                  <a:avLst/>
                  <a:gdLst>
                    <a:gd name="connsiteX0" fmla="*/ 6943 w 13886"/>
                    <a:gd name="connsiteY0" fmla="*/ 95943 h 95942"/>
                    <a:gd name="connsiteX1" fmla="*/ 0 w 13886"/>
                    <a:gd name="connsiteY1" fmla="*/ 88999 h 95942"/>
                    <a:gd name="connsiteX2" fmla="*/ 0 w 13886"/>
                    <a:gd name="connsiteY2" fmla="*/ 6943 h 95942"/>
                    <a:gd name="connsiteX3" fmla="*/ 6943 w 13886"/>
                    <a:gd name="connsiteY3" fmla="*/ 0 h 95942"/>
                    <a:gd name="connsiteX4" fmla="*/ 13886 w 13886"/>
                    <a:gd name="connsiteY4" fmla="*/ 6943 h 95942"/>
                    <a:gd name="connsiteX5" fmla="*/ 13886 w 13886"/>
                    <a:gd name="connsiteY5" fmla="*/ 88999 h 95942"/>
                    <a:gd name="connsiteX6" fmla="*/ 6943 w 13886"/>
                    <a:gd name="connsiteY6" fmla="*/ 95943 h 9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6" h="95942">
                      <a:moveTo>
                        <a:pt x="6943" y="95943"/>
                      </a:moveTo>
                      <a:cubicBezTo>
                        <a:pt x="3156" y="95943"/>
                        <a:pt x="0" y="92787"/>
                        <a:pt x="0" y="88999"/>
                      </a:cubicBezTo>
                      <a:lnTo>
                        <a:pt x="0" y="6943"/>
                      </a:lnTo>
                      <a:cubicBezTo>
                        <a:pt x="0" y="3156"/>
                        <a:pt x="3156" y="0"/>
                        <a:pt x="6943" y="0"/>
                      </a:cubicBezTo>
                      <a:cubicBezTo>
                        <a:pt x="10730" y="0"/>
                        <a:pt x="13886" y="3156"/>
                        <a:pt x="13886" y="6943"/>
                      </a:cubicBezTo>
                      <a:lnTo>
                        <a:pt x="13886" y="88999"/>
                      </a:lnTo>
                      <a:cubicBezTo>
                        <a:pt x="13886" y="92787"/>
                        <a:pt x="10730" y="95943"/>
                        <a:pt x="6943" y="95943"/>
                      </a:cubicBezTo>
                      <a:close/>
                    </a:path>
                  </a:pathLst>
                </a:custGeom>
                <a:grpFill/>
                <a:ln w="0" cap="flat">
                  <a:solidFill>
                    <a:schemeClr val="tx2"/>
                  </a:solidFill>
                  <a:prstDash val="solid"/>
                  <a:miter/>
                </a:ln>
              </p:spPr>
              <p:txBody>
                <a:bodyPr rtlCol="0" anchor="ctr"/>
                <a:lstStyle/>
                <a:p>
                  <a:endParaRPr lang="en-US"/>
                </a:p>
              </p:txBody>
            </p:sp>
            <p:sp>
              <p:nvSpPr>
                <p:cNvPr id="123" name="Freeform 60">
                  <a:extLst>
                    <a:ext uri="{FF2B5EF4-FFF2-40B4-BE49-F238E27FC236}">
                      <a16:creationId xmlns:a16="http://schemas.microsoft.com/office/drawing/2014/main" id="{E60D2338-0F8B-A4F6-0FCF-A279B110006E}"/>
                    </a:ext>
                  </a:extLst>
                </p:cNvPr>
                <p:cNvSpPr/>
                <p:nvPr/>
              </p:nvSpPr>
              <p:spPr>
                <a:xfrm>
                  <a:off x="1161458" y="4386204"/>
                  <a:ext cx="13886" cy="95942"/>
                </a:xfrm>
                <a:custGeom>
                  <a:avLst/>
                  <a:gdLst>
                    <a:gd name="connsiteX0" fmla="*/ 6943 w 13886"/>
                    <a:gd name="connsiteY0" fmla="*/ 95943 h 95942"/>
                    <a:gd name="connsiteX1" fmla="*/ 0 w 13886"/>
                    <a:gd name="connsiteY1" fmla="*/ 88999 h 95942"/>
                    <a:gd name="connsiteX2" fmla="*/ 0 w 13886"/>
                    <a:gd name="connsiteY2" fmla="*/ 6943 h 95942"/>
                    <a:gd name="connsiteX3" fmla="*/ 6943 w 13886"/>
                    <a:gd name="connsiteY3" fmla="*/ 0 h 95942"/>
                    <a:gd name="connsiteX4" fmla="*/ 13886 w 13886"/>
                    <a:gd name="connsiteY4" fmla="*/ 6943 h 95942"/>
                    <a:gd name="connsiteX5" fmla="*/ 13886 w 13886"/>
                    <a:gd name="connsiteY5" fmla="*/ 88999 h 95942"/>
                    <a:gd name="connsiteX6" fmla="*/ 6943 w 13886"/>
                    <a:gd name="connsiteY6" fmla="*/ 95943 h 9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6" h="95942">
                      <a:moveTo>
                        <a:pt x="6943" y="95943"/>
                      </a:moveTo>
                      <a:cubicBezTo>
                        <a:pt x="3156" y="95943"/>
                        <a:pt x="0" y="92787"/>
                        <a:pt x="0" y="88999"/>
                      </a:cubicBezTo>
                      <a:lnTo>
                        <a:pt x="0" y="6943"/>
                      </a:lnTo>
                      <a:cubicBezTo>
                        <a:pt x="0" y="3156"/>
                        <a:pt x="3156" y="0"/>
                        <a:pt x="6943" y="0"/>
                      </a:cubicBezTo>
                      <a:cubicBezTo>
                        <a:pt x="10730" y="0"/>
                        <a:pt x="13886" y="3156"/>
                        <a:pt x="13886" y="6943"/>
                      </a:cubicBezTo>
                      <a:lnTo>
                        <a:pt x="13886" y="88999"/>
                      </a:lnTo>
                      <a:cubicBezTo>
                        <a:pt x="13886" y="92787"/>
                        <a:pt x="10730" y="95943"/>
                        <a:pt x="6943" y="95943"/>
                      </a:cubicBezTo>
                      <a:close/>
                    </a:path>
                  </a:pathLst>
                </a:custGeom>
                <a:grpFill/>
                <a:ln w="0" cap="flat">
                  <a:solidFill>
                    <a:schemeClr val="tx2"/>
                  </a:solidFill>
                  <a:prstDash val="solid"/>
                  <a:miter/>
                </a:ln>
              </p:spPr>
              <p:txBody>
                <a:bodyPr rtlCol="0" anchor="ctr"/>
                <a:lstStyle/>
                <a:p>
                  <a:endParaRPr lang="en-US"/>
                </a:p>
              </p:txBody>
            </p:sp>
          </p:grpSp>
        </p:grpSp>
        <p:sp>
          <p:nvSpPr>
            <p:cNvPr id="115" name="Freeform 53">
              <a:extLst>
                <a:ext uri="{FF2B5EF4-FFF2-40B4-BE49-F238E27FC236}">
                  <a16:creationId xmlns:a16="http://schemas.microsoft.com/office/drawing/2014/main" id="{8437D9FB-E555-B5F7-A26E-F22ABE6E7D32}"/>
                </a:ext>
              </a:extLst>
            </p:cNvPr>
            <p:cNvSpPr/>
            <p:nvPr/>
          </p:nvSpPr>
          <p:spPr>
            <a:xfrm>
              <a:off x="1211954" y="4069972"/>
              <a:ext cx="341480" cy="251849"/>
            </a:xfrm>
            <a:custGeom>
              <a:avLst/>
              <a:gdLst>
                <a:gd name="connsiteX0" fmla="*/ 54283 w 341480"/>
                <a:gd name="connsiteY0" fmla="*/ 251850 h 251849"/>
                <a:gd name="connsiteX1" fmla="*/ 46078 w 341480"/>
                <a:gd name="connsiteY1" fmla="*/ 249956 h 251849"/>
                <a:gd name="connsiteX2" fmla="*/ 34716 w 341480"/>
                <a:gd name="connsiteY2" fmla="*/ 231651 h 251849"/>
                <a:gd name="connsiteX3" fmla="*/ 34716 w 341480"/>
                <a:gd name="connsiteY3" fmla="*/ 205772 h 251849"/>
                <a:gd name="connsiteX4" fmla="*/ 0 w 341480"/>
                <a:gd name="connsiteY4" fmla="*/ 164744 h 251849"/>
                <a:gd name="connsiteX5" fmla="*/ 0 w 341480"/>
                <a:gd name="connsiteY5" fmla="*/ 41659 h 251849"/>
                <a:gd name="connsiteX6" fmla="*/ 41659 w 341480"/>
                <a:gd name="connsiteY6" fmla="*/ 0 h 251849"/>
                <a:gd name="connsiteX7" fmla="*/ 299821 w 341480"/>
                <a:gd name="connsiteY7" fmla="*/ 0 h 251849"/>
                <a:gd name="connsiteX8" fmla="*/ 341481 w 341480"/>
                <a:gd name="connsiteY8" fmla="*/ 41659 h 251849"/>
                <a:gd name="connsiteX9" fmla="*/ 341481 w 341480"/>
                <a:gd name="connsiteY9" fmla="*/ 164744 h 251849"/>
                <a:gd name="connsiteX10" fmla="*/ 299821 w 341480"/>
                <a:gd name="connsiteY10" fmla="*/ 206403 h 251849"/>
                <a:gd name="connsiteX11" fmla="*/ 116772 w 341480"/>
                <a:gd name="connsiteY11" fmla="*/ 206403 h 251849"/>
                <a:gd name="connsiteX12" fmla="*/ 67539 w 341480"/>
                <a:gd name="connsiteY12" fmla="*/ 247431 h 251849"/>
                <a:gd name="connsiteX13" fmla="*/ 54283 w 341480"/>
                <a:gd name="connsiteY13" fmla="*/ 251850 h 251849"/>
                <a:gd name="connsiteX14" fmla="*/ 41659 w 341480"/>
                <a:gd name="connsiteY14" fmla="*/ 13886 h 251849"/>
                <a:gd name="connsiteX15" fmla="*/ 13886 w 341480"/>
                <a:gd name="connsiteY15" fmla="*/ 41659 h 251849"/>
                <a:gd name="connsiteX16" fmla="*/ 13886 w 341480"/>
                <a:gd name="connsiteY16" fmla="*/ 164744 h 251849"/>
                <a:gd name="connsiteX17" fmla="*/ 41659 w 341480"/>
                <a:gd name="connsiteY17" fmla="*/ 192517 h 251849"/>
                <a:gd name="connsiteX18" fmla="*/ 48603 w 341480"/>
                <a:gd name="connsiteY18" fmla="*/ 199460 h 251849"/>
                <a:gd name="connsiteX19" fmla="*/ 48603 w 341480"/>
                <a:gd name="connsiteY19" fmla="*/ 231651 h 251849"/>
                <a:gd name="connsiteX20" fmla="*/ 51759 w 341480"/>
                <a:gd name="connsiteY20" fmla="*/ 236701 h 251849"/>
                <a:gd name="connsiteX21" fmla="*/ 58071 w 341480"/>
                <a:gd name="connsiteY21" fmla="*/ 236070 h 251849"/>
                <a:gd name="connsiteX22" fmla="*/ 109198 w 341480"/>
                <a:gd name="connsiteY22" fmla="*/ 193779 h 251849"/>
                <a:gd name="connsiteX23" fmla="*/ 113616 w 341480"/>
                <a:gd name="connsiteY23" fmla="*/ 191885 h 251849"/>
                <a:gd name="connsiteX24" fmla="*/ 299190 w 341480"/>
                <a:gd name="connsiteY24" fmla="*/ 191885 h 251849"/>
                <a:gd name="connsiteX25" fmla="*/ 326963 w 341480"/>
                <a:gd name="connsiteY25" fmla="*/ 164113 h 251849"/>
                <a:gd name="connsiteX26" fmla="*/ 326963 w 341480"/>
                <a:gd name="connsiteY26" fmla="*/ 41659 h 251849"/>
                <a:gd name="connsiteX27" fmla="*/ 299190 w 341480"/>
                <a:gd name="connsiteY27" fmla="*/ 13886 h 251849"/>
                <a:gd name="connsiteX28" fmla="*/ 41659 w 341480"/>
                <a:gd name="connsiteY28" fmla="*/ 13886 h 251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1480" h="251849">
                  <a:moveTo>
                    <a:pt x="54283" y="251850"/>
                  </a:moveTo>
                  <a:cubicBezTo>
                    <a:pt x="51127" y="251850"/>
                    <a:pt x="48603" y="251219"/>
                    <a:pt x="46078" y="249956"/>
                  </a:cubicBezTo>
                  <a:cubicBezTo>
                    <a:pt x="39135" y="246800"/>
                    <a:pt x="34716" y="239857"/>
                    <a:pt x="34716" y="231651"/>
                  </a:cubicBezTo>
                  <a:lnTo>
                    <a:pt x="34716" y="205772"/>
                  </a:lnTo>
                  <a:cubicBezTo>
                    <a:pt x="15149" y="202616"/>
                    <a:pt x="0" y="185573"/>
                    <a:pt x="0" y="164744"/>
                  </a:cubicBezTo>
                  <a:lnTo>
                    <a:pt x="0" y="41659"/>
                  </a:lnTo>
                  <a:cubicBezTo>
                    <a:pt x="0" y="18936"/>
                    <a:pt x="18936" y="0"/>
                    <a:pt x="41659" y="0"/>
                  </a:cubicBezTo>
                  <a:lnTo>
                    <a:pt x="299821" y="0"/>
                  </a:lnTo>
                  <a:cubicBezTo>
                    <a:pt x="322545" y="0"/>
                    <a:pt x="341481" y="18936"/>
                    <a:pt x="341481" y="41659"/>
                  </a:cubicBezTo>
                  <a:lnTo>
                    <a:pt x="341481" y="164744"/>
                  </a:lnTo>
                  <a:cubicBezTo>
                    <a:pt x="341481" y="187467"/>
                    <a:pt x="322545" y="206403"/>
                    <a:pt x="299821" y="206403"/>
                  </a:cubicBezTo>
                  <a:lnTo>
                    <a:pt x="116772" y="206403"/>
                  </a:lnTo>
                  <a:lnTo>
                    <a:pt x="67539" y="247431"/>
                  </a:lnTo>
                  <a:cubicBezTo>
                    <a:pt x="63752" y="249956"/>
                    <a:pt x="59333" y="251850"/>
                    <a:pt x="54283" y="251850"/>
                  </a:cubicBezTo>
                  <a:close/>
                  <a:moveTo>
                    <a:pt x="41659" y="13886"/>
                  </a:moveTo>
                  <a:cubicBezTo>
                    <a:pt x="26510" y="13886"/>
                    <a:pt x="13886" y="26510"/>
                    <a:pt x="13886" y="41659"/>
                  </a:cubicBezTo>
                  <a:lnTo>
                    <a:pt x="13886" y="164744"/>
                  </a:lnTo>
                  <a:cubicBezTo>
                    <a:pt x="13886" y="179893"/>
                    <a:pt x="26510" y="192517"/>
                    <a:pt x="41659" y="192517"/>
                  </a:cubicBezTo>
                  <a:cubicBezTo>
                    <a:pt x="45447" y="192517"/>
                    <a:pt x="48603" y="195673"/>
                    <a:pt x="48603" y="199460"/>
                  </a:cubicBezTo>
                  <a:lnTo>
                    <a:pt x="48603" y="231651"/>
                  </a:lnTo>
                  <a:cubicBezTo>
                    <a:pt x="48603" y="234807"/>
                    <a:pt x="51127" y="236070"/>
                    <a:pt x="51759" y="236701"/>
                  </a:cubicBezTo>
                  <a:cubicBezTo>
                    <a:pt x="53021" y="237332"/>
                    <a:pt x="55546" y="237963"/>
                    <a:pt x="58071" y="236070"/>
                  </a:cubicBezTo>
                  <a:lnTo>
                    <a:pt x="109198" y="193779"/>
                  </a:lnTo>
                  <a:cubicBezTo>
                    <a:pt x="110460" y="192517"/>
                    <a:pt x="112354" y="191885"/>
                    <a:pt x="113616" y="191885"/>
                  </a:cubicBezTo>
                  <a:lnTo>
                    <a:pt x="299190" y="191885"/>
                  </a:lnTo>
                  <a:cubicBezTo>
                    <a:pt x="314339" y="191885"/>
                    <a:pt x="326963" y="179261"/>
                    <a:pt x="326963" y="164113"/>
                  </a:cubicBezTo>
                  <a:lnTo>
                    <a:pt x="326963" y="41659"/>
                  </a:lnTo>
                  <a:cubicBezTo>
                    <a:pt x="326963" y="26510"/>
                    <a:pt x="314339" y="13886"/>
                    <a:pt x="299190" y="13886"/>
                  </a:cubicBezTo>
                  <a:lnTo>
                    <a:pt x="41659" y="13886"/>
                  </a:lnTo>
                  <a:close/>
                </a:path>
              </a:pathLst>
            </a:custGeom>
            <a:grpFill/>
            <a:ln w="0" cap="flat">
              <a:solidFill>
                <a:schemeClr val="tx2"/>
              </a:solidFill>
              <a:prstDash val="solid"/>
              <a:miter/>
            </a:ln>
          </p:spPr>
          <p:txBody>
            <a:bodyPr rtlCol="0" anchor="ctr"/>
            <a:lstStyle/>
            <a:p>
              <a:endParaRPr lang="en-US"/>
            </a:p>
          </p:txBody>
        </p:sp>
        <p:grpSp>
          <p:nvGrpSpPr>
            <p:cNvPr id="116" name="Graphic 4">
              <a:extLst>
                <a:ext uri="{FF2B5EF4-FFF2-40B4-BE49-F238E27FC236}">
                  <a16:creationId xmlns:a16="http://schemas.microsoft.com/office/drawing/2014/main" id="{8DDDAB1A-92AB-39DA-0E09-53840E3A793A}"/>
                </a:ext>
              </a:extLst>
            </p:cNvPr>
            <p:cNvGrpSpPr/>
            <p:nvPr/>
          </p:nvGrpSpPr>
          <p:grpSpPr>
            <a:xfrm>
              <a:off x="1267500" y="4143191"/>
              <a:ext cx="230388" cy="59333"/>
              <a:chOff x="1267500" y="4143191"/>
              <a:chExt cx="230388" cy="59333"/>
            </a:xfrm>
            <a:grpFill/>
          </p:grpSpPr>
          <p:sp>
            <p:nvSpPr>
              <p:cNvPr id="118" name="Freeform 55">
                <a:extLst>
                  <a:ext uri="{FF2B5EF4-FFF2-40B4-BE49-F238E27FC236}">
                    <a16:creationId xmlns:a16="http://schemas.microsoft.com/office/drawing/2014/main" id="{54FD6735-E48D-C960-9B47-E9F98DFFC029}"/>
                  </a:ext>
                </a:extLst>
              </p:cNvPr>
              <p:cNvSpPr/>
              <p:nvPr/>
            </p:nvSpPr>
            <p:spPr>
              <a:xfrm>
                <a:off x="1267500" y="4143191"/>
                <a:ext cx="131290" cy="13886"/>
              </a:xfrm>
              <a:custGeom>
                <a:avLst/>
                <a:gdLst>
                  <a:gd name="connsiteX0" fmla="*/ 124347 w 131290"/>
                  <a:gd name="connsiteY0" fmla="*/ 13887 h 13886"/>
                  <a:gd name="connsiteX1" fmla="*/ 6943 w 131290"/>
                  <a:gd name="connsiteY1" fmla="*/ 13887 h 13886"/>
                  <a:gd name="connsiteX2" fmla="*/ 0 w 131290"/>
                  <a:gd name="connsiteY2" fmla="*/ 6943 h 13886"/>
                  <a:gd name="connsiteX3" fmla="*/ 6943 w 131290"/>
                  <a:gd name="connsiteY3" fmla="*/ 0 h 13886"/>
                  <a:gd name="connsiteX4" fmla="*/ 124347 w 131290"/>
                  <a:gd name="connsiteY4" fmla="*/ 0 h 13886"/>
                  <a:gd name="connsiteX5" fmla="*/ 131290 w 131290"/>
                  <a:gd name="connsiteY5" fmla="*/ 6943 h 13886"/>
                  <a:gd name="connsiteX6" fmla="*/ 124347 w 131290"/>
                  <a:gd name="connsiteY6" fmla="*/ 13887 h 1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290" h="13886">
                    <a:moveTo>
                      <a:pt x="124347" y="13887"/>
                    </a:moveTo>
                    <a:lnTo>
                      <a:pt x="6943" y="13887"/>
                    </a:lnTo>
                    <a:cubicBezTo>
                      <a:pt x="3156" y="13887"/>
                      <a:pt x="0" y="10731"/>
                      <a:pt x="0" y="6943"/>
                    </a:cubicBezTo>
                    <a:cubicBezTo>
                      <a:pt x="0" y="3156"/>
                      <a:pt x="3156" y="0"/>
                      <a:pt x="6943" y="0"/>
                    </a:cubicBezTo>
                    <a:lnTo>
                      <a:pt x="124347" y="0"/>
                    </a:lnTo>
                    <a:cubicBezTo>
                      <a:pt x="128134" y="0"/>
                      <a:pt x="131290" y="3156"/>
                      <a:pt x="131290" y="6943"/>
                    </a:cubicBezTo>
                    <a:cubicBezTo>
                      <a:pt x="131290" y="10731"/>
                      <a:pt x="128134" y="13887"/>
                      <a:pt x="124347" y="13887"/>
                    </a:cubicBezTo>
                    <a:close/>
                  </a:path>
                </a:pathLst>
              </a:custGeom>
              <a:grpFill/>
              <a:ln w="0" cap="flat">
                <a:solidFill>
                  <a:schemeClr val="tx2"/>
                </a:solidFill>
                <a:prstDash val="solid"/>
                <a:miter/>
              </a:ln>
            </p:spPr>
            <p:txBody>
              <a:bodyPr rtlCol="0" anchor="ctr"/>
              <a:lstStyle/>
              <a:p>
                <a:endParaRPr lang="en-US"/>
              </a:p>
            </p:txBody>
          </p:sp>
          <p:sp>
            <p:nvSpPr>
              <p:cNvPr id="119" name="Freeform 56">
                <a:extLst>
                  <a:ext uri="{FF2B5EF4-FFF2-40B4-BE49-F238E27FC236}">
                    <a16:creationId xmlns:a16="http://schemas.microsoft.com/office/drawing/2014/main" id="{F808ECB8-01D1-E2D3-8318-3B64D94D824C}"/>
                  </a:ext>
                </a:extLst>
              </p:cNvPr>
              <p:cNvSpPr/>
              <p:nvPr/>
            </p:nvSpPr>
            <p:spPr>
              <a:xfrm>
                <a:off x="1268131" y="4188638"/>
                <a:ext cx="229757" cy="13886"/>
              </a:xfrm>
              <a:custGeom>
                <a:avLst/>
                <a:gdLst>
                  <a:gd name="connsiteX0" fmla="*/ 222814 w 229757"/>
                  <a:gd name="connsiteY0" fmla="*/ 13887 h 13886"/>
                  <a:gd name="connsiteX1" fmla="*/ 6943 w 229757"/>
                  <a:gd name="connsiteY1" fmla="*/ 13887 h 13886"/>
                  <a:gd name="connsiteX2" fmla="*/ 0 w 229757"/>
                  <a:gd name="connsiteY2" fmla="*/ 6943 h 13886"/>
                  <a:gd name="connsiteX3" fmla="*/ 6943 w 229757"/>
                  <a:gd name="connsiteY3" fmla="*/ 0 h 13886"/>
                  <a:gd name="connsiteX4" fmla="*/ 222814 w 229757"/>
                  <a:gd name="connsiteY4" fmla="*/ 0 h 13886"/>
                  <a:gd name="connsiteX5" fmla="*/ 229758 w 229757"/>
                  <a:gd name="connsiteY5" fmla="*/ 6943 h 13886"/>
                  <a:gd name="connsiteX6" fmla="*/ 222814 w 229757"/>
                  <a:gd name="connsiteY6" fmla="*/ 13887 h 1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757" h="13886">
                    <a:moveTo>
                      <a:pt x="222814" y="13887"/>
                    </a:moveTo>
                    <a:lnTo>
                      <a:pt x="6943" y="13887"/>
                    </a:lnTo>
                    <a:cubicBezTo>
                      <a:pt x="3156" y="13887"/>
                      <a:pt x="0" y="10731"/>
                      <a:pt x="0" y="6943"/>
                    </a:cubicBezTo>
                    <a:cubicBezTo>
                      <a:pt x="0" y="3156"/>
                      <a:pt x="3156" y="0"/>
                      <a:pt x="6943" y="0"/>
                    </a:cubicBezTo>
                    <a:lnTo>
                      <a:pt x="222814" y="0"/>
                    </a:lnTo>
                    <a:cubicBezTo>
                      <a:pt x="226602" y="0"/>
                      <a:pt x="229758" y="3156"/>
                      <a:pt x="229758" y="6943"/>
                    </a:cubicBezTo>
                    <a:cubicBezTo>
                      <a:pt x="229758" y="10731"/>
                      <a:pt x="226602" y="13887"/>
                      <a:pt x="222814" y="13887"/>
                    </a:cubicBezTo>
                    <a:close/>
                  </a:path>
                </a:pathLst>
              </a:custGeom>
              <a:grpFill/>
              <a:ln w="0" cap="flat">
                <a:solidFill>
                  <a:schemeClr val="tx2"/>
                </a:solidFill>
                <a:prstDash val="solid"/>
                <a:miter/>
              </a:ln>
            </p:spPr>
            <p:txBody>
              <a:bodyPr rtlCol="0" anchor="ctr"/>
              <a:lstStyle/>
              <a:p>
                <a:endParaRPr lang="en-US"/>
              </a:p>
            </p:txBody>
          </p:sp>
        </p:grpSp>
      </p:grpSp>
    </p:spTree>
    <p:extLst>
      <p:ext uri="{BB962C8B-B14F-4D97-AF65-F5344CB8AC3E}">
        <p14:creationId xmlns:p14="http://schemas.microsoft.com/office/powerpoint/2010/main" val="2418320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Oval 28">
            <a:extLst>
              <a:ext uri="{FF2B5EF4-FFF2-40B4-BE49-F238E27FC236}">
                <a16:creationId xmlns:a16="http://schemas.microsoft.com/office/drawing/2014/main" id="{EFE982E3-40D2-5054-6879-10B9520545C5}"/>
              </a:ext>
            </a:extLst>
          </p:cNvPr>
          <p:cNvSpPr/>
          <p:nvPr/>
        </p:nvSpPr>
        <p:spPr>
          <a:xfrm>
            <a:off x="4937463" y="1882063"/>
            <a:ext cx="2317072" cy="2317072"/>
          </a:xfrm>
          <a:prstGeom prst="ellipse">
            <a:avLst/>
          </a:prstGeom>
          <a:solidFill>
            <a:srgbClr val="20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04EE5922-9A1E-C23C-9E89-683C08952EBA}"/>
              </a:ext>
            </a:extLst>
          </p:cNvPr>
          <p:cNvSpPr>
            <a:spLocks noGrp="1"/>
          </p:cNvSpPr>
          <p:nvPr>
            <p:ph type="title"/>
          </p:nvPr>
        </p:nvSpPr>
        <p:spPr>
          <a:xfrm>
            <a:off x="815529" y="371945"/>
            <a:ext cx="10560941" cy="553998"/>
          </a:xfrm>
        </p:spPr>
        <p:txBody>
          <a:bodyPr/>
          <a:lstStyle/>
          <a:p>
            <a:r>
              <a:rPr lang="en-US" kern="0"/>
              <a:t>Third-Party Assessor Qualification Goals</a:t>
            </a:r>
            <a:endParaRPr lang="en-US"/>
          </a:p>
        </p:txBody>
      </p:sp>
      <p:sp>
        <p:nvSpPr>
          <p:cNvPr id="6" name="Slide Number Placeholder 5">
            <a:extLst>
              <a:ext uri="{FF2B5EF4-FFF2-40B4-BE49-F238E27FC236}">
                <a16:creationId xmlns:a16="http://schemas.microsoft.com/office/drawing/2014/main" id="{584F5552-C598-2676-E585-EB019753ECC7}"/>
              </a:ext>
            </a:extLst>
          </p:cNvPr>
          <p:cNvSpPr>
            <a:spLocks noGrp="1"/>
          </p:cNvSpPr>
          <p:nvPr>
            <p:ph type="sldNum" sz="quarter" idx="4"/>
          </p:nvPr>
        </p:nvSpPr>
        <p:spPr/>
        <p:txBody>
          <a:bodyPr/>
          <a:lstStyle/>
          <a:p>
            <a:fld id="{02B5F485-982A-41B4-B657-C5770F0E9220}" type="slidenum">
              <a:rPr lang="en-US" smtClean="0"/>
              <a:pPr/>
              <a:t>12</a:t>
            </a:fld>
            <a:endParaRPr lang="en-US"/>
          </a:p>
        </p:txBody>
      </p:sp>
      <p:sp>
        <p:nvSpPr>
          <p:cNvPr id="28" name="Oval 27">
            <a:extLst>
              <a:ext uri="{FF2B5EF4-FFF2-40B4-BE49-F238E27FC236}">
                <a16:creationId xmlns:a16="http://schemas.microsoft.com/office/drawing/2014/main" id="{1FF67E63-3AA4-5D3C-25F2-2E7913F22750}"/>
              </a:ext>
            </a:extLst>
          </p:cNvPr>
          <p:cNvSpPr/>
          <p:nvPr/>
        </p:nvSpPr>
        <p:spPr>
          <a:xfrm>
            <a:off x="815529" y="1819919"/>
            <a:ext cx="2317072" cy="2317072"/>
          </a:xfrm>
          <a:prstGeom prst="ellipse">
            <a:avLst/>
          </a:prstGeom>
          <a:solidFill>
            <a:srgbClr val="20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F0034138-C34C-BEE5-C896-469BDB090C00}"/>
              </a:ext>
            </a:extLst>
          </p:cNvPr>
          <p:cNvSpPr/>
          <p:nvPr/>
        </p:nvSpPr>
        <p:spPr>
          <a:xfrm>
            <a:off x="9051966" y="1882063"/>
            <a:ext cx="2317072" cy="2317072"/>
          </a:xfrm>
          <a:prstGeom prst="ellipse">
            <a:avLst/>
          </a:prstGeom>
          <a:solidFill>
            <a:srgbClr val="205F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1BFCDC8-4966-1CE7-E0D4-D7CCDBD8A0CC}"/>
              </a:ext>
            </a:extLst>
          </p:cNvPr>
          <p:cNvSpPr txBox="1"/>
          <p:nvPr/>
        </p:nvSpPr>
        <p:spPr>
          <a:xfrm>
            <a:off x="815529" y="4348976"/>
            <a:ext cx="2313432" cy="1323439"/>
          </a:xfrm>
          <a:prstGeom prst="rect">
            <a:avLst/>
          </a:prstGeom>
          <a:noFill/>
          <a:ln>
            <a:noFill/>
          </a:ln>
        </p:spPr>
        <p:txBody>
          <a:bodyPr wrap="square" rtlCol="0">
            <a:spAutoFit/>
          </a:bodyPr>
          <a:lstStyle/>
          <a:p>
            <a:pPr algn="ctr"/>
            <a:r>
              <a:rPr lang="en-US" sz="2000">
                <a:latin typeface="Avenir Book"/>
              </a:rPr>
              <a:t>Expand eligibility and access of IAC Implementation Grant Funding  </a:t>
            </a:r>
          </a:p>
        </p:txBody>
      </p:sp>
      <p:sp>
        <p:nvSpPr>
          <p:cNvPr id="32" name="TextBox 31">
            <a:extLst>
              <a:ext uri="{FF2B5EF4-FFF2-40B4-BE49-F238E27FC236}">
                <a16:creationId xmlns:a16="http://schemas.microsoft.com/office/drawing/2014/main" id="{A13036EE-63C7-2D83-BB76-B67C0E103360}"/>
              </a:ext>
            </a:extLst>
          </p:cNvPr>
          <p:cNvSpPr txBox="1"/>
          <p:nvPr/>
        </p:nvSpPr>
        <p:spPr>
          <a:xfrm>
            <a:off x="4941103" y="4348975"/>
            <a:ext cx="2313432" cy="1323439"/>
          </a:xfrm>
          <a:prstGeom prst="rect">
            <a:avLst/>
          </a:prstGeom>
          <a:noFill/>
          <a:ln>
            <a:noFill/>
          </a:ln>
        </p:spPr>
        <p:txBody>
          <a:bodyPr wrap="square" rtlCol="0">
            <a:spAutoFit/>
          </a:bodyPr>
          <a:lstStyle/>
          <a:p>
            <a:pPr algn="ctr"/>
            <a:r>
              <a:rPr lang="en-US" sz="2000">
                <a:latin typeface="Avenir Book"/>
              </a:rPr>
              <a:t>Qualify proven energy assessments to drive further energy savings</a:t>
            </a:r>
          </a:p>
        </p:txBody>
      </p:sp>
      <p:sp>
        <p:nvSpPr>
          <p:cNvPr id="33" name="TextBox 32">
            <a:extLst>
              <a:ext uri="{FF2B5EF4-FFF2-40B4-BE49-F238E27FC236}">
                <a16:creationId xmlns:a16="http://schemas.microsoft.com/office/drawing/2014/main" id="{5D6F906B-9749-C4DE-5AC0-E78AC794CD9E}"/>
              </a:ext>
            </a:extLst>
          </p:cNvPr>
          <p:cNvSpPr txBox="1"/>
          <p:nvPr/>
        </p:nvSpPr>
        <p:spPr>
          <a:xfrm>
            <a:off x="9063041" y="4348975"/>
            <a:ext cx="2313432" cy="1323439"/>
          </a:xfrm>
          <a:prstGeom prst="rect">
            <a:avLst/>
          </a:prstGeom>
          <a:noFill/>
          <a:ln>
            <a:noFill/>
          </a:ln>
        </p:spPr>
        <p:txBody>
          <a:bodyPr wrap="square" rtlCol="0">
            <a:spAutoFit/>
          </a:bodyPr>
          <a:lstStyle/>
          <a:p>
            <a:pPr algn="ctr"/>
            <a:r>
              <a:rPr lang="en-US" sz="2000">
                <a:latin typeface="Avenir Book"/>
              </a:rPr>
              <a:t>Develop a cohesive assessor network to share best practices and activities</a:t>
            </a:r>
          </a:p>
        </p:txBody>
      </p:sp>
      <p:pic>
        <p:nvPicPr>
          <p:cNvPr id="35" name="Graphic 34" descr="Social network with solid fill">
            <a:extLst>
              <a:ext uri="{FF2B5EF4-FFF2-40B4-BE49-F238E27FC236}">
                <a16:creationId xmlns:a16="http://schemas.microsoft.com/office/drawing/2014/main" id="{B044A040-8C0E-F709-C036-E50C9C20F6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19657" y="2178355"/>
            <a:ext cx="1600200" cy="1600200"/>
          </a:xfrm>
          <a:prstGeom prst="rect">
            <a:avLst/>
          </a:prstGeom>
        </p:spPr>
      </p:pic>
      <p:pic>
        <p:nvPicPr>
          <p:cNvPr id="37" name="Graphic 36" descr="Upward trend with solid fill">
            <a:extLst>
              <a:ext uri="{FF2B5EF4-FFF2-40B4-BE49-F238E27FC236}">
                <a16:creationId xmlns:a16="http://schemas.microsoft.com/office/drawing/2014/main" id="{F64CB8C9-FF38-A796-037D-F20329BC58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72145" y="2178355"/>
            <a:ext cx="1600200" cy="1600200"/>
          </a:xfrm>
          <a:prstGeom prst="rect">
            <a:avLst/>
          </a:prstGeom>
        </p:spPr>
      </p:pic>
      <p:sp>
        <p:nvSpPr>
          <p:cNvPr id="38" name="Freeform 1774">
            <a:extLst>
              <a:ext uri="{FF2B5EF4-FFF2-40B4-BE49-F238E27FC236}">
                <a16:creationId xmlns:a16="http://schemas.microsoft.com/office/drawing/2014/main" id="{B8DDA2BE-AA36-9E18-95C1-72948416386F}"/>
              </a:ext>
            </a:extLst>
          </p:cNvPr>
          <p:cNvSpPr/>
          <p:nvPr/>
        </p:nvSpPr>
        <p:spPr>
          <a:xfrm>
            <a:off x="5638799" y="2240499"/>
            <a:ext cx="914400" cy="1600200"/>
          </a:xfrm>
          <a:custGeom>
            <a:avLst/>
            <a:gdLst>
              <a:gd name="connsiteX0" fmla="*/ 26591 w 213537"/>
              <a:gd name="connsiteY0" fmla="*/ 37873 h 365028"/>
              <a:gd name="connsiteX1" fmla="*/ 70508 w 213537"/>
              <a:gd name="connsiteY1" fmla="*/ 37873 h 365028"/>
              <a:gd name="connsiteX2" fmla="*/ 70508 w 213537"/>
              <a:gd name="connsiteY2" fmla="*/ 14504 h 365028"/>
              <a:gd name="connsiteX3" fmla="*/ 85012 w 213537"/>
              <a:gd name="connsiteY3" fmla="*/ 0 h 365028"/>
              <a:gd name="connsiteX4" fmla="*/ 128929 w 213537"/>
              <a:gd name="connsiteY4" fmla="*/ 0 h 365028"/>
              <a:gd name="connsiteX5" fmla="*/ 143433 w 213537"/>
              <a:gd name="connsiteY5" fmla="*/ 14504 h 365028"/>
              <a:gd name="connsiteX6" fmla="*/ 143433 w 213537"/>
              <a:gd name="connsiteY6" fmla="*/ 37873 h 365028"/>
              <a:gd name="connsiteX7" fmla="*/ 187349 w 213537"/>
              <a:gd name="connsiteY7" fmla="*/ 37873 h 365028"/>
              <a:gd name="connsiteX8" fmla="*/ 187349 w 213537"/>
              <a:gd name="connsiteY8" fmla="*/ 37873 h 365028"/>
              <a:gd name="connsiteX9" fmla="*/ 187349 w 213537"/>
              <a:gd name="connsiteY9" fmla="*/ 37873 h 365028"/>
              <a:gd name="connsiteX10" fmla="*/ 205883 w 213537"/>
              <a:gd name="connsiteY10" fmla="*/ 45528 h 365028"/>
              <a:gd name="connsiteX11" fmla="*/ 213538 w 213537"/>
              <a:gd name="connsiteY11" fmla="*/ 64061 h 365028"/>
              <a:gd name="connsiteX12" fmla="*/ 213538 w 213537"/>
              <a:gd name="connsiteY12" fmla="*/ 64061 h 365028"/>
              <a:gd name="connsiteX13" fmla="*/ 213538 w 213537"/>
              <a:gd name="connsiteY13" fmla="*/ 64061 h 365028"/>
              <a:gd name="connsiteX14" fmla="*/ 213538 w 213537"/>
              <a:gd name="connsiteY14" fmla="*/ 338840 h 365028"/>
              <a:gd name="connsiteX15" fmla="*/ 213538 w 213537"/>
              <a:gd name="connsiteY15" fmla="*/ 338840 h 365028"/>
              <a:gd name="connsiteX16" fmla="*/ 213538 w 213537"/>
              <a:gd name="connsiteY16" fmla="*/ 338840 h 365028"/>
              <a:gd name="connsiteX17" fmla="*/ 205883 w 213537"/>
              <a:gd name="connsiteY17" fmla="*/ 357374 h 365028"/>
              <a:gd name="connsiteX18" fmla="*/ 187349 w 213537"/>
              <a:gd name="connsiteY18" fmla="*/ 365029 h 365028"/>
              <a:gd name="connsiteX19" fmla="*/ 187349 w 213537"/>
              <a:gd name="connsiteY19" fmla="*/ 365029 h 365028"/>
              <a:gd name="connsiteX20" fmla="*/ 187349 w 213537"/>
              <a:gd name="connsiteY20" fmla="*/ 365029 h 365028"/>
              <a:gd name="connsiteX21" fmla="*/ 26189 w 213537"/>
              <a:gd name="connsiteY21" fmla="*/ 365029 h 365028"/>
              <a:gd name="connsiteX22" fmla="*/ 26189 w 213537"/>
              <a:gd name="connsiteY22" fmla="*/ 365029 h 365028"/>
              <a:gd name="connsiteX23" fmla="*/ 26189 w 213537"/>
              <a:gd name="connsiteY23" fmla="*/ 365029 h 365028"/>
              <a:gd name="connsiteX24" fmla="*/ 7655 w 213537"/>
              <a:gd name="connsiteY24" fmla="*/ 357374 h 365028"/>
              <a:gd name="connsiteX25" fmla="*/ 0 w 213537"/>
              <a:gd name="connsiteY25" fmla="*/ 338840 h 365028"/>
              <a:gd name="connsiteX26" fmla="*/ 0 w 213537"/>
              <a:gd name="connsiteY26" fmla="*/ 338840 h 365028"/>
              <a:gd name="connsiteX27" fmla="*/ 0 w 213537"/>
              <a:gd name="connsiteY27" fmla="*/ 338840 h 365028"/>
              <a:gd name="connsiteX28" fmla="*/ 0 w 213537"/>
              <a:gd name="connsiteY28" fmla="*/ 64061 h 365028"/>
              <a:gd name="connsiteX29" fmla="*/ 0 w 213537"/>
              <a:gd name="connsiteY29" fmla="*/ 64061 h 365028"/>
              <a:gd name="connsiteX30" fmla="*/ 0 w 213537"/>
              <a:gd name="connsiteY30" fmla="*/ 64061 h 365028"/>
              <a:gd name="connsiteX31" fmla="*/ 7655 w 213537"/>
              <a:gd name="connsiteY31" fmla="*/ 45528 h 365028"/>
              <a:gd name="connsiteX32" fmla="*/ 26591 w 213537"/>
              <a:gd name="connsiteY32" fmla="*/ 37873 h 365028"/>
              <a:gd name="connsiteX33" fmla="*/ 26591 w 213537"/>
              <a:gd name="connsiteY33" fmla="*/ 37873 h 365028"/>
              <a:gd name="connsiteX34" fmla="*/ 26591 w 213537"/>
              <a:gd name="connsiteY34" fmla="*/ 37873 h 365028"/>
              <a:gd name="connsiteX35" fmla="*/ 26591 w 213537"/>
              <a:gd name="connsiteY35" fmla="*/ 37873 h 365028"/>
              <a:gd name="connsiteX36" fmla="*/ 112409 w 213537"/>
              <a:gd name="connsiteY36" fmla="*/ 131749 h 365028"/>
              <a:gd name="connsiteX37" fmla="*/ 112409 w 213537"/>
              <a:gd name="connsiteY37" fmla="*/ 178888 h 365028"/>
              <a:gd name="connsiteX38" fmla="*/ 141821 w 213537"/>
              <a:gd name="connsiteY38" fmla="*/ 178888 h 365028"/>
              <a:gd name="connsiteX39" fmla="*/ 147059 w 213537"/>
              <a:gd name="connsiteY39" fmla="*/ 184126 h 365028"/>
              <a:gd name="connsiteX40" fmla="*/ 146656 w 213537"/>
              <a:gd name="connsiteY40" fmla="*/ 186543 h 365028"/>
              <a:gd name="connsiteX41" fmla="*/ 112409 w 213537"/>
              <a:gd name="connsiteY41" fmla="*/ 270347 h 365028"/>
              <a:gd name="connsiteX42" fmla="*/ 105963 w 213537"/>
              <a:gd name="connsiteY42" fmla="*/ 273167 h 365028"/>
              <a:gd name="connsiteX43" fmla="*/ 102740 w 213537"/>
              <a:gd name="connsiteY43" fmla="*/ 268332 h 365028"/>
              <a:gd name="connsiteX44" fmla="*/ 102740 w 213537"/>
              <a:gd name="connsiteY44" fmla="*/ 268332 h 365028"/>
              <a:gd name="connsiteX45" fmla="*/ 102740 w 213537"/>
              <a:gd name="connsiteY45" fmla="*/ 221193 h 365028"/>
              <a:gd name="connsiteX46" fmla="*/ 73328 w 213537"/>
              <a:gd name="connsiteY46" fmla="*/ 221193 h 365028"/>
              <a:gd name="connsiteX47" fmla="*/ 68090 w 213537"/>
              <a:gd name="connsiteY47" fmla="*/ 215955 h 365028"/>
              <a:gd name="connsiteX48" fmla="*/ 68493 w 213537"/>
              <a:gd name="connsiteY48" fmla="*/ 213538 h 365028"/>
              <a:gd name="connsiteX49" fmla="*/ 102740 w 213537"/>
              <a:gd name="connsiteY49" fmla="*/ 130137 h 365028"/>
              <a:gd name="connsiteX50" fmla="*/ 109186 w 213537"/>
              <a:gd name="connsiteY50" fmla="*/ 127317 h 365028"/>
              <a:gd name="connsiteX51" fmla="*/ 112409 w 213537"/>
              <a:gd name="connsiteY51" fmla="*/ 131749 h 365028"/>
              <a:gd name="connsiteX52" fmla="*/ 112409 w 213537"/>
              <a:gd name="connsiteY52" fmla="*/ 131749 h 365028"/>
              <a:gd name="connsiteX53" fmla="*/ 112409 w 213537"/>
              <a:gd name="connsiteY53" fmla="*/ 131749 h 365028"/>
              <a:gd name="connsiteX54" fmla="*/ 187752 w 213537"/>
              <a:gd name="connsiteY54" fmla="*/ 63256 h 365028"/>
              <a:gd name="connsiteX55" fmla="*/ 26591 w 213537"/>
              <a:gd name="connsiteY55" fmla="*/ 63256 h 365028"/>
              <a:gd name="connsiteX56" fmla="*/ 26591 w 213537"/>
              <a:gd name="connsiteY56" fmla="*/ 63256 h 365028"/>
              <a:gd name="connsiteX57" fmla="*/ 26591 w 213537"/>
              <a:gd name="connsiteY57" fmla="*/ 63256 h 365028"/>
              <a:gd name="connsiteX58" fmla="*/ 26189 w 213537"/>
              <a:gd name="connsiteY58" fmla="*/ 63658 h 365028"/>
              <a:gd name="connsiteX59" fmla="*/ 25786 w 213537"/>
              <a:gd name="connsiteY59" fmla="*/ 64061 h 365028"/>
              <a:gd name="connsiteX60" fmla="*/ 25786 w 213537"/>
              <a:gd name="connsiteY60" fmla="*/ 64061 h 365028"/>
              <a:gd name="connsiteX61" fmla="*/ 25786 w 213537"/>
              <a:gd name="connsiteY61" fmla="*/ 64061 h 365028"/>
              <a:gd name="connsiteX62" fmla="*/ 25786 w 213537"/>
              <a:gd name="connsiteY62" fmla="*/ 338840 h 365028"/>
              <a:gd name="connsiteX63" fmla="*/ 25786 w 213537"/>
              <a:gd name="connsiteY63" fmla="*/ 338840 h 365028"/>
              <a:gd name="connsiteX64" fmla="*/ 25786 w 213537"/>
              <a:gd name="connsiteY64" fmla="*/ 338840 h 365028"/>
              <a:gd name="connsiteX65" fmla="*/ 26189 w 213537"/>
              <a:gd name="connsiteY65" fmla="*/ 339243 h 365028"/>
              <a:gd name="connsiteX66" fmla="*/ 26591 w 213537"/>
              <a:gd name="connsiteY66" fmla="*/ 339646 h 365028"/>
              <a:gd name="connsiteX67" fmla="*/ 26591 w 213537"/>
              <a:gd name="connsiteY67" fmla="*/ 339646 h 365028"/>
              <a:gd name="connsiteX68" fmla="*/ 26591 w 213537"/>
              <a:gd name="connsiteY68" fmla="*/ 339646 h 365028"/>
              <a:gd name="connsiteX69" fmla="*/ 187752 w 213537"/>
              <a:gd name="connsiteY69" fmla="*/ 339646 h 365028"/>
              <a:gd name="connsiteX70" fmla="*/ 187752 w 213537"/>
              <a:gd name="connsiteY70" fmla="*/ 339646 h 365028"/>
              <a:gd name="connsiteX71" fmla="*/ 187752 w 213537"/>
              <a:gd name="connsiteY71" fmla="*/ 339646 h 365028"/>
              <a:gd name="connsiteX72" fmla="*/ 188155 w 213537"/>
              <a:gd name="connsiteY72" fmla="*/ 339243 h 365028"/>
              <a:gd name="connsiteX73" fmla="*/ 188558 w 213537"/>
              <a:gd name="connsiteY73" fmla="*/ 338840 h 365028"/>
              <a:gd name="connsiteX74" fmla="*/ 188558 w 213537"/>
              <a:gd name="connsiteY74" fmla="*/ 338840 h 365028"/>
              <a:gd name="connsiteX75" fmla="*/ 188558 w 213537"/>
              <a:gd name="connsiteY75" fmla="*/ 338840 h 365028"/>
              <a:gd name="connsiteX76" fmla="*/ 188558 w 213537"/>
              <a:gd name="connsiteY76" fmla="*/ 64061 h 365028"/>
              <a:gd name="connsiteX77" fmla="*/ 188558 w 213537"/>
              <a:gd name="connsiteY77" fmla="*/ 64061 h 365028"/>
              <a:gd name="connsiteX78" fmla="*/ 188558 w 213537"/>
              <a:gd name="connsiteY78" fmla="*/ 64061 h 365028"/>
              <a:gd name="connsiteX79" fmla="*/ 188155 w 213537"/>
              <a:gd name="connsiteY79" fmla="*/ 63658 h 365028"/>
              <a:gd name="connsiteX80" fmla="*/ 187752 w 213537"/>
              <a:gd name="connsiteY80" fmla="*/ 63256 h 365028"/>
              <a:gd name="connsiteX81" fmla="*/ 187752 w 213537"/>
              <a:gd name="connsiteY81" fmla="*/ 63256 h 365028"/>
              <a:gd name="connsiteX82" fmla="*/ 187752 w 213537"/>
              <a:gd name="connsiteY82" fmla="*/ 63256 h 365028"/>
              <a:gd name="connsiteX83" fmla="*/ 187752 w 213537"/>
              <a:gd name="connsiteY83" fmla="*/ 63256 h 36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13537" h="365028">
                <a:moveTo>
                  <a:pt x="26591" y="37873"/>
                </a:moveTo>
                <a:lnTo>
                  <a:pt x="70508" y="37873"/>
                </a:lnTo>
                <a:lnTo>
                  <a:pt x="70508" y="14504"/>
                </a:lnTo>
                <a:cubicBezTo>
                  <a:pt x="70508" y="6446"/>
                  <a:pt x="76954" y="0"/>
                  <a:pt x="85012" y="0"/>
                </a:cubicBezTo>
                <a:lnTo>
                  <a:pt x="128929" y="0"/>
                </a:lnTo>
                <a:cubicBezTo>
                  <a:pt x="136987" y="0"/>
                  <a:pt x="143433" y="6446"/>
                  <a:pt x="143433" y="14504"/>
                </a:cubicBezTo>
                <a:lnTo>
                  <a:pt x="143433" y="37873"/>
                </a:lnTo>
                <a:lnTo>
                  <a:pt x="187349" y="37873"/>
                </a:lnTo>
                <a:lnTo>
                  <a:pt x="187349" y="37873"/>
                </a:lnTo>
                <a:lnTo>
                  <a:pt x="187349" y="37873"/>
                </a:lnTo>
                <a:cubicBezTo>
                  <a:pt x="194601" y="37873"/>
                  <a:pt x="201048" y="40693"/>
                  <a:pt x="205883" y="45528"/>
                </a:cubicBezTo>
                <a:cubicBezTo>
                  <a:pt x="210718" y="50363"/>
                  <a:pt x="213538" y="56809"/>
                  <a:pt x="213538" y="64061"/>
                </a:cubicBezTo>
                <a:lnTo>
                  <a:pt x="213538" y="64061"/>
                </a:lnTo>
                <a:lnTo>
                  <a:pt x="213538" y="64061"/>
                </a:lnTo>
                <a:lnTo>
                  <a:pt x="213538" y="338840"/>
                </a:lnTo>
                <a:lnTo>
                  <a:pt x="213538" y="338840"/>
                </a:lnTo>
                <a:lnTo>
                  <a:pt x="213538" y="338840"/>
                </a:lnTo>
                <a:cubicBezTo>
                  <a:pt x="213538" y="346093"/>
                  <a:pt x="210718" y="352539"/>
                  <a:pt x="205883" y="357374"/>
                </a:cubicBezTo>
                <a:cubicBezTo>
                  <a:pt x="201048" y="362209"/>
                  <a:pt x="194601" y="365029"/>
                  <a:pt x="187349" y="365029"/>
                </a:cubicBezTo>
                <a:lnTo>
                  <a:pt x="187349" y="365029"/>
                </a:lnTo>
                <a:lnTo>
                  <a:pt x="187349" y="365029"/>
                </a:lnTo>
                <a:lnTo>
                  <a:pt x="26189" y="365029"/>
                </a:lnTo>
                <a:lnTo>
                  <a:pt x="26189" y="365029"/>
                </a:lnTo>
                <a:lnTo>
                  <a:pt x="26189" y="365029"/>
                </a:lnTo>
                <a:cubicBezTo>
                  <a:pt x="18936" y="365029"/>
                  <a:pt x="12490" y="362209"/>
                  <a:pt x="7655" y="357374"/>
                </a:cubicBezTo>
                <a:cubicBezTo>
                  <a:pt x="2820" y="352539"/>
                  <a:pt x="0" y="346093"/>
                  <a:pt x="0" y="338840"/>
                </a:cubicBezTo>
                <a:lnTo>
                  <a:pt x="0" y="338840"/>
                </a:lnTo>
                <a:lnTo>
                  <a:pt x="0" y="338840"/>
                </a:lnTo>
                <a:lnTo>
                  <a:pt x="0" y="64061"/>
                </a:lnTo>
                <a:lnTo>
                  <a:pt x="0" y="64061"/>
                </a:lnTo>
                <a:lnTo>
                  <a:pt x="0" y="64061"/>
                </a:lnTo>
                <a:cubicBezTo>
                  <a:pt x="0" y="56809"/>
                  <a:pt x="2820" y="50363"/>
                  <a:pt x="7655" y="45528"/>
                </a:cubicBezTo>
                <a:cubicBezTo>
                  <a:pt x="12893" y="40693"/>
                  <a:pt x="19339" y="37873"/>
                  <a:pt x="26591" y="37873"/>
                </a:cubicBezTo>
                <a:lnTo>
                  <a:pt x="26591" y="37873"/>
                </a:lnTo>
                <a:lnTo>
                  <a:pt x="26591" y="37873"/>
                </a:lnTo>
                <a:lnTo>
                  <a:pt x="26591" y="37873"/>
                </a:lnTo>
                <a:close/>
                <a:moveTo>
                  <a:pt x="112409" y="131749"/>
                </a:moveTo>
                <a:lnTo>
                  <a:pt x="112409" y="178888"/>
                </a:lnTo>
                <a:lnTo>
                  <a:pt x="141821" y="178888"/>
                </a:lnTo>
                <a:cubicBezTo>
                  <a:pt x="144642" y="178888"/>
                  <a:pt x="147059" y="181306"/>
                  <a:pt x="147059" y="184126"/>
                </a:cubicBezTo>
                <a:cubicBezTo>
                  <a:pt x="147059" y="184932"/>
                  <a:pt x="147059" y="185738"/>
                  <a:pt x="146656" y="186543"/>
                </a:cubicBezTo>
                <a:lnTo>
                  <a:pt x="112409" y="270347"/>
                </a:lnTo>
                <a:cubicBezTo>
                  <a:pt x="111201" y="272764"/>
                  <a:pt x="108380" y="274376"/>
                  <a:pt x="105963" y="273167"/>
                </a:cubicBezTo>
                <a:cubicBezTo>
                  <a:pt x="103949" y="272362"/>
                  <a:pt x="102740" y="270347"/>
                  <a:pt x="102740" y="268332"/>
                </a:cubicBezTo>
                <a:lnTo>
                  <a:pt x="102740" y="268332"/>
                </a:lnTo>
                <a:lnTo>
                  <a:pt x="102740" y="221193"/>
                </a:lnTo>
                <a:lnTo>
                  <a:pt x="73328" y="221193"/>
                </a:lnTo>
                <a:cubicBezTo>
                  <a:pt x="70508" y="221193"/>
                  <a:pt x="68090" y="218776"/>
                  <a:pt x="68090" y="215955"/>
                </a:cubicBezTo>
                <a:cubicBezTo>
                  <a:pt x="68090" y="215149"/>
                  <a:pt x="68493" y="214344"/>
                  <a:pt x="68493" y="213538"/>
                </a:cubicBezTo>
                <a:lnTo>
                  <a:pt x="102740" y="130137"/>
                </a:lnTo>
                <a:cubicBezTo>
                  <a:pt x="103949" y="127720"/>
                  <a:pt x="106769" y="126108"/>
                  <a:pt x="109186" y="127317"/>
                </a:cubicBezTo>
                <a:cubicBezTo>
                  <a:pt x="111201" y="127720"/>
                  <a:pt x="112409" y="129734"/>
                  <a:pt x="112409" y="131749"/>
                </a:cubicBezTo>
                <a:lnTo>
                  <a:pt x="112409" y="131749"/>
                </a:lnTo>
                <a:lnTo>
                  <a:pt x="112409" y="131749"/>
                </a:lnTo>
                <a:close/>
                <a:moveTo>
                  <a:pt x="187752" y="63256"/>
                </a:moveTo>
                <a:lnTo>
                  <a:pt x="26591" y="63256"/>
                </a:lnTo>
                <a:lnTo>
                  <a:pt x="26591" y="63256"/>
                </a:lnTo>
                <a:lnTo>
                  <a:pt x="26591" y="63256"/>
                </a:lnTo>
                <a:cubicBezTo>
                  <a:pt x="26591" y="63256"/>
                  <a:pt x="26189" y="63256"/>
                  <a:pt x="26189" y="63658"/>
                </a:cubicBezTo>
                <a:cubicBezTo>
                  <a:pt x="26189" y="63658"/>
                  <a:pt x="25786" y="64061"/>
                  <a:pt x="25786" y="64061"/>
                </a:cubicBezTo>
                <a:lnTo>
                  <a:pt x="25786" y="64061"/>
                </a:lnTo>
                <a:lnTo>
                  <a:pt x="25786" y="64061"/>
                </a:lnTo>
                <a:lnTo>
                  <a:pt x="25786" y="338840"/>
                </a:lnTo>
                <a:lnTo>
                  <a:pt x="25786" y="338840"/>
                </a:lnTo>
                <a:lnTo>
                  <a:pt x="25786" y="338840"/>
                </a:lnTo>
                <a:cubicBezTo>
                  <a:pt x="25786" y="338840"/>
                  <a:pt x="25786" y="339243"/>
                  <a:pt x="26189" y="339243"/>
                </a:cubicBezTo>
                <a:cubicBezTo>
                  <a:pt x="26189" y="339243"/>
                  <a:pt x="26591" y="339646"/>
                  <a:pt x="26591" y="339646"/>
                </a:cubicBezTo>
                <a:lnTo>
                  <a:pt x="26591" y="339646"/>
                </a:lnTo>
                <a:lnTo>
                  <a:pt x="26591" y="339646"/>
                </a:lnTo>
                <a:lnTo>
                  <a:pt x="187752" y="339646"/>
                </a:lnTo>
                <a:lnTo>
                  <a:pt x="187752" y="339646"/>
                </a:lnTo>
                <a:lnTo>
                  <a:pt x="187752" y="339646"/>
                </a:lnTo>
                <a:cubicBezTo>
                  <a:pt x="187752" y="339646"/>
                  <a:pt x="188155" y="339646"/>
                  <a:pt x="188155" y="339243"/>
                </a:cubicBezTo>
                <a:cubicBezTo>
                  <a:pt x="188155" y="339243"/>
                  <a:pt x="188558" y="338840"/>
                  <a:pt x="188558" y="338840"/>
                </a:cubicBezTo>
                <a:lnTo>
                  <a:pt x="188558" y="338840"/>
                </a:lnTo>
                <a:lnTo>
                  <a:pt x="188558" y="338840"/>
                </a:lnTo>
                <a:lnTo>
                  <a:pt x="188558" y="64061"/>
                </a:lnTo>
                <a:lnTo>
                  <a:pt x="188558" y="64061"/>
                </a:lnTo>
                <a:lnTo>
                  <a:pt x="188558" y="64061"/>
                </a:lnTo>
                <a:cubicBezTo>
                  <a:pt x="188558" y="64061"/>
                  <a:pt x="188558" y="63658"/>
                  <a:pt x="188155" y="63658"/>
                </a:cubicBezTo>
                <a:cubicBezTo>
                  <a:pt x="188155" y="63256"/>
                  <a:pt x="187752" y="63256"/>
                  <a:pt x="187752" y="63256"/>
                </a:cubicBezTo>
                <a:lnTo>
                  <a:pt x="187752" y="63256"/>
                </a:lnTo>
                <a:lnTo>
                  <a:pt x="187752" y="63256"/>
                </a:lnTo>
                <a:lnTo>
                  <a:pt x="187752" y="63256"/>
                </a:lnTo>
                <a:close/>
              </a:path>
            </a:pathLst>
          </a:custGeom>
          <a:solidFill>
            <a:schemeClr val="bg1"/>
          </a:solidFill>
          <a:ln w="4028" cap="flat">
            <a:noFill/>
            <a:prstDash val="solid"/>
            <a:miter/>
          </a:ln>
        </p:spPr>
        <p:txBody>
          <a:bodyPr rtlCol="0" anchor="ctr"/>
          <a:lstStyle/>
          <a:p>
            <a:endParaRPr lang="en-US"/>
          </a:p>
        </p:txBody>
      </p:sp>
    </p:spTree>
    <p:extLst>
      <p:ext uri="{BB962C8B-B14F-4D97-AF65-F5344CB8AC3E}">
        <p14:creationId xmlns:p14="http://schemas.microsoft.com/office/powerpoint/2010/main" val="25070554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F6154-CABA-BF21-96DE-A938DEDCBC4E}"/>
              </a:ext>
            </a:extLst>
          </p:cNvPr>
          <p:cNvSpPr>
            <a:spLocks noGrp="1"/>
          </p:cNvSpPr>
          <p:nvPr>
            <p:ph type="title"/>
          </p:nvPr>
        </p:nvSpPr>
        <p:spPr>
          <a:xfrm>
            <a:off x="815529" y="338654"/>
            <a:ext cx="10560941" cy="553998"/>
          </a:xfrm>
        </p:spPr>
        <p:txBody>
          <a:bodyPr/>
          <a:lstStyle/>
          <a:p>
            <a:r>
              <a:rPr lang="en-US"/>
              <a:t>Application Design: </a:t>
            </a:r>
            <a:r>
              <a:rPr lang="en-US" b="0"/>
              <a:t>Qualified Third-Party Assessor</a:t>
            </a:r>
            <a:endParaRPr lang="en-US"/>
          </a:p>
        </p:txBody>
      </p:sp>
      <p:sp>
        <p:nvSpPr>
          <p:cNvPr id="5" name="Slide Number Placeholder 4">
            <a:extLst>
              <a:ext uri="{FF2B5EF4-FFF2-40B4-BE49-F238E27FC236}">
                <a16:creationId xmlns:a16="http://schemas.microsoft.com/office/drawing/2014/main" id="{8BCBA9D1-F6F6-2836-CDC3-E04AB24ABCAD}"/>
              </a:ext>
            </a:extLst>
          </p:cNvPr>
          <p:cNvSpPr>
            <a:spLocks noGrp="1"/>
          </p:cNvSpPr>
          <p:nvPr>
            <p:ph type="sldNum" sz="quarter" idx="4"/>
          </p:nvPr>
        </p:nvSpPr>
        <p:spPr/>
        <p:txBody>
          <a:bodyPr/>
          <a:lstStyle/>
          <a:p>
            <a:fld id="{02B5F485-982A-41B4-B657-C5770F0E9220}" type="slidenum">
              <a:rPr lang="en-US" smtClean="0"/>
              <a:t>13</a:t>
            </a:fld>
            <a:endParaRPr lang="en-US"/>
          </a:p>
        </p:txBody>
      </p:sp>
      <p:pic>
        <p:nvPicPr>
          <p:cNvPr id="4" name="Picture 3">
            <a:extLst>
              <a:ext uri="{FF2B5EF4-FFF2-40B4-BE49-F238E27FC236}">
                <a16:creationId xmlns:a16="http://schemas.microsoft.com/office/drawing/2014/main" id="{AA23FBF8-71EF-15FD-E3B4-837C4719DA10}"/>
              </a:ext>
            </a:extLst>
          </p:cNvPr>
          <p:cNvPicPr>
            <a:picLocks noChangeAspect="1"/>
          </p:cNvPicPr>
          <p:nvPr/>
        </p:nvPicPr>
        <p:blipFill>
          <a:blip r:embed="rId2"/>
          <a:stretch>
            <a:fillRect/>
          </a:stretch>
        </p:blipFill>
        <p:spPr>
          <a:xfrm>
            <a:off x="322419" y="2331368"/>
            <a:ext cx="3107753" cy="2256771"/>
          </a:xfrm>
          <a:prstGeom prst="rect">
            <a:avLst/>
          </a:prstGeom>
          <a:ln>
            <a:solidFill>
              <a:schemeClr val="tx1"/>
            </a:solidFill>
          </a:ln>
        </p:spPr>
      </p:pic>
      <p:pic>
        <p:nvPicPr>
          <p:cNvPr id="7" name="Picture 6">
            <a:extLst>
              <a:ext uri="{FF2B5EF4-FFF2-40B4-BE49-F238E27FC236}">
                <a16:creationId xmlns:a16="http://schemas.microsoft.com/office/drawing/2014/main" id="{D27275FD-C4E6-DFF7-FA8F-75186A245C72}"/>
              </a:ext>
            </a:extLst>
          </p:cNvPr>
          <p:cNvPicPr>
            <a:picLocks noChangeAspect="1"/>
          </p:cNvPicPr>
          <p:nvPr/>
        </p:nvPicPr>
        <p:blipFill>
          <a:blip r:embed="rId3"/>
          <a:stretch>
            <a:fillRect/>
          </a:stretch>
        </p:blipFill>
        <p:spPr>
          <a:xfrm>
            <a:off x="8414564" y="2174342"/>
            <a:ext cx="3293888" cy="2391938"/>
          </a:xfrm>
          <a:prstGeom prst="rect">
            <a:avLst/>
          </a:prstGeom>
          <a:ln>
            <a:solidFill>
              <a:schemeClr val="tx1"/>
            </a:solidFill>
          </a:ln>
        </p:spPr>
      </p:pic>
      <p:sp>
        <p:nvSpPr>
          <p:cNvPr id="8" name="TextBox 7">
            <a:extLst>
              <a:ext uri="{FF2B5EF4-FFF2-40B4-BE49-F238E27FC236}">
                <a16:creationId xmlns:a16="http://schemas.microsoft.com/office/drawing/2014/main" id="{15205D91-6E79-FF4B-D2C9-0E83DD6C0B79}"/>
              </a:ext>
            </a:extLst>
          </p:cNvPr>
          <p:cNvSpPr txBox="1"/>
          <p:nvPr/>
        </p:nvSpPr>
        <p:spPr>
          <a:xfrm>
            <a:off x="406965" y="1561593"/>
            <a:ext cx="2938660" cy="400110"/>
          </a:xfrm>
          <a:prstGeom prst="rect">
            <a:avLst/>
          </a:prstGeom>
          <a:noFill/>
          <a:ln>
            <a:noFill/>
          </a:ln>
        </p:spPr>
        <p:txBody>
          <a:bodyPr wrap="square" rtlCol="0">
            <a:spAutoFit/>
          </a:bodyPr>
          <a:lstStyle/>
          <a:p>
            <a:pPr algn="ctr"/>
            <a:r>
              <a:rPr lang="en-US" sz="2000" b="1">
                <a:solidFill>
                  <a:schemeClr val="tx2"/>
                </a:solidFill>
                <a:latin typeface="Avenir Book" panose="02000503020000020003"/>
              </a:rPr>
              <a:t>Assessment Capabilities</a:t>
            </a:r>
          </a:p>
        </p:txBody>
      </p:sp>
      <p:sp>
        <p:nvSpPr>
          <p:cNvPr id="9" name="TextBox 8">
            <a:extLst>
              <a:ext uri="{FF2B5EF4-FFF2-40B4-BE49-F238E27FC236}">
                <a16:creationId xmlns:a16="http://schemas.microsoft.com/office/drawing/2014/main" id="{D52CD0FD-60C2-5F8B-EAB1-495C25C358C9}"/>
              </a:ext>
            </a:extLst>
          </p:cNvPr>
          <p:cNvSpPr txBox="1"/>
          <p:nvPr/>
        </p:nvSpPr>
        <p:spPr>
          <a:xfrm>
            <a:off x="86112" y="4888130"/>
            <a:ext cx="3580366" cy="830997"/>
          </a:xfrm>
          <a:prstGeom prst="rect">
            <a:avLst/>
          </a:prstGeom>
          <a:noFill/>
          <a:ln>
            <a:noFill/>
          </a:ln>
        </p:spPr>
        <p:txBody>
          <a:bodyPr wrap="square" rtlCol="0">
            <a:spAutoFit/>
          </a:bodyPr>
          <a:lstStyle/>
          <a:p>
            <a:pPr algn="ctr"/>
            <a:r>
              <a:rPr lang="en-US" sz="1600">
                <a:solidFill>
                  <a:schemeClr val="tx2"/>
                </a:solidFill>
                <a:latin typeface="Avenir Book" panose="02000503020000020003"/>
              </a:rPr>
              <a:t>Directed questions to collect additional information on assessor’s assessment scope, protocol, and capabilities</a:t>
            </a:r>
          </a:p>
        </p:txBody>
      </p:sp>
      <p:sp>
        <p:nvSpPr>
          <p:cNvPr id="10" name="TextBox 9">
            <a:extLst>
              <a:ext uri="{FF2B5EF4-FFF2-40B4-BE49-F238E27FC236}">
                <a16:creationId xmlns:a16="http://schemas.microsoft.com/office/drawing/2014/main" id="{41663D08-D46F-6624-991D-2CCB90CDEB99}"/>
              </a:ext>
            </a:extLst>
          </p:cNvPr>
          <p:cNvSpPr txBox="1"/>
          <p:nvPr/>
        </p:nvSpPr>
        <p:spPr>
          <a:xfrm>
            <a:off x="8655902" y="1567403"/>
            <a:ext cx="2811212" cy="400110"/>
          </a:xfrm>
          <a:prstGeom prst="rect">
            <a:avLst/>
          </a:prstGeom>
          <a:noFill/>
          <a:ln>
            <a:noFill/>
          </a:ln>
        </p:spPr>
        <p:txBody>
          <a:bodyPr wrap="square" rtlCol="0">
            <a:spAutoFit/>
          </a:bodyPr>
          <a:lstStyle/>
          <a:p>
            <a:pPr algn="ctr"/>
            <a:r>
              <a:rPr lang="en-US" sz="2000" b="1">
                <a:solidFill>
                  <a:schemeClr val="tx2"/>
                </a:solidFill>
                <a:latin typeface="Avenir Book" panose="02000503020000020003"/>
              </a:rPr>
              <a:t>Project Narrative</a:t>
            </a:r>
          </a:p>
        </p:txBody>
      </p:sp>
      <p:sp>
        <p:nvSpPr>
          <p:cNvPr id="11" name="TextBox 10">
            <a:extLst>
              <a:ext uri="{FF2B5EF4-FFF2-40B4-BE49-F238E27FC236}">
                <a16:creationId xmlns:a16="http://schemas.microsoft.com/office/drawing/2014/main" id="{54FB6FF6-AEA2-7FFF-73A1-A2F6AE513B76}"/>
              </a:ext>
            </a:extLst>
          </p:cNvPr>
          <p:cNvSpPr txBox="1"/>
          <p:nvPr/>
        </p:nvSpPr>
        <p:spPr>
          <a:xfrm>
            <a:off x="8271325" y="4888130"/>
            <a:ext cx="3580366" cy="830997"/>
          </a:xfrm>
          <a:prstGeom prst="rect">
            <a:avLst/>
          </a:prstGeom>
          <a:noFill/>
          <a:ln>
            <a:noFill/>
          </a:ln>
        </p:spPr>
        <p:txBody>
          <a:bodyPr wrap="square" rtlCol="0">
            <a:spAutoFit/>
          </a:bodyPr>
          <a:lstStyle/>
          <a:p>
            <a:pPr algn="ctr"/>
            <a:r>
              <a:rPr lang="en-US" sz="1600">
                <a:solidFill>
                  <a:schemeClr val="tx2"/>
                </a:solidFill>
                <a:latin typeface="Avenir Book" panose="02000503020000020003"/>
              </a:rPr>
              <a:t>Simplified Project Narrative to minimize burden on applicants while ensuring critical information is collected </a:t>
            </a:r>
          </a:p>
        </p:txBody>
      </p:sp>
      <p:sp>
        <p:nvSpPr>
          <p:cNvPr id="3" name="TextBox 2">
            <a:extLst>
              <a:ext uri="{FF2B5EF4-FFF2-40B4-BE49-F238E27FC236}">
                <a16:creationId xmlns:a16="http://schemas.microsoft.com/office/drawing/2014/main" id="{CA9F956D-3F5A-F7E8-A84E-C2A2215D48E8}"/>
              </a:ext>
            </a:extLst>
          </p:cNvPr>
          <p:cNvSpPr txBox="1"/>
          <p:nvPr/>
        </p:nvSpPr>
        <p:spPr>
          <a:xfrm>
            <a:off x="4429915" y="1561593"/>
            <a:ext cx="2811212" cy="400110"/>
          </a:xfrm>
          <a:prstGeom prst="rect">
            <a:avLst/>
          </a:prstGeom>
          <a:noFill/>
          <a:ln>
            <a:noFill/>
          </a:ln>
        </p:spPr>
        <p:txBody>
          <a:bodyPr wrap="square" rtlCol="0">
            <a:spAutoFit/>
          </a:bodyPr>
          <a:lstStyle/>
          <a:p>
            <a:pPr algn="ctr"/>
            <a:r>
              <a:rPr lang="en-US" sz="2000" b="1">
                <a:solidFill>
                  <a:schemeClr val="tx2"/>
                </a:solidFill>
                <a:latin typeface="Avenir Book" panose="02000503020000020003"/>
              </a:rPr>
              <a:t>Sample Assessments</a:t>
            </a:r>
          </a:p>
        </p:txBody>
      </p:sp>
      <p:sp>
        <p:nvSpPr>
          <p:cNvPr id="6" name="TextBox 5">
            <a:extLst>
              <a:ext uri="{FF2B5EF4-FFF2-40B4-BE49-F238E27FC236}">
                <a16:creationId xmlns:a16="http://schemas.microsoft.com/office/drawing/2014/main" id="{210FAA3B-F160-72A2-E400-9B69BDB7F136}"/>
              </a:ext>
            </a:extLst>
          </p:cNvPr>
          <p:cNvSpPr txBox="1"/>
          <p:nvPr/>
        </p:nvSpPr>
        <p:spPr>
          <a:xfrm>
            <a:off x="4285613" y="4888130"/>
            <a:ext cx="3099816" cy="1077218"/>
          </a:xfrm>
          <a:prstGeom prst="rect">
            <a:avLst/>
          </a:prstGeom>
          <a:noFill/>
          <a:ln>
            <a:noFill/>
          </a:ln>
        </p:spPr>
        <p:txBody>
          <a:bodyPr wrap="square" rtlCol="0">
            <a:spAutoFit/>
          </a:bodyPr>
          <a:lstStyle/>
          <a:p>
            <a:pPr algn="ctr"/>
            <a:r>
              <a:rPr lang="en-US" sz="1600">
                <a:solidFill>
                  <a:schemeClr val="tx2"/>
                </a:solidFill>
                <a:latin typeface="Avenir Book" panose="02000503020000020003"/>
              </a:rPr>
              <a:t>Request for assessment reports including - detail on key activities, proposed recommendations, est. implementation costs &amp; savings</a:t>
            </a:r>
          </a:p>
        </p:txBody>
      </p:sp>
      <p:pic>
        <p:nvPicPr>
          <p:cNvPr id="12" name="Picture 11">
            <a:extLst>
              <a:ext uri="{FF2B5EF4-FFF2-40B4-BE49-F238E27FC236}">
                <a16:creationId xmlns:a16="http://schemas.microsoft.com/office/drawing/2014/main" id="{9FE24403-EA0D-FD93-E528-9C80B51126E7}"/>
              </a:ext>
            </a:extLst>
          </p:cNvPr>
          <p:cNvPicPr>
            <a:picLocks noChangeAspect="1"/>
          </p:cNvPicPr>
          <p:nvPr/>
        </p:nvPicPr>
        <p:blipFill>
          <a:blip r:embed="rId4"/>
          <a:stretch>
            <a:fillRect/>
          </a:stretch>
        </p:blipFill>
        <p:spPr>
          <a:xfrm>
            <a:off x="4429915" y="2202444"/>
            <a:ext cx="2811212" cy="2570463"/>
          </a:xfrm>
          <a:prstGeom prst="rect">
            <a:avLst/>
          </a:prstGeom>
          <a:ln>
            <a:solidFill>
              <a:schemeClr val="tx1"/>
            </a:solidFill>
          </a:ln>
        </p:spPr>
      </p:pic>
    </p:spTree>
    <p:extLst>
      <p:ext uri="{BB962C8B-B14F-4D97-AF65-F5344CB8AC3E}">
        <p14:creationId xmlns:p14="http://schemas.microsoft.com/office/powerpoint/2010/main" val="1271631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9832FBB-75FD-172A-6594-FD4A522D2A2E}"/>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B5F485-982A-41B4-B657-C5770F0E9220}" type="slidenum">
              <a:rPr kumimoji="0" lang="en-US" sz="1000" b="0" i="0" u="none" strike="noStrike" kern="1200" cap="none" spc="0" normalizeH="0" baseline="0" noProof="0" smtClean="0">
                <a:ln>
                  <a:noFill/>
                </a:ln>
                <a:solidFill>
                  <a:srgbClr val="DBDDDE">
                    <a:lumMod val="50000"/>
                  </a:srgbClr>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DBDDDE">
                  <a:lumMod val="50000"/>
                </a:srgbClr>
              </a:solidFill>
              <a:effectLst/>
              <a:uLnTx/>
              <a:uFillTx/>
              <a:latin typeface="Calibri" panose="020F0502020204030204" pitchFamily="34" charset="0"/>
              <a:ea typeface="+mn-ea"/>
              <a:cs typeface="Calibri" panose="020F0502020204030204" pitchFamily="34" charset="0"/>
            </a:endParaRPr>
          </a:p>
        </p:txBody>
      </p:sp>
      <p:sp>
        <p:nvSpPr>
          <p:cNvPr id="9" name="Content Placeholder 8">
            <a:extLst>
              <a:ext uri="{FF2B5EF4-FFF2-40B4-BE49-F238E27FC236}">
                <a16:creationId xmlns:a16="http://schemas.microsoft.com/office/drawing/2014/main" id="{F4786656-C0DD-0D2A-B810-F312A6842FB9}"/>
              </a:ext>
            </a:extLst>
          </p:cNvPr>
          <p:cNvSpPr>
            <a:spLocks noGrp="1"/>
          </p:cNvSpPr>
          <p:nvPr>
            <p:ph sz="quarter" idx="16"/>
          </p:nvPr>
        </p:nvSpPr>
        <p:spPr>
          <a:xfrm>
            <a:off x="699300" y="1672857"/>
            <a:ext cx="3328988" cy="4075794"/>
          </a:xfrm>
        </p:spPr>
        <p:txBody>
          <a:bodyPr>
            <a:normAutofit fontScale="92500" lnSpcReduction="20000"/>
          </a:bodyPr>
          <a:lstStyle/>
          <a:p>
            <a:pPr marL="0" indent="0" algn="ctr">
              <a:buNone/>
            </a:pPr>
            <a:r>
              <a:rPr lang="en-US" sz="3600" b="1">
                <a:solidFill>
                  <a:schemeClr val="accent2"/>
                </a:solidFill>
                <a:latin typeface="Avenir Black" panose="02000503020000020003" pitchFamily="2" charset="0"/>
              </a:rPr>
              <a:t>When to Apply?</a:t>
            </a:r>
            <a:endParaRPr lang="en-US" sz="5000" b="1">
              <a:latin typeface="Avenir Black" panose="02000503020000020003" pitchFamily="2" charset="0"/>
            </a:endParaRPr>
          </a:p>
          <a:p>
            <a:pPr marL="0" indent="0" algn="ctr">
              <a:buNone/>
            </a:pPr>
            <a:endParaRPr lang="en-US" sz="2200">
              <a:latin typeface="Avenir Black" panose="02000503020000020003" pitchFamily="2" charset="0"/>
            </a:endParaRPr>
          </a:p>
          <a:p>
            <a:pPr marL="0" indent="0" algn="ctr">
              <a:buNone/>
            </a:pPr>
            <a:r>
              <a:rPr lang="en-US" sz="2200">
                <a:latin typeface="Avenir Black" panose="02000503020000020003" pitchFamily="2" charset="0"/>
              </a:rPr>
              <a:t>The IAC grants program </a:t>
            </a:r>
            <a:endParaRPr lang="en-US" sz="2200" b="1">
              <a:latin typeface="Avenir Black" panose="02000503020000020003" pitchFamily="2" charset="0"/>
            </a:endParaRPr>
          </a:p>
          <a:p>
            <a:pPr marL="0" indent="0" algn="ctr">
              <a:buNone/>
            </a:pPr>
            <a:r>
              <a:rPr lang="en-US" sz="2200" b="1">
                <a:latin typeface="Avenir Black" panose="02000503020000020003" pitchFamily="2" charset="0"/>
              </a:rPr>
              <a:t>operates on a rolling basis </a:t>
            </a:r>
            <a:r>
              <a:rPr lang="en-US" sz="2200">
                <a:latin typeface="Avenir Black" panose="02000503020000020003" pitchFamily="2" charset="0"/>
              </a:rPr>
              <a:t>and applications may be submitted at any time through the year, with reviews after the following deadlines:</a:t>
            </a:r>
          </a:p>
          <a:p>
            <a:pPr marL="0" indent="0" algn="ctr">
              <a:buNone/>
            </a:pPr>
            <a:endParaRPr lang="en-US" sz="2200">
              <a:latin typeface="Avenir Black" panose="02000503020000020003" pitchFamily="2" charset="0"/>
            </a:endParaRPr>
          </a:p>
          <a:p>
            <a:pPr algn="ctr"/>
            <a:r>
              <a:rPr lang="en-US" sz="2200">
                <a:latin typeface="Avenir Black" panose="02000503020000020003" pitchFamily="2" charset="0"/>
              </a:rPr>
              <a:t>December 31, 2023</a:t>
            </a:r>
          </a:p>
          <a:p>
            <a:pPr algn="ctr"/>
            <a:r>
              <a:rPr lang="en-US" sz="2200">
                <a:latin typeface="Avenir Black" panose="02000503020000020003" pitchFamily="2" charset="0"/>
              </a:rPr>
              <a:t>March 31, 2024</a:t>
            </a:r>
          </a:p>
          <a:p>
            <a:pPr algn="ctr"/>
            <a:r>
              <a:rPr lang="en-US" sz="2200">
                <a:latin typeface="Avenir Black" panose="02000503020000020003" pitchFamily="2" charset="0"/>
              </a:rPr>
              <a:t>June 30, 2024</a:t>
            </a:r>
          </a:p>
          <a:p>
            <a:pPr algn="ctr"/>
            <a:r>
              <a:rPr lang="en-US" sz="2200">
                <a:latin typeface="Avenir Black" panose="02000503020000020003" pitchFamily="2" charset="0"/>
              </a:rPr>
              <a:t>September 30, 2024</a:t>
            </a:r>
          </a:p>
          <a:p>
            <a:pPr marL="0" indent="0" algn="ctr">
              <a:buNone/>
            </a:pPr>
            <a:endParaRPr lang="en-US" sz="5000" b="1">
              <a:latin typeface="Avenir Black" panose="02000503020000020003" pitchFamily="2" charset="0"/>
            </a:endParaRPr>
          </a:p>
          <a:p>
            <a:pPr marL="0" indent="0" algn="ctr">
              <a:buNone/>
            </a:pPr>
            <a:endParaRPr lang="en-US" sz="5000" b="1">
              <a:latin typeface="Avenir Black" panose="02000503020000020003" pitchFamily="2" charset="0"/>
            </a:endParaRPr>
          </a:p>
          <a:p>
            <a:pPr marL="0" indent="0" algn="ctr">
              <a:buNone/>
            </a:pPr>
            <a:endParaRPr lang="en-US" sz="5000" b="1">
              <a:latin typeface="Avenir Black" panose="02000503020000020003" pitchFamily="2" charset="0"/>
            </a:endParaRPr>
          </a:p>
        </p:txBody>
      </p:sp>
      <p:sp>
        <p:nvSpPr>
          <p:cNvPr id="3" name="Title 2">
            <a:extLst>
              <a:ext uri="{FF2B5EF4-FFF2-40B4-BE49-F238E27FC236}">
                <a16:creationId xmlns:a16="http://schemas.microsoft.com/office/drawing/2014/main" id="{CC5D01C9-CC55-B0BC-DF4F-2E91D074D1BB}"/>
              </a:ext>
            </a:extLst>
          </p:cNvPr>
          <p:cNvSpPr>
            <a:spLocks noGrp="1"/>
          </p:cNvSpPr>
          <p:nvPr>
            <p:ph type="title"/>
          </p:nvPr>
        </p:nvSpPr>
        <p:spPr>
          <a:xfrm>
            <a:off x="815529" y="373865"/>
            <a:ext cx="10560941" cy="553998"/>
          </a:xfrm>
        </p:spPr>
        <p:txBody>
          <a:bodyPr/>
          <a:lstStyle/>
          <a:p>
            <a:r>
              <a:rPr lang="en-US"/>
              <a:t>The Application Process</a:t>
            </a:r>
          </a:p>
        </p:txBody>
      </p:sp>
      <p:sp>
        <p:nvSpPr>
          <p:cNvPr id="2" name="Content Placeholder 8">
            <a:extLst>
              <a:ext uri="{FF2B5EF4-FFF2-40B4-BE49-F238E27FC236}">
                <a16:creationId xmlns:a16="http://schemas.microsoft.com/office/drawing/2014/main" id="{7992B035-2146-F741-FBEE-6C22220E86BF}"/>
              </a:ext>
            </a:extLst>
          </p:cNvPr>
          <p:cNvSpPr txBox="1">
            <a:spLocks/>
          </p:cNvSpPr>
          <p:nvPr/>
        </p:nvSpPr>
        <p:spPr>
          <a:xfrm>
            <a:off x="4431506" y="1672857"/>
            <a:ext cx="3328988" cy="4257280"/>
          </a:xfrm>
          <a:prstGeom prst="rect">
            <a:avLst/>
          </a:prstGeom>
        </p:spPr>
        <p:txBody>
          <a:bodyPr vert="horz" lIns="91440" tIns="45720" rIns="91440" bIns="45720" rtlCol="0">
            <a:normAutofit fontScale="92500" lnSpcReduction="20000"/>
          </a:bodyPr>
          <a:lstStyle>
            <a:lvl1pPr marL="342900" indent="-342900" eaLnBrk="1" hangingPunct="1">
              <a:spcAft>
                <a:spcPts val="0"/>
              </a:spcAft>
              <a:buClr>
                <a:schemeClr val="tx2"/>
              </a:buClr>
              <a:buFont typeface="Arial" panose="020B0604020202020204" pitchFamily="34" charset="0"/>
              <a:buChar char="•"/>
              <a:defRPr sz="2400">
                <a:latin typeface="Calibri" panose="020F0502020204030204" pitchFamily="34" charset="0"/>
                <a:ea typeface="+mn-ea"/>
                <a:cs typeface="Calibri" panose="020F0502020204030204" pitchFamily="34" charset="0"/>
              </a:defRPr>
            </a:lvl1pPr>
            <a:lvl2pPr marL="746333" indent="-342900" eaLnBrk="1" hangingPunct="1">
              <a:spcAft>
                <a:spcPts val="0"/>
              </a:spcAft>
              <a:buClr>
                <a:schemeClr val="tx2"/>
              </a:buClr>
              <a:buFont typeface="Arial" panose="020B0604020202020204" pitchFamily="34" charset="0"/>
              <a:buChar char="•"/>
              <a:defRPr sz="2000">
                <a:latin typeface="Calibri" panose="020F0502020204030204" pitchFamily="34" charset="0"/>
                <a:ea typeface="+mn-ea"/>
                <a:cs typeface="Calibri" panose="020F0502020204030204" pitchFamily="34" charset="0"/>
              </a:defRPr>
            </a:lvl2pPr>
            <a:lvl3pPr marL="1092617" indent="-285750" eaLnBrk="1" hangingPunct="1">
              <a:spcAft>
                <a:spcPts val="0"/>
              </a:spcAft>
              <a:buClr>
                <a:schemeClr val="tx2"/>
              </a:buClr>
              <a:buFont typeface="Arial" panose="020B0604020202020204" pitchFamily="34" charset="0"/>
              <a:buChar char="•"/>
              <a:defRPr>
                <a:latin typeface="Calibri" panose="020F0502020204030204" pitchFamily="34" charset="0"/>
                <a:ea typeface="+mn-ea"/>
                <a:cs typeface="Calibri" panose="020F0502020204030204" pitchFamily="34" charset="0"/>
              </a:defRPr>
            </a:lvl3pPr>
            <a:lvl4pPr marL="1496050" indent="-285750" eaLnBrk="1" hangingPunct="1">
              <a:spcAft>
                <a:spcPts val="0"/>
              </a:spcAft>
              <a:buClr>
                <a:schemeClr val="tx2"/>
              </a:buClr>
              <a:buFont typeface="Arial" panose="020B0604020202020204" pitchFamily="34" charset="0"/>
              <a:buChar char="•"/>
              <a:defRPr>
                <a:latin typeface="Calibri" panose="020F0502020204030204" pitchFamily="34" charset="0"/>
                <a:ea typeface="+mn-ea"/>
                <a:cs typeface="Calibri" panose="020F0502020204030204" pitchFamily="34" charset="0"/>
              </a:defRPr>
            </a:lvl4pPr>
            <a:lvl5pPr marL="1899483" indent="-285750" eaLnBrk="1" hangingPunct="1">
              <a:spcAft>
                <a:spcPts val="0"/>
              </a:spcAft>
              <a:buClr>
                <a:schemeClr val="tx2"/>
              </a:buClr>
              <a:buFont typeface="Arial" panose="020B0604020202020204" pitchFamily="34" charset="0"/>
              <a:buChar char="•"/>
              <a:defRPr sz="1600">
                <a:latin typeface="Calibri" panose="020F0502020204030204" pitchFamily="34" charset="0"/>
                <a:ea typeface="+mn-ea"/>
                <a:cs typeface="Calibri" panose="020F0502020204030204" pitchFamily="34" charset="0"/>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a:lstStyle>
          <a:p>
            <a:pPr marL="0" indent="0" algn="ctr">
              <a:buFont typeface="Arial" panose="020B0604020202020204" pitchFamily="34" charset="0"/>
              <a:buNone/>
            </a:pPr>
            <a:r>
              <a:rPr lang="en-US" sz="3600" b="1" kern="0">
                <a:solidFill>
                  <a:srgbClr val="205FAB"/>
                </a:solidFill>
                <a:latin typeface="Avenir Black" panose="02000503020000020003" pitchFamily="2" charset="0"/>
              </a:rPr>
              <a:t>How to Apply?</a:t>
            </a:r>
            <a:endParaRPr lang="en-US" sz="3600" b="1" kern="0">
              <a:solidFill>
                <a:sysClr val="windowText" lastClr="000000"/>
              </a:solidFill>
              <a:latin typeface="Avenir Black" panose="02000503020000020003" pitchFamily="2" charset="0"/>
            </a:endParaRPr>
          </a:p>
          <a:p>
            <a:pPr marL="0" indent="0" algn="ctr">
              <a:buFont typeface="Arial" panose="020B0604020202020204" pitchFamily="34" charset="0"/>
              <a:buNone/>
            </a:pPr>
            <a:endParaRPr lang="en-US" sz="2200" kern="0">
              <a:solidFill>
                <a:sysClr val="windowText" lastClr="000000"/>
              </a:solidFill>
              <a:latin typeface="Avenir Black" panose="02000503020000020003" pitchFamily="2" charset="0"/>
            </a:endParaRPr>
          </a:p>
          <a:p>
            <a:pPr marL="0" indent="0" algn="ctr">
              <a:buFont typeface="Arial" panose="020B0604020202020204" pitchFamily="34" charset="0"/>
              <a:buNone/>
            </a:pPr>
            <a:r>
              <a:rPr lang="en-US" sz="2200" kern="0">
                <a:solidFill>
                  <a:sysClr val="windowText" lastClr="000000"/>
                </a:solidFill>
                <a:latin typeface="Avenir Black" panose="02000503020000020003" pitchFamily="2" charset="0"/>
              </a:rPr>
              <a:t> In contrast to traditional DOE funding opportunities, the IAC grants program has a </a:t>
            </a:r>
            <a:r>
              <a:rPr lang="en-US" sz="2200" b="1" kern="0">
                <a:solidFill>
                  <a:sysClr val="windowText" lastClr="000000"/>
                </a:solidFill>
                <a:latin typeface="Avenir Black" panose="02000503020000020003" pitchFamily="2" charset="0"/>
              </a:rPr>
              <a:t>very simple and straightforward application form and process </a:t>
            </a:r>
            <a:r>
              <a:rPr lang="en-US" sz="2200" kern="0">
                <a:solidFill>
                  <a:sysClr val="windowText" lastClr="000000"/>
                </a:solidFill>
                <a:latin typeface="Avenir Black" panose="02000503020000020003" pitchFamily="2" charset="0"/>
              </a:rPr>
              <a:t>via Submittable</a:t>
            </a:r>
          </a:p>
          <a:p>
            <a:pPr marL="0" indent="0" algn="ctr">
              <a:buFont typeface="Arial" panose="020B0604020202020204" pitchFamily="34" charset="0"/>
              <a:buNone/>
            </a:pPr>
            <a:endParaRPr lang="en-US" sz="2200" kern="0">
              <a:solidFill>
                <a:sysClr val="windowText" lastClr="000000"/>
              </a:solidFill>
              <a:latin typeface="Avenir Black" panose="02000503020000020003" pitchFamily="2" charset="0"/>
            </a:endParaRPr>
          </a:p>
          <a:p>
            <a:pPr algn="ctr"/>
            <a:r>
              <a:rPr lang="en-US" sz="2200" b="1" kern="0">
                <a:solidFill>
                  <a:srgbClr val="205FAB"/>
                </a:solidFill>
                <a:latin typeface="Avenir Black" panose="02000503020000020003" pitchFamily="2" charset="0"/>
                <a:hlinkClick r:id="rId2">
                  <a:extLst>
                    <a:ext uri="{A12FA001-AC4F-418D-AE19-62706E023703}">
                      <ahyp:hlinkClr xmlns:ahyp="http://schemas.microsoft.com/office/drawing/2018/hyperlinkcolor" val="tx"/>
                    </a:ext>
                  </a:extLst>
                </a:hlinkClick>
              </a:rPr>
              <a:t>Workstream 1 </a:t>
            </a:r>
            <a:r>
              <a:rPr lang="en-US" sz="2200" kern="0">
                <a:solidFill>
                  <a:srgbClr val="205FAB"/>
                </a:solidFill>
                <a:latin typeface="Avenir Black" panose="02000503020000020003" pitchFamily="2" charset="0"/>
                <a:hlinkClick r:id="rId2">
                  <a:extLst>
                    <a:ext uri="{A12FA001-AC4F-418D-AE19-62706E023703}">
                      <ahyp:hlinkClr xmlns:ahyp="http://schemas.microsoft.com/office/drawing/2018/hyperlinkcolor" val="tx"/>
                    </a:ext>
                  </a:extLst>
                </a:hlinkClick>
              </a:rPr>
              <a:t>(Implementation Grants Funding) Application</a:t>
            </a:r>
            <a:endParaRPr lang="en-US" sz="2200" kern="0">
              <a:solidFill>
                <a:srgbClr val="205FAB"/>
              </a:solidFill>
              <a:latin typeface="Avenir Black" panose="02000503020000020003" pitchFamily="2" charset="0"/>
            </a:endParaRPr>
          </a:p>
          <a:p>
            <a:pPr algn="ctr"/>
            <a:r>
              <a:rPr lang="en-US" sz="2200" b="1" kern="0">
                <a:solidFill>
                  <a:srgbClr val="205FAB"/>
                </a:solidFill>
                <a:latin typeface="Avenir Black" panose="02000503020000020003" pitchFamily="2" charset="0"/>
                <a:hlinkClick r:id="rId3">
                  <a:extLst>
                    <a:ext uri="{A12FA001-AC4F-418D-AE19-62706E023703}">
                      <ahyp:hlinkClr xmlns:ahyp="http://schemas.microsoft.com/office/drawing/2018/hyperlinkcolor" val="tx"/>
                    </a:ext>
                  </a:extLst>
                </a:hlinkClick>
              </a:rPr>
              <a:t>Workstream 2 </a:t>
            </a:r>
            <a:r>
              <a:rPr lang="en-US" sz="2200" kern="0">
                <a:solidFill>
                  <a:srgbClr val="205FAB"/>
                </a:solidFill>
                <a:latin typeface="Avenir Black" panose="02000503020000020003" pitchFamily="2" charset="0"/>
                <a:hlinkClick r:id="rId3">
                  <a:extLst>
                    <a:ext uri="{A12FA001-AC4F-418D-AE19-62706E023703}">
                      <ahyp:hlinkClr xmlns:ahyp="http://schemas.microsoft.com/office/drawing/2018/hyperlinkcolor" val="tx"/>
                    </a:ext>
                  </a:extLst>
                </a:hlinkClick>
              </a:rPr>
              <a:t>(Third-Party Assessor Qualification) Application</a:t>
            </a:r>
            <a:endParaRPr lang="en-US" sz="2200" kern="0">
              <a:solidFill>
                <a:srgbClr val="205FAB"/>
              </a:solidFill>
              <a:latin typeface="Avenir Black" panose="02000503020000020003" pitchFamily="2" charset="0"/>
            </a:endParaRPr>
          </a:p>
          <a:p>
            <a:pPr marL="0" indent="0" algn="ctr">
              <a:buFont typeface="Arial" panose="020B0604020202020204" pitchFamily="34" charset="0"/>
              <a:buNone/>
            </a:pPr>
            <a:endParaRPr lang="en-US" sz="5000" b="1" kern="0">
              <a:solidFill>
                <a:sysClr val="windowText" lastClr="000000"/>
              </a:solidFill>
              <a:latin typeface="Avenir Black" panose="02000503020000020003" pitchFamily="2" charset="0"/>
            </a:endParaRPr>
          </a:p>
          <a:p>
            <a:pPr marL="0" indent="0" algn="ctr">
              <a:buFont typeface="Arial" panose="020B0604020202020204" pitchFamily="34" charset="0"/>
              <a:buNone/>
            </a:pPr>
            <a:endParaRPr lang="en-US" sz="5000" b="1" kern="0">
              <a:solidFill>
                <a:sysClr val="windowText" lastClr="000000"/>
              </a:solidFill>
              <a:latin typeface="Avenir Black" panose="02000503020000020003" pitchFamily="2" charset="0"/>
            </a:endParaRPr>
          </a:p>
        </p:txBody>
      </p:sp>
      <p:sp>
        <p:nvSpPr>
          <p:cNvPr id="7" name="Content Placeholder 8">
            <a:extLst>
              <a:ext uri="{FF2B5EF4-FFF2-40B4-BE49-F238E27FC236}">
                <a16:creationId xmlns:a16="http://schemas.microsoft.com/office/drawing/2014/main" id="{A2872795-053E-569A-6B01-13E880E57E20}"/>
              </a:ext>
            </a:extLst>
          </p:cNvPr>
          <p:cNvSpPr txBox="1">
            <a:spLocks/>
          </p:cNvSpPr>
          <p:nvPr/>
        </p:nvSpPr>
        <p:spPr>
          <a:xfrm>
            <a:off x="8163711" y="1672857"/>
            <a:ext cx="3488597" cy="4409161"/>
          </a:xfrm>
          <a:prstGeom prst="rect">
            <a:avLst/>
          </a:prstGeom>
        </p:spPr>
        <p:txBody>
          <a:bodyPr vert="horz" lIns="91440" tIns="45720" rIns="91440" bIns="45720" rtlCol="0">
            <a:normAutofit fontScale="32500" lnSpcReduction="20000"/>
          </a:bodyPr>
          <a:lstStyle>
            <a:lvl1pPr marL="342900" indent="-342900" eaLnBrk="1" hangingPunct="1">
              <a:spcAft>
                <a:spcPts val="0"/>
              </a:spcAft>
              <a:buClr>
                <a:schemeClr val="tx2"/>
              </a:buClr>
              <a:buFont typeface="Arial" panose="020B0604020202020204" pitchFamily="34" charset="0"/>
              <a:buChar char="•"/>
              <a:defRPr sz="2400">
                <a:latin typeface="Calibri" panose="020F0502020204030204" pitchFamily="34" charset="0"/>
                <a:ea typeface="+mn-ea"/>
                <a:cs typeface="Calibri" panose="020F0502020204030204" pitchFamily="34" charset="0"/>
              </a:defRPr>
            </a:lvl1pPr>
            <a:lvl2pPr marL="746333" indent="-342900" eaLnBrk="1" hangingPunct="1">
              <a:spcAft>
                <a:spcPts val="0"/>
              </a:spcAft>
              <a:buClr>
                <a:schemeClr val="tx2"/>
              </a:buClr>
              <a:buFont typeface="Arial" panose="020B0604020202020204" pitchFamily="34" charset="0"/>
              <a:buChar char="•"/>
              <a:defRPr sz="2000">
                <a:latin typeface="Calibri" panose="020F0502020204030204" pitchFamily="34" charset="0"/>
                <a:ea typeface="+mn-ea"/>
                <a:cs typeface="Calibri" panose="020F0502020204030204" pitchFamily="34" charset="0"/>
              </a:defRPr>
            </a:lvl2pPr>
            <a:lvl3pPr marL="1092617" indent="-285750" eaLnBrk="1" hangingPunct="1">
              <a:spcAft>
                <a:spcPts val="0"/>
              </a:spcAft>
              <a:buClr>
                <a:schemeClr val="tx2"/>
              </a:buClr>
              <a:buFont typeface="Arial" panose="020B0604020202020204" pitchFamily="34" charset="0"/>
              <a:buChar char="•"/>
              <a:defRPr>
                <a:latin typeface="Calibri" panose="020F0502020204030204" pitchFamily="34" charset="0"/>
                <a:ea typeface="+mn-ea"/>
                <a:cs typeface="Calibri" panose="020F0502020204030204" pitchFamily="34" charset="0"/>
              </a:defRPr>
            </a:lvl3pPr>
            <a:lvl4pPr marL="1496050" indent="-285750" eaLnBrk="1" hangingPunct="1">
              <a:spcAft>
                <a:spcPts val="0"/>
              </a:spcAft>
              <a:buClr>
                <a:schemeClr val="tx2"/>
              </a:buClr>
              <a:buFont typeface="Arial" panose="020B0604020202020204" pitchFamily="34" charset="0"/>
              <a:buChar char="•"/>
              <a:defRPr>
                <a:latin typeface="Calibri" panose="020F0502020204030204" pitchFamily="34" charset="0"/>
                <a:ea typeface="+mn-ea"/>
                <a:cs typeface="Calibri" panose="020F0502020204030204" pitchFamily="34" charset="0"/>
              </a:defRPr>
            </a:lvl4pPr>
            <a:lvl5pPr marL="1899483" indent="-285750" eaLnBrk="1" hangingPunct="1">
              <a:spcAft>
                <a:spcPts val="0"/>
              </a:spcAft>
              <a:buClr>
                <a:schemeClr val="tx2"/>
              </a:buClr>
              <a:buFont typeface="Arial" panose="020B0604020202020204" pitchFamily="34" charset="0"/>
              <a:buChar char="•"/>
              <a:defRPr sz="1600">
                <a:latin typeface="Calibri" panose="020F0502020204030204" pitchFamily="34" charset="0"/>
                <a:ea typeface="+mn-ea"/>
                <a:cs typeface="Calibri" panose="020F0502020204030204" pitchFamily="34" charset="0"/>
              </a:defRPr>
            </a:lvl5pPr>
            <a:lvl6pPr marL="2017166" eaLnBrk="1" hangingPunct="1">
              <a:defRPr>
                <a:latin typeface="+mn-lt"/>
                <a:ea typeface="+mn-ea"/>
                <a:cs typeface="+mn-cs"/>
              </a:defRPr>
            </a:lvl6pPr>
            <a:lvl7pPr marL="2420600" eaLnBrk="1" hangingPunct="1">
              <a:defRPr>
                <a:latin typeface="+mn-lt"/>
                <a:ea typeface="+mn-ea"/>
                <a:cs typeface="+mn-cs"/>
              </a:defRPr>
            </a:lvl7pPr>
            <a:lvl8pPr marL="2824033" eaLnBrk="1" hangingPunct="1">
              <a:defRPr>
                <a:latin typeface="+mn-lt"/>
                <a:ea typeface="+mn-ea"/>
                <a:cs typeface="+mn-cs"/>
              </a:defRPr>
            </a:lvl8pPr>
            <a:lvl9pPr marL="3227466" eaLnBrk="1" hangingPunct="1">
              <a:defRPr>
                <a:latin typeface="+mn-lt"/>
                <a:ea typeface="+mn-ea"/>
                <a:cs typeface="+mn-cs"/>
              </a:defRPr>
            </a:lvl9pPr>
          </a:lstStyle>
          <a:p>
            <a:pPr marL="0" indent="0" algn="ctr">
              <a:buFont typeface="Arial" panose="020B0604020202020204" pitchFamily="34" charset="0"/>
              <a:buNone/>
            </a:pPr>
            <a:r>
              <a:rPr lang="en-US" sz="10200" b="1" kern="0">
                <a:solidFill>
                  <a:srgbClr val="1A315D"/>
                </a:solidFill>
                <a:latin typeface="Avenir Black" panose="02000503020000020003" pitchFamily="2" charset="0"/>
              </a:rPr>
              <a:t>Other Questions?</a:t>
            </a:r>
            <a:br>
              <a:rPr lang="en-US" sz="5000" b="1" kern="0">
                <a:solidFill>
                  <a:sysClr val="windowText" lastClr="000000"/>
                </a:solidFill>
                <a:latin typeface="Avenir Black" panose="02000503020000020003" pitchFamily="2" charset="0"/>
              </a:rPr>
            </a:br>
            <a:endParaRPr lang="en-US" sz="5000" kern="0">
              <a:solidFill>
                <a:sysClr val="windowText" lastClr="000000"/>
              </a:solidFill>
              <a:latin typeface="Avenir Black" panose="02000503020000020003" pitchFamily="2" charset="0"/>
            </a:endParaRPr>
          </a:p>
          <a:p>
            <a:pPr marL="0" indent="0" algn="ctr">
              <a:buFont typeface="Arial" panose="020B0604020202020204" pitchFamily="34" charset="0"/>
              <a:buNone/>
            </a:pPr>
            <a:r>
              <a:rPr lang="en-US" sz="5800" kern="0">
                <a:solidFill>
                  <a:sysClr val="windowText" lastClr="000000"/>
                </a:solidFill>
                <a:latin typeface="Avenir Black" panose="02000503020000020003" pitchFamily="2" charset="0"/>
              </a:rPr>
              <a:t>The IAC grant program team will be hosting informational monthly office hours:</a:t>
            </a:r>
          </a:p>
          <a:p>
            <a:pPr marL="0" indent="0" algn="ctr">
              <a:buFont typeface="Arial" panose="020B0604020202020204" pitchFamily="34" charset="0"/>
              <a:buNone/>
            </a:pPr>
            <a:endParaRPr lang="en-US" sz="5800" kern="0">
              <a:solidFill>
                <a:sysClr val="windowText" lastClr="000000"/>
              </a:solidFill>
              <a:latin typeface="Avenir Black" panose="02000503020000020003" pitchFamily="2" charset="0"/>
            </a:endParaRPr>
          </a:p>
          <a:p>
            <a:pPr algn="ctr"/>
            <a:r>
              <a:rPr lang="en-US" sz="5800" kern="0">
                <a:solidFill>
                  <a:sysClr val="windowText" lastClr="000000"/>
                </a:solidFill>
                <a:latin typeface="Avenir Black" panose="02000503020000020003" pitchFamily="2" charset="0"/>
              </a:rPr>
              <a:t>Nov. 16, 2023, from 1:00-2:00 PM ET: Click </a:t>
            </a:r>
            <a:r>
              <a:rPr lang="en-US" sz="5800" b="1" kern="0">
                <a:solidFill>
                  <a:srgbClr val="205FAB"/>
                </a:solidFill>
                <a:latin typeface="Avenir Black" panose="02000503020000020003" pitchFamily="2" charset="0"/>
                <a:hlinkClick r:id="rId4">
                  <a:extLst>
                    <a:ext uri="{A12FA001-AC4F-418D-AE19-62706E023703}">
                      <ahyp:hlinkClr xmlns:ahyp="http://schemas.microsoft.com/office/drawing/2018/hyperlinkcolor" val="tx"/>
                    </a:ext>
                  </a:extLst>
                </a:hlinkClick>
              </a:rPr>
              <a:t>here</a:t>
            </a:r>
            <a:r>
              <a:rPr lang="en-US" sz="5800" b="1" kern="0">
                <a:solidFill>
                  <a:srgbClr val="205FAB"/>
                </a:solidFill>
                <a:latin typeface="Avenir Black" panose="02000503020000020003" pitchFamily="2" charset="0"/>
              </a:rPr>
              <a:t> </a:t>
            </a:r>
            <a:r>
              <a:rPr lang="en-US" sz="5800" kern="0">
                <a:solidFill>
                  <a:sysClr val="windowText" lastClr="000000"/>
                </a:solidFill>
                <a:latin typeface="Avenir Black" panose="02000503020000020003" pitchFamily="2" charset="0"/>
              </a:rPr>
              <a:t>to RSVP</a:t>
            </a:r>
          </a:p>
          <a:p>
            <a:pPr algn="ctr"/>
            <a:r>
              <a:rPr lang="en-US" sz="5800" kern="0">
                <a:solidFill>
                  <a:sysClr val="windowText" lastClr="000000"/>
                </a:solidFill>
                <a:latin typeface="Avenir Black" panose="02000503020000020003" pitchFamily="2" charset="0"/>
              </a:rPr>
              <a:t>Dec. 7, 2023, from 1:00-2:00 PM ET: Click </a:t>
            </a:r>
            <a:r>
              <a:rPr lang="en-US" sz="5800" b="1" kern="0">
                <a:solidFill>
                  <a:srgbClr val="205FAB"/>
                </a:solidFill>
                <a:latin typeface="Avenir Black" panose="02000503020000020003" pitchFamily="2" charset="0"/>
                <a:hlinkClick r:id="rId5">
                  <a:extLst>
                    <a:ext uri="{A12FA001-AC4F-418D-AE19-62706E023703}">
                      <ahyp:hlinkClr xmlns:ahyp="http://schemas.microsoft.com/office/drawing/2018/hyperlinkcolor" val="tx"/>
                    </a:ext>
                  </a:extLst>
                </a:hlinkClick>
              </a:rPr>
              <a:t>here</a:t>
            </a:r>
            <a:r>
              <a:rPr lang="en-US" sz="5800" kern="0">
                <a:solidFill>
                  <a:sysClr val="windowText" lastClr="000000"/>
                </a:solidFill>
                <a:latin typeface="Avenir Black" panose="02000503020000020003" pitchFamily="2" charset="0"/>
              </a:rPr>
              <a:t> to RSVP</a:t>
            </a:r>
          </a:p>
          <a:p>
            <a:pPr marL="0" indent="0" algn="ctr">
              <a:buFont typeface="Arial" panose="020B0604020202020204" pitchFamily="34" charset="0"/>
              <a:buNone/>
            </a:pPr>
            <a:endParaRPr lang="en-US" sz="5800" kern="0">
              <a:solidFill>
                <a:sysClr val="windowText" lastClr="000000"/>
              </a:solidFill>
              <a:latin typeface="Avenir Black" panose="02000503020000020003" pitchFamily="2" charset="0"/>
            </a:endParaRPr>
          </a:p>
          <a:p>
            <a:pPr marL="0" indent="0" algn="ctr">
              <a:buFont typeface="Arial" panose="020B0604020202020204" pitchFamily="34" charset="0"/>
              <a:buNone/>
            </a:pPr>
            <a:r>
              <a:rPr lang="en-US" sz="5800" kern="0">
                <a:solidFill>
                  <a:sysClr val="windowText" lastClr="000000"/>
                </a:solidFill>
                <a:latin typeface="Avenir Black" panose="02000503020000020003" pitchFamily="2" charset="0"/>
              </a:rPr>
              <a:t>Click </a:t>
            </a:r>
            <a:r>
              <a:rPr lang="en-US" sz="5800" b="1" kern="0">
                <a:solidFill>
                  <a:srgbClr val="205FAB"/>
                </a:solidFill>
                <a:latin typeface="Avenir Black" panose="02000503020000020003" pitchFamily="2" charset="0"/>
                <a:hlinkClick r:id="rId6">
                  <a:extLst>
                    <a:ext uri="{A12FA001-AC4F-418D-AE19-62706E023703}">
                      <ahyp:hlinkClr xmlns:ahyp="http://schemas.microsoft.com/office/drawing/2018/hyperlinkcolor" val="tx"/>
                    </a:ext>
                  </a:extLst>
                </a:hlinkClick>
              </a:rPr>
              <a:t>here</a:t>
            </a:r>
            <a:r>
              <a:rPr lang="en-US" sz="5800" kern="0">
                <a:solidFill>
                  <a:srgbClr val="205FAB"/>
                </a:solidFill>
                <a:latin typeface="Avenir Black" panose="02000503020000020003" pitchFamily="2" charset="0"/>
              </a:rPr>
              <a:t> </a:t>
            </a:r>
            <a:r>
              <a:rPr lang="en-US" sz="5800" kern="0">
                <a:solidFill>
                  <a:sysClr val="windowText" lastClr="000000"/>
                </a:solidFill>
                <a:latin typeface="Avenir Black" panose="02000503020000020003" pitchFamily="2" charset="0"/>
              </a:rPr>
              <a:t>to review </a:t>
            </a:r>
            <a:r>
              <a:rPr lang="en-US" sz="5800" b="1" kern="0">
                <a:solidFill>
                  <a:sysClr val="windowText" lastClr="000000"/>
                </a:solidFill>
                <a:latin typeface="Avenir Black" panose="02000503020000020003" pitchFamily="2" charset="0"/>
              </a:rPr>
              <a:t>frequently asked questions (FAQs)</a:t>
            </a:r>
            <a:r>
              <a:rPr lang="en-US" sz="5800" kern="0">
                <a:solidFill>
                  <a:sysClr val="windowText" lastClr="000000"/>
                </a:solidFill>
                <a:latin typeface="Avenir Black" panose="02000503020000020003" pitchFamily="2" charset="0"/>
              </a:rPr>
              <a:t>. If you have additional questions, please contact ENERGYWERX: </a:t>
            </a:r>
            <a:r>
              <a:rPr lang="en-US" sz="5800" b="1" kern="0">
                <a:solidFill>
                  <a:srgbClr val="205FAB"/>
                </a:solidFill>
                <a:latin typeface="Avenir Black" panose="02000503020000020003" pitchFamily="2" charset="0"/>
                <a:hlinkClick r:id="rId7">
                  <a:extLst>
                    <a:ext uri="{A12FA001-AC4F-418D-AE19-62706E023703}">
                      <ahyp:hlinkClr xmlns:ahyp="http://schemas.microsoft.com/office/drawing/2018/hyperlinkcolor" val="tx"/>
                    </a:ext>
                  </a:extLst>
                </a:hlinkClick>
              </a:rPr>
              <a:t>info@energywerx.org</a:t>
            </a:r>
            <a:r>
              <a:rPr lang="en-US" sz="5800" b="1" kern="0">
                <a:solidFill>
                  <a:srgbClr val="205FAB"/>
                </a:solidFill>
                <a:latin typeface="Avenir Black" panose="02000503020000020003" pitchFamily="2" charset="0"/>
              </a:rPr>
              <a:t>  </a:t>
            </a:r>
            <a:endParaRPr lang="en-US" sz="5800" b="1" kern="0">
              <a:solidFill>
                <a:sysClr val="windowText" lastClr="000000"/>
              </a:solidFill>
              <a:latin typeface="Avenir Black" panose="02000503020000020003" pitchFamily="2" charset="0"/>
            </a:endParaRPr>
          </a:p>
          <a:p>
            <a:pPr marL="0" indent="0" algn="ctr">
              <a:buFont typeface="Arial" panose="020B0604020202020204" pitchFamily="34" charset="0"/>
              <a:buNone/>
            </a:pPr>
            <a:endParaRPr lang="en-US" sz="5000" b="1" kern="0">
              <a:solidFill>
                <a:sysClr val="windowText" lastClr="000000"/>
              </a:solidFill>
              <a:latin typeface="Avenir Black" panose="02000503020000020003" pitchFamily="2" charset="0"/>
            </a:endParaRPr>
          </a:p>
        </p:txBody>
      </p:sp>
    </p:spTree>
    <p:extLst>
      <p:ext uri="{BB962C8B-B14F-4D97-AF65-F5344CB8AC3E}">
        <p14:creationId xmlns:p14="http://schemas.microsoft.com/office/powerpoint/2010/main" val="29568417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27F61253-75E0-BAEC-0FE2-D68F365849D2}"/>
              </a:ext>
            </a:extLst>
          </p:cNvPr>
          <p:cNvGraphicFramePr>
            <a:graphicFrameLocks noGrp="1"/>
          </p:cNvGraphicFramePr>
          <p:nvPr>
            <p:ph idx="1"/>
            <p:extLst>
              <p:ext uri="{D42A27DB-BD31-4B8C-83A1-F6EECF244321}">
                <p14:modId xmlns:p14="http://schemas.microsoft.com/office/powerpoint/2010/main" val="564230494"/>
              </p:ext>
            </p:extLst>
          </p:nvPr>
        </p:nvGraphicFramePr>
        <p:xfrm>
          <a:off x="822325" y="1360488"/>
          <a:ext cx="10515600" cy="43513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6">
            <a:extLst>
              <a:ext uri="{FF2B5EF4-FFF2-40B4-BE49-F238E27FC236}">
                <a16:creationId xmlns:a16="http://schemas.microsoft.com/office/drawing/2014/main" id="{FF449635-E70E-11DA-602E-EE6F522F5EAD}"/>
              </a:ext>
            </a:extLst>
          </p:cNvPr>
          <p:cNvSpPr>
            <a:spLocks noGrp="1"/>
          </p:cNvSpPr>
          <p:nvPr>
            <p:ph type="title"/>
          </p:nvPr>
        </p:nvSpPr>
        <p:spPr/>
        <p:txBody>
          <a:bodyPr/>
          <a:lstStyle/>
          <a:p>
            <a:r>
              <a:rPr lang="en-US"/>
              <a:t>Timeline and Key Dates</a:t>
            </a:r>
          </a:p>
        </p:txBody>
      </p:sp>
      <p:sp>
        <p:nvSpPr>
          <p:cNvPr id="2" name="Slide Number Placeholder 1">
            <a:extLst>
              <a:ext uri="{FF2B5EF4-FFF2-40B4-BE49-F238E27FC236}">
                <a16:creationId xmlns:a16="http://schemas.microsoft.com/office/drawing/2014/main" id="{5F794B01-96A4-135D-4DE9-4594B6030787}"/>
              </a:ext>
            </a:extLst>
          </p:cNvPr>
          <p:cNvSpPr>
            <a:spLocks noGrp="1"/>
          </p:cNvSpPr>
          <p:nvPr>
            <p:ph type="sldNum" sz="quarter" idx="4"/>
          </p:nvPr>
        </p:nvSpPr>
        <p:spPr/>
        <p:txBody>
          <a:bodyPr/>
          <a:lstStyle/>
          <a:p>
            <a:fld id="{02B5F485-982A-41B4-B657-C5770F0E9220}" type="slidenum">
              <a:rPr lang="en-US" smtClean="0"/>
              <a:pPr/>
              <a:t>15</a:t>
            </a:fld>
            <a:endParaRPr lang="en-US"/>
          </a:p>
        </p:txBody>
      </p:sp>
      <p:sp>
        <p:nvSpPr>
          <p:cNvPr id="10" name="Isosceles Triangle 9">
            <a:extLst>
              <a:ext uri="{FF2B5EF4-FFF2-40B4-BE49-F238E27FC236}">
                <a16:creationId xmlns:a16="http://schemas.microsoft.com/office/drawing/2014/main" id="{245BF4B1-C4C5-B16B-B960-A7377E4C5F0D}"/>
              </a:ext>
            </a:extLst>
          </p:cNvPr>
          <p:cNvSpPr/>
          <p:nvPr/>
        </p:nvSpPr>
        <p:spPr>
          <a:xfrm>
            <a:off x="4047271" y="5268637"/>
            <a:ext cx="306396" cy="258522"/>
          </a:xfrm>
          <a:prstGeom prst="triangl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344A2B87-7527-AC7A-1648-32641DE02354}"/>
              </a:ext>
            </a:extLst>
          </p:cNvPr>
          <p:cNvSpPr txBox="1"/>
          <p:nvPr/>
        </p:nvSpPr>
        <p:spPr>
          <a:xfrm>
            <a:off x="3764812" y="5527159"/>
            <a:ext cx="871313" cy="369332"/>
          </a:xfrm>
          <a:prstGeom prst="rect">
            <a:avLst/>
          </a:prstGeom>
          <a:noFill/>
        </p:spPr>
        <p:txBody>
          <a:bodyPr wrap="square" rtlCol="0">
            <a:spAutoFit/>
          </a:bodyPr>
          <a:lstStyle/>
          <a:p>
            <a:r>
              <a:rPr lang="en-US" i="1">
                <a:solidFill>
                  <a:srgbClr val="00B050"/>
                </a:solidFill>
              </a:rPr>
              <a:t>Today</a:t>
            </a:r>
          </a:p>
        </p:txBody>
      </p:sp>
    </p:spTree>
    <p:extLst>
      <p:ext uri="{BB962C8B-B14F-4D97-AF65-F5344CB8AC3E}">
        <p14:creationId xmlns:p14="http://schemas.microsoft.com/office/powerpoint/2010/main" val="1871985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D4348-A662-1851-C910-DC6AE2C90CAA}"/>
              </a:ext>
            </a:extLst>
          </p:cNvPr>
          <p:cNvSpPr>
            <a:spLocks noGrp="1"/>
          </p:cNvSpPr>
          <p:nvPr>
            <p:ph type="title"/>
          </p:nvPr>
        </p:nvSpPr>
        <p:spPr/>
        <p:txBody>
          <a:bodyPr/>
          <a:lstStyle/>
          <a:p>
            <a:r>
              <a:rPr lang="en-US"/>
              <a:t>Helpful Links</a:t>
            </a:r>
          </a:p>
        </p:txBody>
      </p:sp>
      <p:graphicFrame>
        <p:nvGraphicFramePr>
          <p:cNvPr id="4" name="Table 4">
            <a:extLst>
              <a:ext uri="{FF2B5EF4-FFF2-40B4-BE49-F238E27FC236}">
                <a16:creationId xmlns:a16="http://schemas.microsoft.com/office/drawing/2014/main" id="{82BDB43C-731F-3F4D-7110-8FB9EB9EA9A2}"/>
              </a:ext>
            </a:extLst>
          </p:cNvPr>
          <p:cNvGraphicFramePr>
            <a:graphicFrameLocks noGrp="1"/>
          </p:cNvGraphicFramePr>
          <p:nvPr>
            <p:extLst>
              <p:ext uri="{D42A27DB-BD31-4B8C-83A1-F6EECF244321}">
                <p14:modId xmlns:p14="http://schemas.microsoft.com/office/powerpoint/2010/main" val="277893908"/>
              </p:ext>
            </p:extLst>
          </p:nvPr>
        </p:nvGraphicFramePr>
        <p:xfrm>
          <a:off x="1037119" y="1171134"/>
          <a:ext cx="10274938" cy="5020479"/>
        </p:xfrm>
        <a:graphic>
          <a:graphicData uri="http://schemas.openxmlformats.org/drawingml/2006/table">
            <a:tbl>
              <a:tblPr firstRow="1" bandRow="1">
                <a:tableStyleId>{2D5ABB26-0587-4C30-8999-92F81FD0307C}</a:tableStyleId>
              </a:tblPr>
              <a:tblGrid>
                <a:gridCol w="246380">
                  <a:extLst>
                    <a:ext uri="{9D8B030D-6E8A-4147-A177-3AD203B41FA5}">
                      <a16:colId xmlns:a16="http://schemas.microsoft.com/office/drawing/2014/main" val="3416254029"/>
                    </a:ext>
                  </a:extLst>
                </a:gridCol>
                <a:gridCol w="4178930">
                  <a:extLst>
                    <a:ext uri="{9D8B030D-6E8A-4147-A177-3AD203B41FA5}">
                      <a16:colId xmlns:a16="http://schemas.microsoft.com/office/drawing/2014/main" val="2588119736"/>
                    </a:ext>
                  </a:extLst>
                </a:gridCol>
                <a:gridCol w="5849628">
                  <a:extLst>
                    <a:ext uri="{9D8B030D-6E8A-4147-A177-3AD203B41FA5}">
                      <a16:colId xmlns:a16="http://schemas.microsoft.com/office/drawing/2014/main" val="2640721202"/>
                    </a:ext>
                  </a:extLst>
                </a:gridCol>
              </a:tblGrid>
              <a:tr h="720508">
                <a:tc>
                  <a:txBody>
                    <a:bodyPr/>
                    <a:lstStyle/>
                    <a:p>
                      <a:endParaRPr lang="en-US">
                        <a:latin typeface="Avenir Book" panose="02000503020000020003"/>
                      </a:endParaRPr>
                    </a:p>
                  </a:txBody>
                  <a:tcPr/>
                </a:tc>
                <a:tc>
                  <a:txBody>
                    <a:bodyPr/>
                    <a:lstStyle/>
                    <a:p>
                      <a:pPr algn="l"/>
                      <a:r>
                        <a:rPr lang="en-US" b="1">
                          <a:latin typeface="Avenir Book" panose="02000503020000020003"/>
                        </a:rPr>
                        <a:t>Resource</a:t>
                      </a:r>
                    </a:p>
                  </a:txBody>
                  <a:tcPr anchor="b">
                    <a:lnB w="19050" cap="flat" cmpd="sng" algn="ctr">
                      <a:solidFill>
                        <a:srgbClr val="205FAB"/>
                      </a:solidFill>
                      <a:prstDash val="solid"/>
                      <a:round/>
                      <a:headEnd type="none" w="med" len="med"/>
                      <a:tailEnd type="none" w="med" len="med"/>
                    </a:lnB>
                  </a:tcPr>
                </a:tc>
                <a:tc>
                  <a:txBody>
                    <a:bodyPr/>
                    <a:lstStyle/>
                    <a:p>
                      <a:pPr algn="l"/>
                      <a:r>
                        <a:rPr lang="en-US" b="1">
                          <a:latin typeface="Avenir Book" panose="02000503020000020003"/>
                        </a:rPr>
                        <a:t>Link</a:t>
                      </a:r>
                    </a:p>
                  </a:txBody>
                  <a:tcPr anchor="b">
                    <a:lnB w="19050" cap="flat" cmpd="sng" algn="ctr">
                      <a:solidFill>
                        <a:srgbClr val="205FAB"/>
                      </a:solidFill>
                      <a:prstDash val="solid"/>
                      <a:round/>
                      <a:headEnd type="none" w="med" len="med"/>
                      <a:tailEnd type="none" w="med" len="med"/>
                    </a:lnB>
                  </a:tcPr>
                </a:tc>
                <a:extLst>
                  <a:ext uri="{0D108BD9-81ED-4DB2-BD59-A6C34878D82A}">
                    <a16:rowId xmlns:a16="http://schemas.microsoft.com/office/drawing/2014/main" val="4019831184"/>
                  </a:ext>
                </a:extLst>
              </a:tr>
              <a:tr h="527621">
                <a:tc>
                  <a:txBody>
                    <a:bodyPr/>
                    <a:lstStyle/>
                    <a:p>
                      <a:endParaRPr lang="en-US">
                        <a:latin typeface="Avenir Book" panose="02000503020000020003"/>
                      </a:endParaRPr>
                    </a:p>
                  </a:txBody>
                  <a:tcPr/>
                </a:tc>
                <a:tc>
                  <a:txBody>
                    <a:bodyPr/>
                    <a:lstStyle/>
                    <a:p>
                      <a:r>
                        <a:rPr lang="en-US" sz="1400">
                          <a:latin typeface="Avenir Book" panose="02000503020000020003"/>
                        </a:rPr>
                        <a:t>IAC Opportunity Announcement (including FAQs)</a:t>
                      </a:r>
                    </a:p>
                  </a:txBody>
                  <a:tcPr anchor="ctr">
                    <a:lnT w="19050" cap="flat" cmpd="sng" algn="ctr">
                      <a:solidFill>
                        <a:srgbClr val="205FAB"/>
                      </a:solidFill>
                      <a:prstDash val="solid"/>
                      <a:round/>
                      <a:headEnd type="none" w="med" len="med"/>
                      <a:tailEnd type="none" w="med" len="med"/>
                    </a:lnT>
                    <a:lnB w="19050" cap="flat" cmpd="sng" algn="ctr">
                      <a:solidFill>
                        <a:schemeClr val="bg2"/>
                      </a:solidFill>
                      <a:prstDash val="dash"/>
                      <a:round/>
                      <a:headEnd type="none" w="med" len="med"/>
                      <a:tailEnd type="none" w="med" len="med"/>
                    </a:lnB>
                  </a:tcPr>
                </a:tc>
                <a:tc>
                  <a:txBody>
                    <a:bodyPr/>
                    <a:lstStyle/>
                    <a:p>
                      <a:r>
                        <a:rPr lang="en-US" sz="1400">
                          <a:latin typeface="Avenir Book" panose="02000503020000020003"/>
                          <a:hlinkClick r:id="rId3"/>
                        </a:rPr>
                        <a:t>DOE Industrial Assessment Centers (IAC) Implementation Grant Program - Open Solicitation | Energywerx</a:t>
                      </a:r>
                      <a:endParaRPr lang="en-US" sz="1400">
                        <a:latin typeface="Avenir Book" panose="02000503020000020003"/>
                      </a:endParaRPr>
                    </a:p>
                  </a:txBody>
                  <a:tcPr anchor="ctr">
                    <a:lnT w="19050" cap="flat" cmpd="sng" algn="ctr">
                      <a:solidFill>
                        <a:srgbClr val="205FAB"/>
                      </a:solidFill>
                      <a:prstDash val="solid"/>
                      <a:round/>
                      <a:headEnd type="none" w="med" len="med"/>
                      <a:tailEnd type="none" w="med" len="med"/>
                    </a:lnT>
                    <a:lnB w="19050" cap="flat" cmpd="sng" algn="ctr">
                      <a:solidFill>
                        <a:schemeClr val="bg2"/>
                      </a:solidFill>
                      <a:prstDash val="dash"/>
                      <a:round/>
                      <a:headEnd type="none" w="med" len="med"/>
                      <a:tailEnd type="none" w="med" len="med"/>
                    </a:lnB>
                  </a:tcPr>
                </a:tc>
                <a:extLst>
                  <a:ext uri="{0D108BD9-81ED-4DB2-BD59-A6C34878D82A}">
                    <a16:rowId xmlns:a16="http://schemas.microsoft.com/office/drawing/2014/main" val="974814593"/>
                  </a:ext>
                </a:extLst>
              </a:tr>
              <a:tr h="527621">
                <a:tc>
                  <a:txBody>
                    <a:bodyPr/>
                    <a:lstStyle/>
                    <a:p>
                      <a:endParaRPr lang="en-US">
                        <a:latin typeface="Avenir Book" panose="02000503020000020003"/>
                      </a:endParaRPr>
                    </a:p>
                  </a:txBody>
                  <a:tcPr/>
                </a:tc>
                <a:tc>
                  <a:txBody>
                    <a:bodyPr/>
                    <a:lstStyle/>
                    <a:p>
                      <a:r>
                        <a:rPr lang="en-US" sz="1400">
                          <a:latin typeface="Avenir Book" panose="02000503020000020003"/>
                        </a:rPr>
                        <a:t>Workstream 1 Application</a:t>
                      </a: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tc>
                  <a:txBody>
                    <a:bodyPr/>
                    <a:lstStyle/>
                    <a:p>
                      <a:r>
                        <a:rPr lang="en-US" sz="1400">
                          <a:latin typeface="Avenir Book" panose="02000503020000020003"/>
                          <a:hlinkClick r:id="rId4"/>
                        </a:rPr>
                        <a:t>ENERGYWERX Submission Manager - Workstream 1: Implementation Grants: 2018-2023 IAC or CHP TAP Assessments (submittable.com)</a:t>
                      </a:r>
                      <a:endParaRPr lang="en-US" sz="1400">
                        <a:latin typeface="Avenir Book" panose="02000503020000020003"/>
                      </a:endParaRP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extLst>
                  <a:ext uri="{0D108BD9-81ED-4DB2-BD59-A6C34878D82A}">
                    <a16:rowId xmlns:a16="http://schemas.microsoft.com/office/drawing/2014/main" val="2378932887"/>
                  </a:ext>
                </a:extLst>
              </a:tr>
              <a:tr h="527621">
                <a:tc>
                  <a:txBody>
                    <a:bodyPr/>
                    <a:lstStyle/>
                    <a:p>
                      <a:endParaRPr lang="en-US">
                        <a:latin typeface="Avenir Book" panose="02000503020000020003"/>
                      </a:endParaRPr>
                    </a:p>
                  </a:txBody>
                  <a:tcPr/>
                </a:tc>
                <a:tc>
                  <a:txBody>
                    <a:bodyPr/>
                    <a:lstStyle/>
                    <a:p>
                      <a:r>
                        <a:rPr lang="en-US" sz="1400">
                          <a:latin typeface="Avenir Book" panose="02000503020000020003"/>
                        </a:rPr>
                        <a:t>Workstream 2 Application</a:t>
                      </a: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tc>
                  <a:txBody>
                    <a:bodyPr/>
                    <a:lstStyle/>
                    <a:p>
                      <a:r>
                        <a:rPr lang="en-US" sz="1400">
                          <a:latin typeface="Avenir Book" panose="02000503020000020003"/>
                          <a:hlinkClick r:id="rId5"/>
                        </a:rPr>
                        <a:t>ENERGYWERX Submission Manager - Workstream 2: Third-Party Assessor Qualification Questionnaire (submittable.com)</a:t>
                      </a:r>
                      <a:endParaRPr lang="en-US" sz="1400">
                        <a:latin typeface="Avenir Book" panose="02000503020000020003"/>
                      </a:endParaRP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extLst>
                  <a:ext uri="{0D108BD9-81ED-4DB2-BD59-A6C34878D82A}">
                    <a16:rowId xmlns:a16="http://schemas.microsoft.com/office/drawing/2014/main" val="3328678961"/>
                  </a:ext>
                </a:extLst>
              </a:tr>
              <a:tr h="616085">
                <a:tc>
                  <a:txBody>
                    <a:bodyPr/>
                    <a:lstStyle/>
                    <a:p>
                      <a:endParaRPr lang="en-US">
                        <a:latin typeface="Avenir Book" panose="02000503020000020003"/>
                      </a:endParaRPr>
                    </a:p>
                  </a:txBody>
                  <a:tcPr/>
                </a:tc>
                <a:tc>
                  <a:txBody>
                    <a:bodyPr/>
                    <a:lstStyle/>
                    <a:p>
                      <a:r>
                        <a:rPr lang="en-US" sz="1400">
                          <a:latin typeface="Avenir Book" panose="02000503020000020003"/>
                        </a:rPr>
                        <a:t>DOE Press Release </a:t>
                      </a: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tc>
                  <a:txBody>
                    <a:bodyPr/>
                    <a:lstStyle/>
                    <a:p>
                      <a:r>
                        <a:rPr lang="en-US" sz="1400">
                          <a:latin typeface="Avenir Book" panose="02000503020000020003"/>
                          <a:hlinkClick r:id="rId6"/>
                        </a:rPr>
                        <a:t>Biden-Harris Administration Announces $80 Million To Strengthen American Manufacturing | Department of Energy</a:t>
                      </a:r>
                      <a:endParaRPr lang="en-US" sz="1400">
                        <a:latin typeface="Avenir Book" panose="02000503020000020003"/>
                      </a:endParaRP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extLst>
                  <a:ext uri="{0D108BD9-81ED-4DB2-BD59-A6C34878D82A}">
                    <a16:rowId xmlns:a16="http://schemas.microsoft.com/office/drawing/2014/main" val="3419863520"/>
                  </a:ext>
                </a:extLst>
              </a:tr>
              <a:tr h="527621">
                <a:tc>
                  <a:txBody>
                    <a:bodyPr/>
                    <a:lstStyle/>
                    <a:p>
                      <a:endParaRPr lang="en-US">
                        <a:latin typeface="Avenir Book" panose="02000503020000020003"/>
                      </a:endParaRPr>
                    </a:p>
                  </a:txBody>
                  <a:tcPr/>
                </a:tc>
                <a:tc>
                  <a:txBody>
                    <a:bodyPr/>
                    <a:lstStyle/>
                    <a:p>
                      <a:r>
                        <a:rPr lang="en-US" sz="1400">
                          <a:latin typeface="Avenir Book" panose="02000503020000020003"/>
                        </a:rPr>
                        <a:t>MESC IAC Implementation Grants </a:t>
                      </a: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tc>
                  <a:txBody>
                    <a:bodyPr/>
                    <a:lstStyle/>
                    <a:p>
                      <a:r>
                        <a:rPr lang="en-US" sz="1400">
                          <a:latin typeface="Avenir Book" panose="02000503020000020003"/>
                          <a:hlinkClick r:id="rId7"/>
                        </a:rPr>
                        <a:t>Industrial Research and Assessment Center Implementation Grants | Department of Energy</a:t>
                      </a:r>
                      <a:endParaRPr lang="en-US" sz="1400">
                        <a:latin typeface="Avenir Book" panose="02000503020000020003"/>
                      </a:endParaRP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extLst>
                  <a:ext uri="{0D108BD9-81ED-4DB2-BD59-A6C34878D82A}">
                    <a16:rowId xmlns:a16="http://schemas.microsoft.com/office/drawing/2014/main" val="3194392510"/>
                  </a:ext>
                </a:extLst>
              </a:tr>
              <a:tr h="527621">
                <a:tc>
                  <a:txBody>
                    <a:bodyPr/>
                    <a:lstStyle/>
                    <a:p>
                      <a:endParaRPr lang="en-US">
                        <a:latin typeface="Avenir Book" panose="02000503020000020003"/>
                      </a:endParaRPr>
                    </a:p>
                  </a:txBody>
                  <a:tcPr/>
                </a:tc>
                <a:tc>
                  <a:txBody>
                    <a:bodyPr/>
                    <a:lstStyle/>
                    <a:p>
                      <a:r>
                        <a:rPr lang="en-US" sz="1400">
                          <a:latin typeface="Avenir Book" panose="02000503020000020003"/>
                        </a:rPr>
                        <a:t>IAC Program </a:t>
                      </a: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tc>
                  <a:txBody>
                    <a:bodyPr/>
                    <a:lstStyle/>
                    <a:p>
                      <a:r>
                        <a:rPr lang="en-US" sz="1400">
                          <a:latin typeface="Avenir Book" panose="02000503020000020003"/>
                          <a:hlinkClick r:id="rId8"/>
                        </a:rPr>
                        <a:t>Industrial Assessment Centers (IACs) | Department of Energy</a:t>
                      </a:r>
                      <a:endParaRPr lang="en-US" sz="1400">
                        <a:latin typeface="Avenir Book" panose="02000503020000020003"/>
                      </a:endParaRP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extLst>
                  <a:ext uri="{0D108BD9-81ED-4DB2-BD59-A6C34878D82A}">
                    <a16:rowId xmlns:a16="http://schemas.microsoft.com/office/drawing/2014/main" val="3219719081"/>
                  </a:ext>
                </a:extLst>
              </a:tr>
              <a:tr h="527621">
                <a:tc>
                  <a:txBody>
                    <a:bodyPr/>
                    <a:lstStyle/>
                    <a:p>
                      <a:endParaRPr lang="en-US">
                        <a:latin typeface="Avenir Book" panose="02000503020000020003"/>
                      </a:endParaRPr>
                    </a:p>
                  </a:txBody>
                  <a:tcPr/>
                </a:tc>
                <a:tc>
                  <a:txBody>
                    <a:bodyPr/>
                    <a:lstStyle/>
                    <a:p>
                      <a:r>
                        <a:rPr lang="en-US" sz="1400">
                          <a:latin typeface="Avenir Book" panose="02000503020000020003"/>
                        </a:rPr>
                        <a:t>CHP TAP Program</a:t>
                      </a: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tc>
                  <a:txBody>
                    <a:bodyPr/>
                    <a:lstStyle/>
                    <a:p>
                      <a:r>
                        <a:rPr lang="en-US" sz="1400">
                          <a:latin typeface="Avenir Book" panose="02000503020000020003"/>
                          <a:hlinkClick r:id="rId9"/>
                        </a:rPr>
                        <a:t>CHP Technical Assistance Partnerships (CHP TAPs) | Better Buildings Initiative (energy.gov)</a:t>
                      </a:r>
                      <a:endParaRPr lang="en-US" sz="1400">
                        <a:latin typeface="Avenir Book" panose="02000503020000020003"/>
                      </a:endParaRPr>
                    </a:p>
                  </a:txBody>
                  <a:tcPr anchor="ctr">
                    <a:lnT w="19050" cap="flat" cmpd="sng" algn="ctr">
                      <a:solidFill>
                        <a:schemeClr val="bg2"/>
                      </a:solidFill>
                      <a:prstDash val="dash"/>
                      <a:round/>
                      <a:headEnd type="none" w="med" len="med"/>
                      <a:tailEnd type="none" w="med" len="med"/>
                    </a:lnT>
                    <a:lnB w="19050" cap="flat" cmpd="sng" algn="ctr">
                      <a:solidFill>
                        <a:schemeClr val="bg2"/>
                      </a:solidFill>
                      <a:prstDash val="dash"/>
                      <a:round/>
                      <a:headEnd type="none" w="med" len="med"/>
                      <a:tailEnd type="none" w="med" len="med"/>
                    </a:lnB>
                  </a:tcPr>
                </a:tc>
                <a:extLst>
                  <a:ext uri="{0D108BD9-81ED-4DB2-BD59-A6C34878D82A}">
                    <a16:rowId xmlns:a16="http://schemas.microsoft.com/office/drawing/2014/main" val="3688261723"/>
                  </a:ext>
                </a:extLst>
              </a:tr>
              <a:tr h="379572">
                <a:tc>
                  <a:txBody>
                    <a:bodyPr/>
                    <a:lstStyle/>
                    <a:p>
                      <a:endParaRPr lang="en-US">
                        <a:latin typeface="Avenir Book" panose="02000503020000020003"/>
                      </a:endParaRPr>
                    </a:p>
                  </a:txBody>
                  <a:tcPr/>
                </a:tc>
                <a:tc>
                  <a:txBody>
                    <a:bodyPr/>
                    <a:lstStyle/>
                    <a:p>
                      <a:r>
                        <a:rPr lang="en-US" sz="1400">
                          <a:latin typeface="Avenir Book" panose="02000503020000020003"/>
                        </a:rPr>
                        <a:t>Sign up for MESC Alerts for future funding Opportunities</a:t>
                      </a:r>
                    </a:p>
                  </a:txBody>
                  <a:tcPr anchor="ctr">
                    <a:lnT w="19050" cap="flat" cmpd="sng" algn="ctr">
                      <a:solidFill>
                        <a:schemeClr val="bg2"/>
                      </a:solidFill>
                      <a:prstDash val="dash"/>
                      <a:round/>
                      <a:headEnd type="none" w="med" len="med"/>
                      <a:tailEnd type="none" w="med" len="med"/>
                    </a:lnT>
                  </a:tcPr>
                </a:tc>
                <a:tc>
                  <a:txBody>
                    <a:bodyPr/>
                    <a:lstStyle/>
                    <a:p>
                      <a:r>
                        <a:rPr lang="en-US" sz="1400">
                          <a:latin typeface="Avenir Book" panose="02000503020000020003"/>
                          <a:hlinkClick r:id="rId10"/>
                        </a:rPr>
                        <a:t>DOE Office of Manufacturing and Energy Supply Chains (govdelivery.com)</a:t>
                      </a:r>
                      <a:endParaRPr lang="en-US" sz="1400">
                        <a:latin typeface="Avenir Book" panose="02000503020000020003"/>
                      </a:endParaRPr>
                    </a:p>
                  </a:txBody>
                  <a:tcPr anchor="ctr">
                    <a:lnT w="19050" cap="flat" cmpd="sng" algn="ctr">
                      <a:solidFill>
                        <a:schemeClr val="bg2"/>
                      </a:solidFill>
                      <a:prstDash val="dash"/>
                      <a:round/>
                      <a:headEnd type="none" w="med" len="med"/>
                      <a:tailEnd type="none" w="med" len="med"/>
                    </a:lnT>
                  </a:tcPr>
                </a:tc>
                <a:extLst>
                  <a:ext uri="{0D108BD9-81ED-4DB2-BD59-A6C34878D82A}">
                    <a16:rowId xmlns:a16="http://schemas.microsoft.com/office/drawing/2014/main" val="4140856541"/>
                  </a:ext>
                </a:extLst>
              </a:tr>
            </a:tbl>
          </a:graphicData>
        </a:graphic>
      </p:graphicFrame>
      <p:pic>
        <p:nvPicPr>
          <p:cNvPr id="6" name="Graphic 5" descr="Badge 8 with solid fill">
            <a:extLst>
              <a:ext uri="{FF2B5EF4-FFF2-40B4-BE49-F238E27FC236}">
                <a16:creationId xmlns:a16="http://schemas.microsoft.com/office/drawing/2014/main" id="{740A2B55-6784-1E95-9C46-C5662C34A05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2573" y="5686866"/>
            <a:ext cx="457200" cy="457200"/>
          </a:xfrm>
          <a:prstGeom prst="rect">
            <a:avLst/>
          </a:prstGeom>
        </p:spPr>
      </p:pic>
      <p:pic>
        <p:nvPicPr>
          <p:cNvPr id="8" name="Graphic 7" descr="Badge 6 with solid fill">
            <a:extLst>
              <a:ext uri="{FF2B5EF4-FFF2-40B4-BE49-F238E27FC236}">
                <a16:creationId xmlns:a16="http://schemas.microsoft.com/office/drawing/2014/main" id="{44523C91-9627-9199-B222-882EDB61C65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22573" y="4661262"/>
            <a:ext cx="457200" cy="457200"/>
          </a:xfrm>
          <a:prstGeom prst="rect">
            <a:avLst/>
          </a:prstGeom>
        </p:spPr>
      </p:pic>
      <p:pic>
        <p:nvPicPr>
          <p:cNvPr id="10" name="Graphic 9" descr="Badge with solid fill">
            <a:extLst>
              <a:ext uri="{FF2B5EF4-FFF2-40B4-BE49-F238E27FC236}">
                <a16:creationId xmlns:a16="http://schemas.microsoft.com/office/drawing/2014/main" id="{66606473-03B9-48D7-37D3-EEF4404CD9E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22573" y="2473838"/>
            <a:ext cx="457200" cy="457200"/>
          </a:xfrm>
          <a:prstGeom prst="rect">
            <a:avLst/>
          </a:prstGeom>
        </p:spPr>
      </p:pic>
      <p:pic>
        <p:nvPicPr>
          <p:cNvPr id="12" name="Graphic 11" descr="Badge 3 with solid fill">
            <a:extLst>
              <a:ext uri="{FF2B5EF4-FFF2-40B4-BE49-F238E27FC236}">
                <a16:creationId xmlns:a16="http://schemas.microsoft.com/office/drawing/2014/main" id="{6CAFAACD-08D7-C361-A5B8-ADE8CDBCD3A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22573" y="3002891"/>
            <a:ext cx="457200" cy="457200"/>
          </a:xfrm>
          <a:prstGeom prst="rect">
            <a:avLst/>
          </a:prstGeom>
        </p:spPr>
      </p:pic>
      <p:pic>
        <p:nvPicPr>
          <p:cNvPr id="14" name="Graphic 13" descr="Badge 4 with solid fill">
            <a:extLst>
              <a:ext uri="{FF2B5EF4-FFF2-40B4-BE49-F238E27FC236}">
                <a16:creationId xmlns:a16="http://schemas.microsoft.com/office/drawing/2014/main" id="{B6825F11-D20A-F03A-249A-E2DDF10229F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22573" y="3558578"/>
            <a:ext cx="457200" cy="457200"/>
          </a:xfrm>
          <a:prstGeom prst="rect">
            <a:avLst/>
          </a:prstGeom>
        </p:spPr>
      </p:pic>
      <p:pic>
        <p:nvPicPr>
          <p:cNvPr id="16" name="Graphic 15" descr="Badge 5 with solid fill">
            <a:extLst>
              <a:ext uri="{FF2B5EF4-FFF2-40B4-BE49-F238E27FC236}">
                <a16:creationId xmlns:a16="http://schemas.microsoft.com/office/drawing/2014/main" id="{D5E54B60-16A5-A5BC-C367-232BEFA25D7E}"/>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22573" y="4114411"/>
            <a:ext cx="457200" cy="457200"/>
          </a:xfrm>
          <a:prstGeom prst="rect">
            <a:avLst/>
          </a:prstGeom>
        </p:spPr>
      </p:pic>
      <p:pic>
        <p:nvPicPr>
          <p:cNvPr id="18" name="Graphic 17" descr="Badge 1 with solid fill">
            <a:extLst>
              <a:ext uri="{FF2B5EF4-FFF2-40B4-BE49-F238E27FC236}">
                <a16:creationId xmlns:a16="http://schemas.microsoft.com/office/drawing/2014/main" id="{DF81A289-2D06-7327-7D5C-474CC5AE862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22573" y="1944785"/>
            <a:ext cx="457200" cy="457200"/>
          </a:xfrm>
          <a:prstGeom prst="rect">
            <a:avLst/>
          </a:prstGeom>
        </p:spPr>
      </p:pic>
      <p:pic>
        <p:nvPicPr>
          <p:cNvPr id="20" name="Graphic 19" descr="Badge 7 with solid fill">
            <a:extLst>
              <a:ext uri="{FF2B5EF4-FFF2-40B4-BE49-F238E27FC236}">
                <a16:creationId xmlns:a16="http://schemas.microsoft.com/office/drawing/2014/main" id="{01FB19AB-CD07-FA2C-0581-73799593764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22573" y="5174064"/>
            <a:ext cx="457200" cy="457200"/>
          </a:xfrm>
          <a:prstGeom prst="rect">
            <a:avLst/>
          </a:prstGeom>
        </p:spPr>
      </p:pic>
    </p:spTree>
    <p:extLst>
      <p:ext uri="{BB962C8B-B14F-4D97-AF65-F5344CB8AC3E}">
        <p14:creationId xmlns:p14="http://schemas.microsoft.com/office/powerpoint/2010/main" val="3067519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40F2D7EC-8555-CE77-A141-EF4AFABDA2C2}"/>
              </a:ext>
            </a:extLst>
          </p:cNvPr>
          <p:cNvSpPr>
            <a:spLocks noGrp="1"/>
          </p:cNvSpPr>
          <p:nvPr>
            <p:ph type="subTitle" idx="1"/>
          </p:nvPr>
        </p:nvSpPr>
        <p:spPr>
          <a:xfrm>
            <a:off x="372862" y="1726209"/>
            <a:ext cx="5723138" cy="3911112"/>
          </a:xfrm>
        </p:spPr>
        <p:txBody>
          <a:bodyPr anchor="ctr">
            <a:normAutofit/>
          </a:bodyPr>
          <a:lstStyle/>
          <a:p>
            <a:pPr marL="0" indent="0">
              <a:spcAft>
                <a:spcPts val="600"/>
              </a:spcAft>
              <a:buNone/>
            </a:pPr>
            <a:r>
              <a:rPr lang="en-US" sz="4000" b="1">
                <a:solidFill>
                  <a:schemeClr val="tx1"/>
                </a:solidFill>
              </a:rPr>
              <a:t>Questions?</a:t>
            </a:r>
            <a:endParaRPr lang="en-US" sz="2600" b="1">
              <a:solidFill>
                <a:schemeClr val="tx1"/>
              </a:solidFill>
            </a:endParaRPr>
          </a:p>
          <a:p>
            <a:pPr marL="0" indent="0">
              <a:spcAft>
                <a:spcPts val="600"/>
              </a:spcAft>
              <a:buNone/>
            </a:pPr>
            <a:r>
              <a:rPr lang="en-US" sz="3600" b="1"/>
              <a:t>Email: </a:t>
            </a:r>
            <a:r>
              <a:rPr lang="en-US" sz="3600" b="1">
                <a:hlinkClick r:id="rId2"/>
              </a:rPr>
              <a:t>info@energy</a:t>
            </a:r>
            <a:r>
              <a:rPr lang="en-US" sz="3600">
                <a:hlinkClick r:id="rId2"/>
              </a:rPr>
              <a:t>werx.org</a:t>
            </a:r>
            <a:endParaRPr lang="en-US" sz="2400"/>
          </a:p>
          <a:p>
            <a:pPr marL="0" indent="0">
              <a:spcAft>
                <a:spcPts val="600"/>
              </a:spcAft>
              <a:buNone/>
            </a:pPr>
            <a:r>
              <a:rPr lang="en-US" sz="3600" b="1"/>
              <a:t>Thank you!</a:t>
            </a:r>
          </a:p>
          <a:p>
            <a:endParaRPr lang="en-US"/>
          </a:p>
        </p:txBody>
      </p:sp>
      <p:sp>
        <p:nvSpPr>
          <p:cNvPr id="4" name="Slide Number Placeholder 3">
            <a:extLst>
              <a:ext uri="{FF2B5EF4-FFF2-40B4-BE49-F238E27FC236}">
                <a16:creationId xmlns:a16="http://schemas.microsoft.com/office/drawing/2014/main" id="{08797D2F-F7AC-A47D-7EDA-40C3ECA29F1C}"/>
              </a:ext>
            </a:extLst>
          </p:cNvPr>
          <p:cNvSpPr>
            <a:spLocks noGrp="1"/>
          </p:cNvSpPr>
          <p:nvPr>
            <p:ph type="sldNum" sz="quarter" idx="4294967295"/>
          </p:nvPr>
        </p:nvSpPr>
        <p:spPr>
          <a:xfrm>
            <a:off x="0" y="6530975"/>
            <a:ext cx="508000" cy="153988"/>
          </a:xfrm>
        </p:spPr>
        <p:txBody>
          <a:bodyPr/>
          <a:lstStyle/>
          <a:p>
            <a:fld id="{02B5F485-982A-41B4-B657-C5770F0E9220}" type="slidenum">
              <a:rPr lang="en-US" smtClean="0"/>
              <a:pPr/>
              <a:t>17</a:t>
            </a:fld>
            <a:endParaRPr lang="en-US"/>
          </a:p>
        </p:txBody>
      </p:sp>
    </p:spTree>
    <p:extLst>
      <p:ext uri="{BB962C8B-B14F-4D97-AF65-F5344CB8AC3E}">
        <p14:creationId xmlns:p14="http://schemas.microsoft.com/office/powerpoint/2010/main" val="3007873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0C39EC-95AA-DB8D-96EF-3EB3995E36E3}"/>
              </a:ext>
            </a:extLst>
          </p:cNvPr>
          <p:cNvSpPr>
            <a:spLocks noGrp="1"/>
          </p:cNvSpPr>
          <p:nvPr>
            <p:ph type="title"/>
          </p:nvPr>
        </p:nvSpPr>
        <p:spPr>
          <a:xfrm>
            <a:off x="822961" y="1430529"/>
            <a:ext cx="4838804" cy="1846659"/>
          </a:xfrm>
        </p:spPr>
        <p:txBody>
          <a:bodyPr/>
          <a:lstStyle/>
          <a:p>
            <a:r>
              <a:rPr lang="en-US">
                <a:solidFill>
                  <a:schemeClr val="bg1"/>
                </a:solidFill>
              </a:rPr>
              <a:t>Connect </a:t>
            </a:r>
            <a:br>
              <a:rPr lang="en-US">
                <a:solidFill>
                  <a:schemeClr val="bg1"/>
                </a:solidFill>
              </a:rPr>
            </a:br>
            <a:r>
              <a:rPr lang="en-US">
                <a:solidFill>
                  <a:schemeClr val="bg1"/>
                </a:solidFill>
              </a:rPr>
              <a:t>With MESC</a:t>
            </a:r>
          </a:p>
        </p:txBody>
      </p:sp>
    </p:spTree>
    <p:extLst>
      <p:ext uri="{BB962C8B-B14F-4D97-AF65-F5344CB8AC3E}">
        <p14:creationId xmlns:p14="http://schemas.microsoft.com/office/powerpoint/2010/main" val="24922990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a:extLst>
              <a:ext uri="{FF2B5EF4-FFF2-40B4-BE49-F238E27FC236}">
                <a16:creationId xmlns:a16="http://schemas.microsoft.com/office/drawing/2014/main" id="{D60F7E13-9D51-CD92-4845-5801594B3A79}"/>
              </a:ext>
            </a:extLst>
          </p:cNvPr>
          <p:cNvSpPr>
            <a:spLocks noGrp="1"/>
          </p:cNvSpPr>
          <p:nvPr>
            <p:ph type="subTitle" idx="1"/>
          </p:nvPr>
        </p:nvSpPr>
        <p:spPr/>
        <p:txBody>
          <a:bodyPr anchor="ctr"/>
          <a:lstStyle/>
          <a:p>
            <a:r>
              <a:rPr lang="en-US"/>
              <a:t>Appendix</a:t>
            </a:r>
          </a:p>
        </p:txBody>
      </p:sp>
      <p:sp>
        <p:nvSpPr>
          <p:cNvPr id="2" name="Slide Number Placeholder 1">
            <a:extLst>
              <a:ext uri="{FF2B5EF4-FFF2-40B4-BE49-F238E27FC236}">
                <a16:creationId xmlns:a16="http://schemas.microsoft.com/office/drawing/2014/main" id="{0FEAE464-445E-3A7A-9379-3B4B023795A4}"/>
              </a:ext>
            </a:extLst>
          </p:cNvPr>
          <p:cNvSpPr>
            <a:spLocks noGrp="1"/>
          </p:cNvSpPr>
          <p:nvPr>
            <p:ph type="sldNum" sz="quarter" idx="4294967295"/>
          </p:nvPr>
        </p:nvSpPr>
        <p:spPr>
          <a:xfrm>
            <a:off x="0" y="6530975"/>
            <a:ext cx="508000" cy="153988"/>
          </a:xfrm>
        </p:spPr>
        <p:txBody>
          <a:bodyPr/>
          <a:lstStyle/>
          <a:p>
            <a:fld id="{02B5F485-982A-41B4-B657-C5770F0E9220}" type="slidenum">
              <a:rPr lang="en-US" smtClean="0"/>
              <a:pPr/>
              <a:t>19</a:t>
            </a:fld>
            <a:endParaRPr lang="en-US"/>
          </a:p>
        </p:txBody>
      </p:sp>
    </p:spTree>
    <p:extLst>
      <p:ext uri="{BB962C8B-B14F-4D97-AF65-F5344CB8AC3E}">
        <p14:creationId xmlns:p14="http://schemas.microsoft.com/office/powerpoint/2010/main" val="2519797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6169BE-9A87-663F-D39C-F675D07A2E5F}"/>
              </a:ext>
            </a:extLst>
          </p:cNvPr>
          <p:cNvPicPr>
            <a:picLocks noChangeAspect="1"/>
          </p:cNvPicPr>
          <p:nvPr/>
        </p:nvPicPr>
        <p:blipFill>
          <a:blip r:embed="rId2"/>
          <a:stretch>
            <a:fillRect/>
          </a:stretch>
        </p:blipFill>
        <p:spPr>
          <a:xfrm>
            <a:off x="1328645" y="1528516"/>
            <a:ext cx="3146599" cy="4262141"/>
          </a:xfrm>
          <a:prstGeom prst="rect">
            <a:avLst/>
          </a:prstGeom>
        </p:spPr>
      </p:pic>
      <p:sp>
        <p:nvSpPr>
          <p:cNvPr id="4" name="TextBox 3">
            <a:extLst>
              <a:ext uri="{FF2B5EF4-FFF2-40B4-BE49-F238E27FC236}">
                <a16:creationId xmlns:a16="http://schemas.microsoft.com/office/drawing/2014/main" id="{44E3B1EB-46E6-A2CE-71E2-4C5DEFA3CC4B}"/>
              </a:ext>
            </a:extLst>
          </p:cNvPr>
          <p:cNvSpPr txBox="1"/>
          <p:nvPr/>
        </p:nvSpPr>
        <p:spPr>
          <a:xfrm>
            <a:off x="922351" y="485030"/>
            <a:ext cx="4962833" cy="646331"/>
          </a:xfrm>
          <a:prstGeom prst="rect">
            <a:avLst/>
          </a:prstGeom>
          <a:noFill/>
        </p:spPr>
        <p:txBody>
          <a:bodyPr wrap="none" rtlCol="0">
            <a:spAutoFit/>
          </a:bodyPr>
          <a:lstStyle/>
          <a:p>
            <a:r>
              <a:rPr lang="en-US" sz="3600"/>
              <a:t>Submit Questions in </a:t>
            </a:r>
            <a:r>
              <a:rPr lang="en-US" sz="3600" err="1"/>
              <a:t>Slido</a:t>
            </a:r>
            <a:endParaRPr lang="en-US" sz="3600"/>
          </a:p>
        </p:txBody>
      </p:sp>
      <p:sp>
        <p:nvSpPr>
          <p:cNvPr id="5" name="TextBox 4">
            <a:extLst>
              <a:ext uri="{FF2B5EF4-FFF2-40B4-BE49-F238E27FC236}">
                <a16:creationId xmlns:a16="http://schemas.microsoft.com/office/drawing/2014/main" id="{370DA94A-F0C9-5E6C-8907-5CA5558ABB2A}"/>
              </a:ext>
            </a:extLst>
          </p:cNvPr>
          <p:cNvSpPr txBox="1"/>
          <p:nvPr/>
        </p:nvSpPr>
        <p:spPr>
          <a:xfrm>
            <a:off x="4770783" y="1868557"/>
            <a:ext cx="5628336" cy="646331"/>
          </a:xfrm>
          <a:prstGeom prst="rect">
            <a:avLst/>
          </a:prstGeom>
          <a:noFill/>
        </p:spPr>
        <p:txBody>
          <a:bodyPr wrap="none" lIns="91440" tIns="45720" rIns="91440" bIns="45720" rtlCol="0" anchor="t">
            <a:spAutoFit/>
          </a:bodyPr>
          <a:lstStyle/>
          <a:p>
            <a:r>
              <a:rPr lang="en-US"/>
              <a:t>Visit </a:t>
            </a:r>
            <a:r>
              <a:rPr lang="en-US">
                <a:ea typeface="+mn-lt"/>
                <a:cs typeface="+mn-lt"/>
              </a:rPr>
              <a:t>https://app.sli.do/event/8KJPUZk1Mp5SJvMf8WnTyK</a:t>
            </a:r>
            <a:endParaRPr lang="en-US"/>
          </a:p>
          <a:p>
            <a:r>
              <a:rPr lang="en-US"/>
              <a:t>or scan the QR code below:</a:t>
            </a:r>
          </a:p>
        </p:txBody>
      </p:sp>
      <p:cxnSp>
        <p:nvCxnSpPr>
          <p:cNvPr id="12" name="Straight Arrow Connector 11">
            <a:extLst>
              <a:ext uri="{FF2B5EF4-FFF2-40B4-BE49-F238E27FC236}">
                <a16:creationId xmlns:a16="http://schemas.microsoft.com/office/drawing/2014/main" id="{126FC97B-0E37-673D-555E-B76890D03A6E}"/>
              </a:ext>
            </a:extLst>
          </p:cNvPr>
          <p:cNvCxnSpPr/>
          <p:nvPr/>
        </p:nvCxnSpPr>
        <p:spPr>
          <a:xfrm flipH="1">
            <a:off x="4174435" y="3659586"/>
            <a:ext cx="667909" cy="7454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D3BDCC1-F451-102E-F8A8-9023F5ABA68A}"/>
              </a:ext>
            </a:extLst>
          </p:cNvPr>
          <p:cNvSpPr txBox="1"/>
          <p:nvPr/>
        </p:nvSpPr>
        <p:spPr>
          <a:xfrm>
            <a:off x="4842344" y="4494128"/>
            <a:ext cx="6289927" cy="923330"/>
          </a:xfrm>
          <a:prstGeom prst="rect">
            <a:avLst/>
          </a:prstGeom>
          <a:noFill/>
        </p:spPr>
        <p:txBody>
          <a:bodyPr wrap="none" lIns="91440" tIns="45720" rIns="91440" bIns="45720" rtlCol="0" anchor="t">
            <a:spAutoFit/>
          </a:bodyPr>
          <a:lstStyle/>
          <a:p>
            <a:r>
              <a:rPr lang="en-US"/>
              <a:t>OR go to </a:t>
            </a:r>
            <a:r>
              <a:rPr lang="en-US">
                <a:hlinkClick r:id="rId3"/>
              </a:rPr>
              <a:t>www.slido.com</a:t>
            </a:r>
            <a:endParaRPr lang="en-US"/>
          </a:p>
          <a:p>
            <a:r>
              <a:rPr lang="en-US"/>
              <a:t>Using your mobile device or web browser and enter event code</a:t>
            </a:r>
            <a:br>
              <a:rPr lang="en-US"/>
            </a:br>
            <a:r>
              <a:rPr lang="en-US" sz="1800" b="1">
                <a:effectLst/>
                <a:latin typeface="Calibri"/>
                <a:ea typeface="Calibri" panose="020F0502020204030204" pitchFamily="34" charset="0"/>
                <a:cs typeface="Times New Roman"/>
              </a:rPr>
              <a:t>#</a:t>
            </a:r>
            <a:r>
              <a:rPr lang="en-US" sz="1400" b="1">
                <a:ea typeface="+mn-lt"/>
                <a:cs typeface="+mn-lt"/>
              </a:rPr>
              <a:t>Dec7OfficeHours</a:t>
            </a:r>
            <a:endParaRPr lang="en-US" sz="1400" b="1">
              <a:ea typeface="+mn-lt"/>
              <a:cs typeface="Times New Roman"/>
            </a:endParaRPr>
          </a:p>
        </p:txBody>
      </p:sp>
      <p:sp>
        <p:nvSpPr>
          <p:cNvPr id="15" name="TextBox 14">
            <a:extLst>
              <a:ext uri="{FF2B5EF4-FFF2-40B4-BE49-F238E27FC236}">
                <a16:creationId xmlns:a16="http://schemas.microsoft.com/office/drawing/2014/main" id="{FE8ACF7C-AE05-0A0F-5D28-8B818376298A}"/>
              </a:ext>
            </a:extLst>
          </p:cNvPr>
          <p:cNvSpPr txBox="1"/>
          <p:nvPr/>
        </p:nvSpPr>
        <p:spPr>
          <a:xfrm>
            <a:off x="9493858" y="5719095"/>
            <a:ext cx="2614177" cy="923330"/>
          </a:xfrm>
          <a:prstGeom prst="rect">
            <a:avLst/>
          </a:prstGeom>
          <a:noFill/>
        </p:spPr>
        <p:txBody>
          <a:bodyPr wrap="none" rtlCol="0">
            <a:spAutoFit/>
          </a:bodyPr>
          <a:lstStyle/>
          <a:p>
            <a:r>
              <a:rPr lang="en-US"/>
              <a:t>Send </a:t>
            </a:r>
            <a:r>
              <a:rPr lang="en-US" b="1">
                <a:solidFill>
                  <a:schemeClr val="accent1">
                    <a:lumMod val="75000"/>
                  </a:schemeClr>
                </a:solidFill>
              </a:rPr>
              <a:t>technical assistance</a:t>
            </a:r>
          </a:p>
          <a:p>
            <a:r>
              <a:rPr lang="en-US"/>
              <a:t>Questions in TEAMS CHAT</a:t>
            </a:r>
          </a:p>
          <a:p>
            <a:r>
              <a:rPr lang="en-US"/>
              <a:t>To </a:t>
            </a:r>
            <a:r>
              <a:rPr lang="en-US" b="1" u="sng">
                <a:solidFill>
                  <a:schemeClr val="accent1">
                    <a:lumMod val="75000"/>
                  </a:schemeClr>
                </a:solidFill>
              </a:rPr>
              <a:t>Host</a:t>
            </a:r>
          </a:p>
        </p:txBody>
      </p:sp>
      <p:sp>
        <p:nvSpPr>
          <p:cNvPr id="16" name="Arc 15">
            <a:extLst>
              <a:ext uri="{FF2B5EF4-FFF2-40B4-BE49-F238E27FC236}">
                <a16:creationId xmlns:a16="http://schemas.microsoft.com/office/drawing/2014/main" id="{DAFAAE9A-0555-ADA7-B9A9-C2006B8BAE19}"/>
              </a:ext>
            </a:extLst>
          </p:cNvPr>
          <p:cNvSpPr/>
          <p:nvPr/>
        </p:nvSpPr>
        <p:spPr>
          <a:xfrm rot="16831145">
            <a:off x="9538777" y="4848375"/>
            <a:ext cx="2721778" cy="3735510"/>
          </a:xfrm>
          <a:prstGeom prst="arc">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pic>
        <p:nvPicPr>
          <p:cNvPr id="18" name="Picture 17" descr="A blue text on a black background&#10;&#10;Description automatically generated">
            <a:extLst>
              <a:ext uri="{FF2B5EF4-FFF2-40B4-BE49-F238E27FC236}">
                <a16:creationId xmlns:a16="http://schemas.microsoft.com/office/drawing/2014/main" id="{E90E3F33-497E-09E9-EB59-515340CC9A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44131" y="5534420"/>
            <a:ext cx="5099437" cy="1014147"/>
          </a:xfrm>
          <a:prstGeom prst="rect">
            <a:avLst/>
          </a:prstGeom>
        </p:spPr>
      </p:pic>
      <p:pic>
        <p:nvPicPr>
          <p:cNvPr id="2" name="Picture 1" descr="A qr code with a few squares&#10;&#10;Description automatically generated">
            <a:extLst>
              <a:ext uri="{FF2B5EF4-FFF2-40B4-BE49-F238E27FC236}">
                <a16:creationId xmlns:a16="http://schemas.microsoft.com/office/drawing/2014/main" id="{357109A6-5A57-C116-DB40-2D381678BD4F}"/>
              </a:ext>
            </a:extLst>
          </p:cNvPr>
          <p:cNvPicPr>
            <a:picLocks noChangeAspect="1"/>
          </p:cNvPicPr>
          <p:nvPr/>
        </p:nvPicPr>
        <p:blipFill>
          <a:blip r:embed="rId5"/>
          <a:stretch>
            <a:fillRect/>
          </a:stretch>
        </p:blipFill>
        <p:spPr>
          <a:xfrm>
            <a:off x="4901920" y="2469382"/>
            <a:ext cx="1952731" cy="1961103"/>
          </a:xfrm>
          <a:prstGeom prst="rect">
            <a:avLst/>
          </a:prstGeom>
        </p:spPr>
      </p:pic>
    </p:spTree>
    <p:extLst>
      <p:ext uri="{BB962C8B-B14F-4D97-AF65-F5344CB8AC3E}">
        <p14:creationId xmlns:p14="http://schemas.microsoft.com/office/powerpoint/2010/main" val="15771120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4B1D69-2956-3244-232E-E9122105A131}"/>
              </a:ext>
            </a:extLst>
          </p:cNvPr>
          <p:cNvSpPr>
            <a:spLocks noGrp="1"/>
          </p:cNvSpPr>
          <p:nvPr>
            <p:ph sz="half" idx="1"/>
          </p:nvPr>
        </p:nvSpPr>
        <p:spPr>
          <a:xfrm>
            <a:off x="776060" y="2304661"/>
            <a:ext cx="4881465" cy="3378814"/>
          </a:xfrm>
        </p:spPr>
        <p:txBody>
          <a:bodyPr>
            <a:normAutofit fontScale="85000" lnSpcReduction="10000"/>
          </a:bodyPr>
          <a:lstStyle/>
          <a:p>
            <a:pPr marL="342900" indent="-342900">
              <a:spcAft>
                <a:spcPts val="400"/>
              </a:spcAft>
              <a:buFont typeface="+mj-lt"/>
              <a:buAutoNum type="arabicPeriod"/>
            </a:pPr>
            <a:r>
              <a:rPr lang="en-US" sz="2400" b="0">
                <a:solidFill>
                  <a:schemeClr val="accent5"/>
                </a:solidFill>
                <a:latin typeface="Avenir Book"/>
              </a:rPr>
              <a:t>Pre-assessment information gathering</a:t>
            </a:r>
          </a:p>
          <a:p>
            <a:pPr marL="342900" indent="-342900">
              <a:spcAft>
                <a:spcPts val="400"/>
              </a:spcAft>
              <a:buFont typeface="+mj-lt"/>
              <a:buAutoNum type="arabicPeriod"/>
            </a:pPr>
            <a:r>
              <a:rPr lang="en-US" sz="2400">
                <a:solidFill>
                  <a:schemeClr val="accent5"/>
                </a:solidFill>
                <a:latin typeface="Avenir Book"/>
              </a:rPr>
              <a:t>Engagement with key plant personnel</a:t>
            </a:r>
          </a:p>
          <a:p>
            <a:pPr marL="342900" indent="-342900">
              <a:spcAft>
                <a:spcPts val="400"/>
              </a:spcAft>
              <a:buFont typeface="+mj-lt"/>
              <a:buAutoNum type="arabicPeriod"/>
            </a:pPr>
            <a:r>
              <a:rPr lang="en-US" sz="2400">
                <a:solidFill>
                  <a:schemeClr val="accent5"/>
                </a:solidFill>
                <a:latin typeface="Avenir Book"/>
              </a:rPr>
              <a:t>Pre-assessment data analysis</a:t>
            </a:r>
          </a:p>
          <a:p>
            <a:pPr marL="342900" indent="-342900">
              <a:spcAft>
                <a:spcPts val="400"/>
              </a:spcAft>
              <a:buFont typeface="+mj-lt"/>
              <a:buAutoNum type="arabicPeriod"/>
            </a:pPr>
            <a:r>
              <a:rPr lang="en-US" sz="2400">
                <a:solidFill>
                  <a:schemeClr val="accent5"/>
                </a:solidFill>
                <a:latin typeface="Avenir Book"/>
              </a:rPr>
              <a:t>Comprehensive facility assessment (across tech areas)</a:t>
            </a:r>
          </a:p>
          <a:p>
            <a:pPr marL="342900" indent="-342900">
              <a:spcAft>
                <a:spcPts val="400"/>
              </a:spcAft>
              <a:buFont typeface="+mj-lt"/>
              <a:buAutoNum type="arabicPeriod"/>
            </a:pPr>
            <a:r>
              <a:rPr lang="en-US" sz="2400">
                <a:solidFill>
                  <a:schemeClr val="accent5"/>
                </a:solidFill>
                <a:latin typeface="Avenir Book"/>
              </a:rPr>
              <a:t>Clear, vendor-agnostic recommendations based on transparent calculations</a:t>
            </a:r>
          </a:p>
          <a:p>
            <a:pPr marL="342900" indent="-342900">
              <a:spcAft>
                <a:spcPts val="400"/>
              </a:spcAft>
              <a:buFont typeface="+mj-lt"/>
              <a:buAutoNum type="arabicPeriod"/>
            </a:pPr>
            <a:r>
              <a:rPr lang="en-US" sz="2400">
                <a:solidFill>
                  <a:schemeClr val="accent5"/>
                </a:solidFill>
                <a:latin typeface="Avenir Book"/>
              </a:rPr>
              <a:t>Post-assessment follow-up</a:t>
            </a:r>
          </a:p>
          <a:p>
            <a:pPr marL="342900" indent="-342900">
              <a:spcAft>
                <a:spcPts val="400"/>
              </a:spcAft>
              <a:buFont typeface="+mj-lt"/>
              <a:buAutoNum type="arabicPeriod"/>
            </a:pPr>
            <a:r>
              <a:rPr lang="en-US" sz="2400">
                <a:solidFill>
                  <a:schemeClr val="accent5"/>
                </a:solidFill>
                <a:latin typeface="Avenir Book"/>
              </a:rPr>
              <a:t>Workforce development, SMM affordability</a:t>
            </a:r>
            <a:endParaRPr lang="en-US" sz="2400" b="1">
              <a:latin typeface="Avenir Book"/>
            </a:endParaRPr>
          </a:p>
          <a:p>
            <a:endParaRPr lang="en-US">
              <a:latin typeface="Avenir Book"/>
            </a:endParaRPr>
          </a:p>
        </p:txBody>
      </p:sp>
      <p:sp>
        <p:nvSpPr>
          <p:cNvPr id="7" name="Text Placeholder 6">
            <a:extLst>
              <a:ext uri="{FF2B5EF4-FFF2-40B4-BE49-F238E27FC236}">
                <a16:creationId xmlns:a16="http://schemas.microsoft.com/office/drawing/2014/main" id="{7CA787A8-ACCB-E674-4FCF-A325014622D3}"/>
              </a:ext>
            </a:extLst>
          </p:cNvPr>
          <p:cNvSpPr>
            <a:spLocks noGrp="1"/>
          </p:cNvSpPr>
          <p:nvPr>
            <p:ph sz="half" idx="2"/>
          </p:nvPr>
        </p:nvSpPr>
        <p:spPr>
          <a:xfrm>
            <a:off x="6410195" y="2304659"/>
            <a:ext cx="4881465" cy="3378815"/>
          </a:xfrm>
        </p:spPr>
        <p:txBody>
          <a:bodyPr>
            <a:normAutofit fontScale="92500" lnSpcReduction="20000"/>
          </a:bodyPr>
          <a:lstStyle/>
          <a:p>
            <a:pPr>
              <a:spcAft>
                <a:spcPts val="400"/>
              </a:spcAft>
            </a:pPr>
            <a:r>
              <a:rPr lang="en-US" sz="2000">
                <a:solidFill>
                  <a:schemeClr val="accent5"/>
                </a:solidFill>
                <a:latin typeface="Avenir Book"/>
              </a:rPr>
              <a:t>Assessor has experience conducting industrial energy assessments</a:t>
            </a:r>
          </a:p>
          <a:p>
            <a:pPr>
              <a:spcAft>
                <a:spcPts val="400"/>
              </a:spcAft>
            </a:pPr>
            <a:r>
              <a:rPr lang="en-US" sz="2000">
                <a:solidFill>
                  <a:schemeClr val="accent5"/>
                </a:solidFill>
                <a:latin typeface="Avenir Book"/>
              </a:rPr>
              <a:t>Assessor assessments are either free or demonstrably affordable to small- and medium sized manufacturers</a:t>
            </a:r>
          </a:p>
          <a:p>
            <a:pPr>
              <a:spcAft>
                <a:spcPts val="400"/>
              </a:spcAft>
            </a:pPr>
            <a:r>
              <a:rPr lang="en-US" sz="2000">
                <a:solidFill>
                  <a:schemeClr val="accent5"/>
                </a:solidFill>
                <a:latin typeface="Avenir Book"/>
              </a:rPr>
              <a:t>Assessor generates final reporting with information and transparent calculations of impacts of recommendations</a:t>
            </a:r>
          </a:p>
          <a:p>
            <a:pPr>
              <a:spcAft>
                <a:spcPts val="400"/>
              </a:spcAft>
            </a:pPr>
            <a:r>
              <a:rPr lang="en-US" sz="2000">
                <a:solidFill>
                  <a:schemeClr val="accent5"/>
                </a:solidFill>
                <a:latin typeface="Avenir Book"/>
              </a:rPr>
              <a:t>Assessor capabilities, client-base, and geographical coverage help extend or fill important gaps in IAC’s network</a:t>
            </a:r>
          </a:p>
          <a:p>
            <a:pPr>
              <a:spcAft>
                <a:spcPts val="400"/>
              </a:spcAft>
            </a:pPr>
            <a:r>
              <a:rPr lang="en-US" sz="2000">
                <a:solidFill>
                  <a:schemeClr val="accent5"/>
                </a:solidFill>
                <a:latin typeface="Avenir Book"/>
              </a:rPr>
              <a:t>Assessor commits to driving workforce development </a:t>
            </a:r>
          </a:p>
        </p:txBody>
      </p:sp>
      <p:sp>
        <p:nvSpPr>
          <p:cNvPr id="4" name="Slide Number Placeholder 3">
            <a:extLst>
              <a:ext uri="{FF2B5EF4-FFF2-40B4-BE49-F238E27FC236}">
                <a16:creationId xmlns:a16="http://schemas.microsoft.com/office/drawing/2014/main" id="{223997E5-82A2-6FB6-CC08-7F7AE2151D86}"/>
              </a:ext>
            </a:extLst>
          </p:cNvPr>
          <p:cNvSpPr>
            <a:spLocks noGrp="1"/>
          </p:cNvSpPr>
          <p:nvPr>
            <p:ph type="sldNum" sz="quarter" idx="4"/>
          </p:nvPr>
        </p:nvSpPr>
        <p:spPr/>
        <p:txBody>
          <a:bodyPr/>
          <a:lstStyle/>
          <a:p>
            <a:fld id="{02B5F485-982A-41B4-B657-C5770F0E9220}" type="slidenum">
              <a:rPr lang="en-US" smtClean="0"/>
              <a:pPr/>
              <a:t>20</a:t>
            </a:fld>
            <a:endParaRPr lang="en-US"/>
          </a:p>
        </p:txBody>
      </p:sp>
      <p:sp>
        <p:nvSpPr>
          <p:cNvPr id="3" name="Title 2">
            <a:extLst>
              <a:ext uri="{FF2B5EF4-FFF2-40B4-BE49-F238E27FC236}">
                <a16:creationId xmlns:a16="http://schemas.microsoft.com/office/drawing/2014/main" id="{70F63592-066F-12E1-4344-7ECC36FF7C76}"/>
              </a:ext>
            </a:extLst>
          </p:cNvPr>
          <p:cNvSpPr>
            <a:spLocks noGrp="1"/>
          </p:cNvSpPr>
          <p:nvPr>
            <p:ph type="title"/>
          </p:nvPr>
        </p:nvSpPr>
        <p:spPr/>
        <p:txBody>
          <a:bodyPr/>
          <a:lstStyle/>
          <a:p>
            <a:r>
              <a:rPr lang="en-US"/>
              <a:t>Third-Party Assessor Qualification Criteria </a:t>
            </a:r>
          </a:p>
        </p:txBody>
      </p:sp>
      <p:sp>
        <p:nvSpPr>
          <p:cNvPr id="9" name="TextBox 8">
            <a:extLst>
              <a:ext uri="{FF2B5EF4-FFF2-40B4-BE49-F238E27FC236}">
                <a16:creationId xmlns:a16="http://schemas.microsoft.com/office/drawing/2014/main" id="{721EDAB9-A1AB-F092-6EA9-C2BFD070DF27}"/>
              </a:ext>
            </a:extLst>
          </p:cNvPr>
          <p:cNvSpPr txBox="1"/>
          <p:nvPr/>
        </p:nvSpPr>
        <p:spPr>
          <a:xfrm>
            <a:off x="776060" y="1716832"/>
            <a:ext cx="4881464" cy="369332"/>
          </a:xfrm>
          <a:prstGeom prst="rect">
            <a:avLst/>
          </a:prstGeom>
          <a:noFill/>
        </p:spPr>
        <p:txBody>
          <a:bodyPr wrap="square" rtlCol="0">
            <a:spAutoFit/>
          </a:bodyPr>
          <a:lstStyle/>
          <a:p>
            <a:r>
              <a:rPr lang="en-US" sz="1800" b="1">
                <a:solidFill>
                  <a:schemeClr val="accent5"/>
                </a:solidFill>
                <a:latin typeface="Avenir Book"/>
              </a:rPr>
              <a:t>What is IAC Equivalency?</a:t>
            </a:r>
          </a:p>
        </p:txBody>
      </p:sp>
      <p:sp>
        <p:nvSpPr>
          <p:cNvPr id="10" name="TextBox 9">
            <a:extLst>
              <a:ext uri="{FF2B5EF4-FFF2-40B4-BE49-F238E27FC236}">
                <a16:creationId xmlns:a16="http://schemas.microsoft.com/office/drawing/2014/main" id="{ECFB22F1-0CDC-1965-13EB-C4A6BE867298}"/>
              </a:ext>
            </a:extLst>
          </p:cNvPr>
          <p:cNvSpPr txBox="1"/>
          <p:nvPr/>
        </p:nvSpPr>
        <p:spPr>
          <a:xfrm>
            <a:off x="6410196" y="1716832"/>
            <a:ext cx="4881464" cy="369332"/>
          </a:xfrm>
          <a:prstGeom prst="rect">
            <a:avLst/>
          </a:prstGeom>
          <a:noFill/>
        </p:spPr>
        <p:txBody>
          <a:bodyPr wrap="square" rtlCol="0">
            <a:spAutoFit/>
          </a:bodyPr>
          <a:lstStyle/>
          <a:p>
            <a:r>
              <a:rPr lang="en-US" sz="1800" b="1">
                <a:solidFill>
                  <a:schemeClr val="accent5"/>
                </a:solidFill>
                <a:latin typeface="Avenir Book"/>
              </a:rPr>
              <a:t>Further Review Criteria</a:t>
            </a:r>
          </a:p>
        </p:txBody>
      </p:sp>
      <p:grpSp>
        <p:nvGrpSpPr>
          <p:cNvPr id="20" name="Group 19">
            <a:extLst>
              <a:ext uri="{FF2B5EF4-FFF2-40B4-BE49-F238E27FC236}">
                <a16:creationId xmlns:a16="http://schemas.microsoft.com/office/drawing/2014/main" id="{01B373A6-E47C-886A-241D-0459B3E0B5E4}"/>
              </a:ext>
            </a:extLst>
          </p:cNvPr>
          <p:cNvGrpSpPr/>
          <p:nvPr/>
        </p:nvGrpSpPr>
        <p:grpSpPr>
          <a:xfrm>
            <a:off x="5828119" y="1460519"/>
            <a:ext cx="411480" cy="4389120"/>
            <a:chOff x="5890258" y="1467128"/>
            <a:chExt cx="411480" cy="4389120"/>
          </a:xfrm>
        </p:grpSpPr>
        <p:cxnSp>
          <p:nvCxnSpPr>
            <p:cNvPr id="12" name="Straight Connector 11">
              <a:extLst>
                <a:ext uri="{FF2B5EF4-FFF2-40B4-BE49-F238E27FC236}">
                  <a16:creationId xmlns:a16="http://schemas.microsoft.com/office/drawing/2014/main" id="{2924BBF8-F47B-3539-ACC1-FDA358B2450F}"/>
                </a:ext>
              </a:extLst>
            </p:cNvPr>
            <p:cNvCxnSpPr>
              <a:cxnSpLocks/>
            </p:cNvCxnSpPr>
            <p:nvPr/>
          </p:nvCxnSpPr>
          <p:spPr>
            <a:xfrm>
              <a:off x="6092499" y="1467128"/>
              <a:ext cx="6998" cy="4389120"/>
            </a:xfrm>
            <a:prstGeom prst="line">
              <a:avLst/>
            </a:prstGeom>
            <a:ln w="28575">
              <a:solidFill>
                <a:schemeClr val="tx2">
                  <a:lumMod val="40000"/>
                  <a:lumOff val="60000"/>
                </a:schemeClr>
              </a:solidFill>
            </a:ln>
          </p:spPr>
          <p:style>
            <a:lnRef idx="1">
              <a:schemeClr val="accent5"/>
            </a:lnRef>
            <a:fillRef idx="0">
              <a:schemeClr val="accent5"/>
            </a:fillRef>
            <a:effectRef idx="0">
              <a:schemeClr val="accent5"/>
            </a:effectRef>
            <a:fontRef idx="minor">
              <a:schemeClr val="tx1"/>
            </a:fontRef>
          </p:style>
        </p:cxnSp>
        <p:grpSp>
          <p:nvGrpSpPr>
            <p:cNvPr id="13" name="Group 12">
              <a:extLst>
                <a:ext uri="{FF2B5EF4-FFF2-40B4-BE49-F238E27FC236}">
                  <a16:creationId xmlns:a16="http://schemas.microsoft.com/office/drawing/2014/main" id="{77B8A4F4-C6EF-F04D-A0EE-E0B9F7E1A158}"/>
                </a:ext>
              </a:extLst>
            </p:cNvPr>
            <p:cNvGrpSpPr/>
            <p:nvPr/>
          </p:nvGrpSpPr>
          <p:grpSpPr>
            <a:xfrm>
              <a:off x="5890258" y="3455948"/>
              <a:ext cx="411480" cy="411480"/>
              <a:chOff x="8567927" y="2560320"/>
              <a:chExt cx="411480" cy="411480"/>
            </a:xfrm>
          </p:grpSpPr>
          <p:sp>
            <p:nvSpPr>
              <p:cNvPr id="14" name="Oval 13">
                <a:extLst>
                  <a:ext uri="{FF2B5EF4-FFF2-40B4-BE49-F238E27FC236}">
                    <a16:creationId xmlns:a16="http://schemas.microsoft.com/office/drawing/2014/main" id="{C064E1D0-41B2-36F1-7116-709DED85976E}"/>
                  </a:ext>
                </a:extLst>
              </p:cNvPr>
              <p:cNvSpPr/>
              <p:nvPr/>
            </p:nvSpPr>
            <p:spPr>
              <a:xfrm>
                <a:off x="8567927" y="2560320"/>
                <a:ext cx="411480" cy="411480"/>
              </a:xfrm>
              <a:prstGeom prst="ellipse">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C9C664CE-1580-88DA-453B-8BEDC6F49528}"/>
                  </a:ext>
                </a:extLst>
              </p:cNvPr>
              <p:cNvSpPr/>
              <p:nvPr/>
            </p:nvSpPr>
            <p:spPr>
              <a:xfrm rot="10800000">
                <a:off x="8664136" y="2685454"/>
                <a:ext cx="219062" cy="161212"/>
              </a:xfrm>
              <a:custGeom>
                <a:avLst/>
                <a:gdLst>
                  <a:gd name="connsiteX0" fmla="*/ 219062 w 219062"/>
                  <a:gd name="connsiteY0" fmla="*/ 80606 h 161212"/>
                  <a:gd name="connsiteX1" fmla="*/ 204775 w 219062"/>
                  <a:gd name="connsiteY1" fmla="*/ 94894 h 161212"/>
                  <a:gd name="connsiteX2" fmla="*/ 48755 w 219062"/>
                  <a:gd name="connsiteY2" fmla="*/ 94894 h 161212"/>
                  <a:gd name="connsiteX3" fmla="*/ 91046 w 219062"/>
                  <a:gd name="connsiteY3" fmla="*/ 137185 h 161212"/>
                  <a:gd name="connsiteX4" fmla="*/ 90333 w 219062"/>
                  <a:gd name="connsiteY4" fmla="*/ 157378 h 161212"/>
                  <a:gd name="connsiteX5" fmla="*/ 70853 w 219062"/>
                  <a:gd name="connsiteY5" fmla="*/ 157378 h 161212"/>
                  <a:gd name="connsiteX6" fmla="*/ 4178 w 219062"/>
                  <a:gd name="connsiteY6" fmla="*/ 90703 h 161212"/>
                  <a:gd name="connsiteX7" fmla="*/ 4178 w 219062"/>
                  <a:gd name="connsiteY7" fmla="*/ 70510 h 161212"/>
                  <a:gd name="connsiteX8" fmla="*/ 70853 w 219062"/>
                  <a:gd name="connsiteY8" fmla="*/ 3835 h 161212"/>
                  <a:gd name="connsiteX9" fmla="*/ 91046 w 219062"/>
                  <a:gd name="connsiteY9" fmla="*/ 4548 h 161212"/>
                  <a:gd name="connsiteX10" fmla="*/ 91046 w 219062"/>
                  <a:gd name="connsiteY10" fmla="*/ 24028 h 161212"/>
                  <a:gd name="connsiteX11" fmla="*/ 48755 w 219062"/>
                  <a:gd name="connsiteY11" fmla="*/ 66319 h 161212"/>
                  <a:gd name="connsiteX12" fmla="*/ 204775 w 219062"/>
                  <a:gd name="connsiteY12" fmla="*/ 66319 h 161212"/>
                  <a:gd name="connsiteX13" fmla="*/ 219062 w 219062"/>
                  <a:gd name="connsiteY13" fmla="*/ 80606 h 161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9062" h="161212">
                    <a:moveTo>
                      <a:pt x="219062" y="80606"/>
                    </a:moveTo>
                    <a:cubicBezTo>
                      <a:pt x="219062" y="88497"/>
                      <a:pt x="212666" y="94894"/>
                      <a:pt x="204775" y="94894"/>
                    </a:cubicBezTo>
                    <a:lnTo>
                      <a:pt x="48755" y="94894"/>
                    </a:lnTo>
                    <a:lnTo>
                      <a:pt x="91046" y="137185"/>
                    </a:lnTo>
                    <a:cubicBezTo>
                      <a:pt x="96426" y="142958"/>
                      <a:pt x="96107" y="151998"/>
                      <a:pt x="90333" y="157378"/>
                    </a:cubicBezTo>
                    <a:cubicBezTo>
                      <a:pt x="84847" y="162491"/>
                      <a:pt x="76340" y="162491"/>
                      <a:pt x="70853" y="157378"/>
                    </a:cubicBezTo>
                    <a:lnTo>
                      <a:pt x="4178" y="90703"/>
                    </a:lnTo>
                    <a:cubicBezTo>
                      <a:pt x="-1393" y="85124"/>
                      <a:pt x="-1393" y="76088"/>
                      <a:pt x="4178" y="70510"/>
                    </a:cubicBezTo>
                    <a:lnTo>
                      <a:pt x="70853" y="3835"/>
                    </a:lnTo>
                    <a:cubicBezTo>
                      <a:pt x="76626" y="-1545"/>
                      <a:pt x="85667" y="-1226"/>
                      <a:pt x="91046" y="4548"/>
                    </a:cubicBezTo>
                    <a:cubicBezTo>
                      <a:pt x="96159" y="10034"/>
                      <a:pt x="96159" y="18541"/>
                      <a:pt x="91046" y="24028"/>
                    </a:cubicBezTo>
                    <a:lnTo>
                      <a:pt x="48755" y="66319"/>
                    </a:lnTo>
                    <a:lnTo>
                      <a:pt x="204775" y="66319"/>
                    </a:lnTo>
                    <a:cubicBezTo>
                      <a:pt x="212666" y="66319"/>
                      <a:pt x="219062" y="72715"/>
                      <a:pt x="219062" y="80606"/>
                    </a:cubicBezTo>
                    <a:close/>
                  </a:path>
                </a:pathLst>
              </a:custGeom>
              <a:solidFill>
                <a:schemeClr val="bg1"/>
              </a:solidFill>
              <a:ln w="4763" cap="flat">
                <a:noFill/>
                <a:prstDash val="solid"/>
                <a:miter/>
              </a:ln>
            </p:spPr>
            <p:txBody>
              <a:bodyPr rtlCol="0" anchor="ctr"/>
              <a:lstStyle/>
              <a:p>
                <a:endParaRPr lang="en-US"/>
              </a:p>
            </p:txBody>
          </p:sp>
        </p:grpSp>
      </p:grpSp>
      <p:sp>
        <p:nvSpPr>
          <p:cNvPr id="18" name="Rectangle 17">
            <a:extLst>
              <a:ext uri="{FF2B5EF4-FFF2-40B4-BE49-F238E27FC236}">
                <a16:creationId xmlns:a16="http://schemas.microsoft.com/office/drawing/2014/main" id="{80121342-39DE-520D-7CD3-9CE52BB7DD1A}"/>
              </a:ext>
            </a:extLst>
          </p:cNvPr>
          <p:cNvSpPr/>
          <p:nvPr/>
        </p:nvSpPr>
        <p:spPr>
          <a:xfrm>
            <a:off x="2535005" y="5983042"/>
            <a:ext cx="6978136" cy="68949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venir Book"/>
            </a:endParaRPr>
          </a:p>
        </p:txBody>
      </p:sp>
      <p:sp>
        <p:nvSpPr>
          <p:cNvPr id="19" name="Rectangle 18">
            <a:extLst>
              <a:ext uri="{FF2B5EF4-FFF2-40B4-BE49-F238E27FC236}">
                <a16:creationId xmlns:a16="http://schemas.microsoft.com/office/drawing/2014/main" id="{0638035A-B00E-6C9A-FEDB-3ACB92D7E6E2}"/>
              </a:ext>
            </a:extLst>
          </p:cNvPr>
          <p:cNvSpPr/>
          <p:nvPr/>
        </p:nvSpPr>
        <p:spPr>
          <a:xfrm>
            <a:off x="2678859" y="6048250"/>
            <a:ext cx="6682208" cy="5100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4162" algn="ctr"/>
            <a:r>
              <a:rPr lang="en-US" sz="1400">
                <a:solidFill>
                  <a:schemeClr val="accent5"/>
                </a:solidFill>
                <a:latin typeface="Avenir Medium" panose="02000503020000020003" pitchFamily="2" charset="0"/>
                <a:cs typeface="Calibri" panose="020F0502020204030204" pitchFamily="34" charset="0"/>
              </a:rPr>
              <a:t>For more information on the third-party qualification requirements, please visit</a:t>
            </a:r>
          </a:p>
          <a:p>
            <a:pPr indent="-284162" algn="ctr"/>
            <a:r>
              <a:rPr lang="en-US" sz="1400" b="1">
                <a:solidFill>
                  <a:srgbClr val="1A315D"/>
                </a:solidFill>
                <a:latin typeface="Avenir Black" panose="02000503020000020003" pitchFamily="2" charset="0"/>
                <a:cs typeface="Calibri" panose="020F0502020204030204" pitchFamily="34" charset="0"/>
                <a:hlinkClick r:id="rId2">
                  <a:extLst>
                    <a:ext uri="{A12FA001-AC4F-418D-AE19-62706E023703}">
                      <ahyp:hlinkClr xmlns:ahyp="http://schemas.microsoft.com/office/drawing/2018/hyperlinkcolor" val="tx"/>
                    </a:ext>
                  </a:extLst>
                </a:hlinkClick>
              </a:rPr>
              <a:t>https://www.energywerx.org/opportunities/iac-round-2</a:t>
            </a:r>
            <a:endParaRPr lang="en-US" sz="1400" b="1">
              <a:solidFill>
                <a:srgbClr val="1A315D"/>
              </a:solidFill>
              <a:latin typeface="Avenir Black" panose="02000503020000020003" pitchFamily="2" charset="0"/>
              <a:cs typeface="Calibri" panose="020F0502020204030204" pitchFamily="34" charset="0"/>
            </a:endParaRPr>
          </a:p>
          <a:p>
            <a:pPr indent="-284162" algn="ctr"/>
            <a:endParaRPr lang="en-US" sz="1400">
              <a:solidFill>
                <a:schemeClr val="accent5"/>
              </a:solidFill>
              <a:latin typeface="Avenir Medium" panose="02000503020000020003" pitchFamily="2" charset="0"/>
              <a:cs typeface="Calibri" panose="020F0502020204030204" pitchFamily="34" charset="0"/>
            </a:endParaRPr>
          </a:p>
        </p:txBody>
      </p:sp>
    </p:spTree>
    <p:extLst>
      <p:ext uri="{BB962C8B-B14F-4D97-AF65-F5344CB8AC3E}">
        <p14:creationId xmlns:p14="http://schemas.microsoft.com/office/powerpoint/2010/main" val="32472415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p&#10;&#10;Description automatically generated">
            <a:extLst>
              <a:ext uri="{FF2B5EF4-FFF2-40B4-BE49-F238E27FC236}">
                <a16:creationId xmlns:a16="http://schemas.microsoft.com/office/drawing/2014/main" id="{32742876-9000-1E56-5772-62A6EA0AB561}"/>
              </a:ext>
            </a:extLst>
          </p:cNvPr>
          <p:cNvPicPr>
            <a:picLocks noChangeAspect="1"/>
          </p:cNvPicPr>
          <p:nvPr/>
        </p:nvPicPr>
        <p:blipFill>
          <a:blip r:embed="rId2">
            <a:clrChange>
              <a:clrFrom>
                <a:srgbClr val="FAFFFF"/>
              </a:clrFrom>
              <a:clrTo>
                <a:srgbClr val="FAFFFF">
                  <a:alpha val="0"/>
                </a:srgbClr>
              </a:clrTo>
            </a:clrChange>
            <a:extLst>
              <a:ext uri="{BEBA8EAE-BF5A-486C-A8C5-ECC9F3942E4B}">
                <a14:imgProps xmlns:a14="http://schemas.microsoft.com/office/drawing/2010/main">
                  <a14:imgLayer r:embed="rId3">
                    <a14:imgEffect>
                      <a14:colorTemperature colorTemp="5900"/>
                    </a14:imgEffect>
                  </a14:imgLayer>
                </a14:imgProps>
              </a:ext>
            </a:extLst>
          </a:blip>
          <a:stretch>
            <a:fillRect/>
          </a:stretch>
        </p:blipFill>
        <p:spPr>
          <a:xfrm>
            <a:off x="803564" y="351001"/>
            <a:ext cx="10815782" cy="6087464"/>
          </a:xfrm>
          <a:prstGeom prst="rect">
            <a:avLst/>
          </a:prstGeom>
        </p:spPr>
      </p:pic>
      <p:pic>
        <p:nvPicPr>
          <p:cNvPr id="17" name="Graphic 16" descr="Star outline">
            <a:extLst>
              <a:ext uri="{FF2B5EF4-FFF2-40B4-BE49-F238E27FC236}">
                <a16:creationId xmlns:a16="http://schemas.microsoft.com/office/drawing/2014/main" id="{DE422D2F-1C34-1BF4-232E-CBF127651ED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837" y="1117205"/>
            <a:ext cx="202796" cy="202796"/>
          </a:xfrm>
          <a:prstGeom prst="rect">
            <a:avLst/>
          </a:prstGeom>
          <a:effectLst>
            <a:outerShdw blurRad="50800" dist="38100" dir="2700000" algn="tl" rotWithShape="0">
              <a:prstClr val="black">
                <a:alpha val="40000"/>
              </a:prstClr>
            </a:outerShdw>
          </a:effectLst>
        </p:spPr>
      </p:pic>
      <p:pic>
        <p:nvPicPr>
          <p:cNvPr id="23" name="Graphic 22" descr="Star outline">
            <a:extLst>
              <a:ext uri="{FF2B5EF4-FFF2-40B4-BE49-F238E27FC236}">
                <a16:creationId xmlns:a16="http://schemas.microsoft.com/office/drawing/2014/main" id="{3BB3B014-9311-9458-2A45-3D5325A6DC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40315" y="2566310"/>
            <a:ext cx="202796" cy="202796"/>
          </a:xfrm>
          <a:prstGeom prst="rect">
            <a:avLst/>
          </a:prstGeom>
          <a:effectLst>
            <a:outerShdw blurRad="50800" dist="38100" dir="2700000" algn="tl" rotWithShape="0">
              <a:prstClr val="black">
                <a:alpha val="40000"/>
              </a:prstClr>
            </a:outerShdw>
          </a:effectLst>
        </p:spPr>
      </p:pic>
      <p:pic>
        <p:nvPicPr>
          <p:cNvPr id="25" name="Graphic 24" descr="Star outline">
            <a:extLst>
              <a:ext uri="{FF2B5EF4-FFF2-40B4-BE49-F238E27FC236}">
                <a16:creationId xmlns:a16="http://schemas.microsoft.com/office/drawing/2014/main" id="{0A2BF91B-38C0-E499-771A-ADC1D7ED3D0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5464" y="2384188"/>
            <a:ext cx="202796" cy="202796"/>
          </a:xfrm>
          <a:prstGeom prst="rect">
            <a:avLst/>
          </a:prstGeom>
          <a:effectLst>
            <a:outerShdw blurRad="50800" dist="38100" dir="2700000" algn="tl" rotWithShape="0">
              <a:prstClr val="black">
                <a:alpha val="40000"/>
              </a:prstClr>
            </a:outerShdw>
          </a:effectLst>
        </p:spPr>
      </p:pic>
      <p:pic>
        <p:nvPicPr>
          <p:cNvPr id="26" name="Graphic 25" descr="Star outline">
            <a:extLst>
              <a:ext uri="{FF2B5EF4-FFF2-40B4-BE49-F238E27FC236}">
                <a16:creationId xmlns:a16="http://schemas.microsoft.com/office/drawing/2014/main" id="{3EE859B1-9741-435B-6DD0-D5A180B3EF4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018260" y="2667708"/>
            <a:ext cx="202796" cy="202796"/>
          </a:xfrm>
          <a:prstGeom prst="rect">
            <a:avLst/>
          </a:prstGeom>
          <a:effectLst>
            <a:outerShdw blurRad="50800" dist="38100" dir="2700000" algn="tl" rotWithShape="0">
              <a:prstClr val="black">
                <a:alpha val="40000"/>
              </a:prstClr>
            </a:outerShdw>
          </a:effectLst>
        </p:spPr>
      </p:pic>
      <p:sp>
        <p:nvSpPr>
          <p:cNvPr id="29" name="TextBox 28">
            <a:extLst>
              <a:ext uri="{FF2B5EF4-FFF2-40B4-BE49-F238E27FC236}">
                <a16:creationId xmlns:a16="http://schemas.microsoft.com/office/drawing/2014/main" id="{E84D0425-FBB8-D91F-C68C-3CB304D394B6}"/>
              </a:ext>
            </a:extLst>
          </p:cNvPr>
          <p:cNvSpPr txBox="1"/>
          <p:nvPr/>
        </p:nvSpPr>
        <p:spPr>
          <a:xfrm>
            <a:off x="1319047" y="1619604"/>
            <a:ext cx="157511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333333"/>
                </a:solidFill>
                <a:effectLst/>
                <a:uLnTx/>
                <a:uFillTx/>
                <a:latin typeface="Avenir LT Std 65 Medium"/>
                <a:ea typeface="+mn-ea"/>
                <a:cs typeface="+mn-cs"/>
              </a:rPr>
              <a:t>Third-Party Assessor Selectees</a:t>
            </a:r>
          </a:p>
        </p:txBody>
      </p:sp>
      <p:sp>
        <p:nvSpPr>
          <p:cNvPr id="3" name="Star: 5 Points 2">
            <a:extLst>
              <a:ext uri="{FF2B5EF4-FFF2-40B4-BE49-F238E27FC236}">
                <a16:creationId xmlns:a16="http://schemas.microsoft.com/office/drawing/2014/main" id="{A9160CCB-B7F6-1FE9-EC02-5D868741ACC0}"/>
              </a:ext>
            </a:extLst>
          </p:cNvPr>
          <p:cNvSpPr/>
          <p:nvPr/>
        </p:nvSpPr>
        <p:spPr>
          <a:xfrm>
            <a:off x="1040961" y="1619604"/>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Star: 5 Points 3">
            <a:extLst>
              <a:ext uri="{FF2B5EF4-FFF2-40B4-BE49-F238E27FC236}">
                <a16:creationId xmlns:a16="http://schemas.microsoft.com/office/drawing/2014/main" id="{07CCEA37-3228-5786-84FC-2581391AAC00}"/>
              </a:ext>
            </a:extLst>
          </p:cNvPr>
          <p:cNvSpPr/>
          <p:nvPr/>
        </p:nvSpPr>
        <p:spPr>
          <a:xfrm>
            <a:off x="3313557" y="1076646"/>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Star: 5 Points 8">
            <a:extLst>
              <a:ext uri="{FF2B5EF4-FFF2-40B4-BE49-F238E27FC236}">
                <a16:creationId xmlns:a16="http://schemas.microsoft.com/office/drawing/2014/main" id="{BFD6490E-B943-1E55-01D0-02E1574B54A8}"/>
              </a:ext>
            </a:extLst>
          </p:cNvPr>
          <p:cNvSpPr/>
          <p:nvPr/>
        </p:nvSpPr>
        <p:spPr>
          <a:xfrm>
            <a:off x="3404292" y="3635878"/>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Star: 5 Points 10">
            <a:extLst>
              <a:ext uri="{FF2B5EF4-FFF2-40B4-BE49-F238E27FC236}">
                <a16:creationId xmlns:a16="http://schemas.microsoft.com/office/drawing/2014/main" id="{F77F98FE-497A-2B45-9C87-642A88D7CC7E}"/>
              </a:ext>
            </a:extLst>
          </p:cNvPr>
          <p:cNvSpPr/>
          <p:nvPr/>
        </p:nvSpPr>
        <p:spPr>
          <a:xfrm>
            <a:off x="4370189" y="2232865"/>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Star: 5 Points 11">
            <a:extLst>
              <a:ext uri="{FF2B5EF4-FFF2-40B4-BE49-F238E27FC236}">
                <a16:creationId xmlns:a16="http://schemas.microsoft.com/office/drawing/2014/main" id="{324C481E-AFA8-B23A-6CAE-8F3D1CB641DA}"/>
              </a:ext>
            </a:extLst>
          </p:cNvPr>
          <p:cNvSpPr/>
          <p:nvPr/>
        </p:nvSpPr>
        <p:spPr>
          <a:xfrm>
            <a:off x="6244566" y="4587975"/>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Star: 5 Points 13">
            <a:extLst>
              <a:ext uri="{FF2B5EF4-FFF2-40B4-BE49-F238E27FC236}">
                <a16:creationId xmlns:a16="http://schemas.microsoft.com/office/drawing/2014/main" id="{6554F06A-4C23-9FD9-D338-35EE0F6A995D}"/>
              </a:ext>
            </a:extLst>
          </p:cNvPr>
          <p:cNvSpPr/>
          <p:nvPr/>
        </p:nvSpPr>
        <p:spPr>
          <a:xfrm>
            <a:off x="7085324" y="1926505"/>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Star: 5 Points 4">
            <a:extLst>
              <a:ext uri="{FF2B5EF4-FFF2-40B4-BE49-F238E27FC236}">
                <a16:creationId xmlns:a16="http://schemas.microsoft.com/office/drawing/2014/main" id="{BF3C7D45-DE5D-7C2F-8819-5B6DD4BB7A80}"/>
              </a:ext>
            </a:extLst>
          </p:cNvPr>
          <p:cNvSpPr/>
          <p:nvPr/>
        </p:nvSpPr>
        <p:spPr>
          <a:xfrm>
            <a:off x="8220036" y="2541503"/>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Star: 5 Points 5">
            <a:extLst>
              <a:ext uri="{FF2B5EF4-FFF2-40B4-BE49-F238E27FC236}">
                <a16:creationId xmlns:a16="http://schemas.microsoft.com/office/drawing/2014/main" id="{5C305D4F-F4C9-E7A4-3DD7-3AD0E3DA97F0}"/>
              </a:ext>
            </a:extLst>
          </p:cNvPr>
          <p:cNvSpPr/>
          <p:nvPr/>
        </p:nvSpPr>
        <p:spPr>
          <a:xfrm>
            <a:off x="8893284" y="3313427"/>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Star: 5 Points 6">
            <a:extLst>
              <a:ext uri="{FF2B5EF4-FFF2-40B4-BE49-F238E27FC236}">
                <a16:creationId xmlns:a16="http://schemas.microsoft.com/office/drawing/2014/main" id="{DEADCECC-5DAC-63CA-AA83-DC35F8B99E19}"/>
              </a:ext>
            </a:extLst>
          </p:cNvPr>
          <p:cNvSpPr/>
          <p:nvPr/>
        </p:nvSpPr>
        <p:spPr>
          <a:xfrm>
            <a:off x="9226109" y="1856253"/>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Star: 5 Points 7">
            <a:extLst>
              <a:ext uri="{FF2B5EF4-FFF2-40B4-BE49-F238E27FC236}">
                <a16:creationId xmlns:a16="http://schemas.microsoft.com/office/drawing/2014/main" id="{51F8DD26-3E81-F964-44A1-AF4A1C15C27B}"/>
              </a:ext>
            </a:extLst>
          </p:cNvPr>
          <p:cNvSpPr/>
          <p:nvPr/>
        </p:nvSpPr>
        <p:spPr>
          <a:xfrm>
            <a:off x="8785994" y="2363908"/>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Star: 5 Points 9">
            <a:extLst>
              <a:ext uri="{FF2B5EF4-FFF2-40B4-BE49-F238E27FC236}">
                <a16:creationId xmlns:a16="http://schemas.microsoft.com/office/drawing/2014/main" id="{D3C14F92-949E-977D-F964-550F2C53C655}"/>
              </a:ext>
            </a:extLst>
          </p:cNvPr>
          <p:cNvSpPr/>
          <p:nvPr/>
        </p:nvSpPr>
        <p:spPr>
          <a:xfrm>
            <a:off x="8985576" y="2632532"/>
            <a:ext cx="243355" cy="243355"/>
          </a:xfrm>
          <a:prstGeom prst="star5">
            <a:avLst/>
          </a:prstGeom>
          <a:solidFill>
            <a:srgbClr val="33CC33"/>
          </a:solidFill>
          <a:ln>
            <a:solidFill>
              <a:srgbClr val="FFFF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760146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ACED93-6CAE-8020-7F63-4F094D592DA9}"/>
              </a:ext>
            </a:extLst>
          </p:cNvPr>
          <p:cNvSpPr>
            <a:spLocks noGrp="1"/>
          </p:cNvSpPr>
          <p:nvPr>
            <p:ph type="title"/>
          </p:nvPr>
        </p:nvSpPr>
        <p:spPr/>
        <p:txBody>
          <a:bodyPr/>
          <a:lstStyle/>
          <a:p>
            <a:r>
              <a:rPr lang="en-US"/>
              <a:t>Third-Party Assessor Process and Onboarding</a:t>
            </a:r>
          </a:p>
        </p:txBody>
      </p:sp>
      <p:sp>
        <p:nvSpPr>
          <p:cNvPr id="4" name="Slide Number Placeholder 3">
            <a:extLst>
              <a:ext uri="{FF2B5EF4-FFF2-40B4-BE49-F238E27FC236}">
                <a16:creationId xmlns:a16="http://schemas.microsoft.com/office/drawing/2014/main" id="{042BFF86-ED2D-BD59-8684-575C71AF4769}"/>
              </a:ext>
            </a:extLst>
          </p:cNvPr>
          <p:cNvSpPr>
            <a:spLocks noGrp="1"/>
          </p:cNvSpPr>
          <p:nvPr>
            <p:ph type="sldNum" sz="quarter" idx="4"/>
          </p:nvPr>
        </p:nvSpPr>
        <p:spPr/>
        <p:txBody>
          <a:bodyPr/>
          <a:lstStyle/>
          <a:p>
            <a:fld id="{02B5F485-982A-41B4-B657-C5770F0E9220}" type="slidenum">
              <a:rPr lang="en-US" smtClean="0"/>
              <a:pPr/>
              <a:t>22</a:t>
            </a:fld>
            <a:endParaRPr lang="en-US"/>
          </a:p>
        </p:txBody>
      </p:sp>
      <p:graphicFrame>
        <p:nvGraphicFramePr>
          <p:cNvPr id="5" name="Diagram 4">
            <a:extLst>
              <a:ext uri="{FF2B5EF4-FFF2-40B4-BE49-F238E27FC236}">
                <a16:creationId xmlns:a16="http://schemas.microsoft.com/office/drawing/2014/main" id="{383EF3BB-05F3-E8A6-8F46-D370618807A7}"/>
              </a:ext>
            </a:extLst>
          </p:cNvPr>
          <p:cNvGraphicFramePr/>
          <p:nvPr>
            <p:extLst>
              <p:ext uri="{D42A27DB-BD31-4B8C-83A1-F6EECF244321}">
                <p14:modId xmlns:p14="http://schemas.microsoft.com/office/powerpoint/2010/main" val="249144783"/>
              </p:ext>
            </p:extLst>
          </p:nvPr>
        </p:nvGraphicFramePr>
        <p:xfrm>
          <a:off x="822960" y="719666"/>
          <a:ext cx="10546080" cy="57397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199532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2F2D5-F3B7-667A-11F0-5C227BA430BC}"/>
              </a:ext>
            </a:extLst>
          </p:cNvPr>
          <p:cNvSpPr>
            <a:spLocks noGrp="1"/>
          </p:cNvSpPr>
          <p:nvPr>
            <p:ph type="title"/>
          </p:nvPr>
        </p:nvSpPr>
        <p:spPr/>
        <p:txBody>
          <a:bodyPr>
            <a:normAutofit/>
          </a:bodyPr>
          <a:lstStyle/>
          <a:p>
            <a:r>
              <a:rPr lang="en-US"/>
              <a:t>Overview: Industrial Assessment Centers (IACs)</a:t>
            </a:r>
          </a:p>
        </p:txBody>
      </p:sp>
      <p:sp>
        <p:nvSpPr>
          <p:cNvPr id="5" name="TextBox 4">
            <a:extLst>
              <a:ext uri="{FF2B5EF4-FFF2-40B4-BE49-F238E27FC236}">
                <a16:creationId xmlns:a16="http://schemas.microsoft.com/office/drawing/2014/main" id="{7EDC1DCF-7FAD-B3EA-8633-151BE64F9810}"/>
              </a:ext>
            </a:extLst>
          </p:cNvPr>
          <p:cNvSpPr txBox="1"/>
          <p:nvPr/>
        </p:nvSpPr>
        <p:spPr>
          <a:xfrm>
            <a:off x="477872" y="1560929"/>
            <a:ext cx="2811212" cy="400110"/>
          </a:xfrm>
          <a:prstGeom prst="rect">
            <a:avLst/>
          </a:prstGeom>
          <a:noFill/>
          <a:ln>
            <a:noFill/>
          </a:ln>
        </p:spPr>
        <p:txBody>
          <a:bodyPr wrap="square" rtlCol="0">
            <a:spAutoFit/>
          </a:bodyPr>
          <a:lstStyle/>
          <a:p>
            <a:r>
              <a:rPr lang="en-US" sz="2000" b="1">
                <a:solidFill>
                  <a:srgbClr val="205FAB"/>
                </a:solidFill>
              </a:rPr>
              <a:t>IAC Program</a:t>
            </a:r>
          </a:p>
        </p:txBody>
      </p:sp>
      <p:sp>
        <p:nvSpPr>
          <p:cNvPr id="6" name="TextBox 1">
            <a:extLst>
              <a:ext uri="{FF2B5EF4-FFF2-40B4-BE49-F238E27FC236}">
                <a16:creationId xmlns:a16="http://schemas.microsoft.com/office/drawing/2014/main" id="{133380AD-3160-4191-58FF-1EEE614A9AF0}"/>
              </a:ext>
            </a:extLst>
          </p:cNvPr>
          <p:cNvSpPr txBox="1"/>
          <p:nvPr/>
        </p:nvSpPr>
        <p:spPr>
          <a:xfrm>
            <a:off x="477872" y="2003670"/>
            <a:ext cx="5412565" cy="393954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285750" indent="-285750">
              <a:spcAft>
                <a:spcPts val="600"/>
              </a:spcAft>
              <a:buFont typeface="Arial" panose="020B0604020202020204" pitchFamily="34" charset="0"/>
              <a:buChar char="•"/>
            </a:pPr>
            <a:r>
              <a:rPr lang="en-US" sz="2000" b="1">
                <a:solidFill>
                  <a:srgbClr val="292929"/>
                </a:solidFill>
                <a:latin typeface="+mn-lt"/>
              </a:rPr>
              <a:t>37 universities </a:t>
            </a:r>
            <a:r>
              <a:rPr lang="en-US" sz="2000">
                <a:solidFill>
                  <a:srgbClr val="292929"/>
                </a:solidFill>
                <a:latin typeface="+mn-lt"/>
              </a:rPr>
              <a:t>around the country have conducted over </a:t>
            </a:r>
            <a:r>
              <a:rPr lang="en-US" sz="2000" b="1">
                <a:solidFill>
                  <a:srgbClr val="292929"/>
                </a:solidFill>
                <a:latin typeface="+mn-lt"/>
              </a:rPr>
              <a:t>20,000 IAC assessments </a:t>
            </a:r>
            <a:r>
              <a:rPr lang="en-US" sz="2000">
                <a:solidFill>
                  <a:srgbClr val="292929"/>
                </a:solidFill>
                <a:latin typeface="+mn-lt"/>
              </a:rPr>
              <a:t>over more than 40 years</a:t>
            </a:r>
          </a:p>
          <a:p>
            <a:pPr marL="285750" indent="-285750">
              <a:spcAft>
                <a:spcPts val="600"/>
              </a:spcAft>
              <a:buFont typeface="Arial" panose="020B0604020202020204" pitchFamily="34" charset="0"/>
              <a:buChar char="•"/>
            </a:pPr>
            <a:r>
              <a:rPr lang="en-US" sz="2000">
                <a:solidFill>
                  <a:srgbClr val="292929"/>
                </a:solidFill>
                <a:latin typeface="+mn-lt"/>
              </a:rPr>
              <a:t>The program provides technical assistance to small- and medium-sized manufacturing firms while </a:t>
            </a:r>
            <a:r>
              <a:rPr lang="en-US" sz="2000">
                <a:solidFill>
                  <a:srgbClr val="292929"/>
                </a:solidFill>
              </a:rPr>
              <a:t>t</a:t>
            </a:r>
            <a:r>
              <a:rPr lang="en-US" sz="2000">
                <a:solidFill>
                  <a:srgbClr val="292929"/>
                </a:solidFill>
                <a:latin typeface="+mn-lt"/>
              </a:rPr>
              <a:t>raining the next generation of energy-savvy engineers​</a:t>
            </a:r>
          </a:p>
          <a:p>
            <a:pPr marL="285750" indent="-285750">
              <a:spcAft>
                <a:spcPts val="600"/>
              </a:spcAft>
              <a:buFont typeface="Arial" panose="020B0604020202020204" pitchFamily="34" charset="0"/>
              <a:buChar char="•"/>
            </a:pPr>
            <a:r>
              <a:rPr lang="en-US" sz="2000">
                <a:solidFill>
                  <a:srgbClr val="292929"/>
                </a:solidFill>
              </a:rPr>
              <a:t>Assessments typically identify &gt;</a:t>
            </a:r>
            <a:r>
              <a:rPr lang="en-US" sz="2000" b="1">
                <a:solidFill>
                  <a:srgbClr val="292929"/>
                </a:solidFill>
              </a:rPr>
              <a:t>$130K in potential annual savings</a:t>
            </a:r>
            <a:r>
              <a:rPr lang="en-US" sz="2000">
                <a:solidFill>
                  <a:srgbClr val="292929"/>
                </a:solidFill>
              </a:rPr>
              <a:t>,</a:t>
            </a:r>
            <a:r>
              <a:rPr lang="en-US" sz="2000">
                <a:solidFill>
                  <a:srgbClr val="292929"/>
                </a:solidFill>
                <a:latin typeface="+mn-lt"/>
              </a:rPr>
              <a:t> with ~</a:t>
            </a:r>
            <a:r>
              <a:rPr lang="en-US" sz="2000" b="1">
                <a:solidFill>
                  <a:srgbClr val="292929"/>
                </a:solidFill>
                <a:latin typeface="+mn-lt"/>
              </a:rPr>
              <a:t>$50K implemented</a:t>
            </a:r>
            <a:r>
              <a:rPr lang="en-US" sz="2000">
                <a:solidFill>
                  <a:srgbClr val="292929"/>
                </a:solidFill>
                <a:latin typeface="+mn-lt"/>
              </a:rPr>
              <a:t> in the first year – and the potential for much more with the implementation grants</a:t>
            </a:r>
            <a:endParaRPr lang="en-US" sz="2000">
              <a:solidFill>
                <a:srgbClr val="292929"/>
              </a:solidFill>
            </a:endParaRPr>
          </a:p>
        </p:txBody>
      </p:sp>
      <p:pic>
        <p:nvPicPr>
          <p:cNvPr id="1026" name="Picture 2">
            <a:extLst>
              <a:ext uri="{FF2B5EF4-FFF2-40B4-BE49-F238E27FC236}">
                <a16:creationId xmlns:a16="http://schemas.microsoft.com/office/drawing/2014/main" id="{5ECECE0A-BCAD-5CD5-2B85-8395456A0B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1565" y="1559812"/>
            <a:ext cx="5412565" cy="409089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BC635716-39AE-4FCB-80A7-CD604C5B7404}"/>
              </a:ext>
            </a:extLst>
          </p:cNvPr>
          <p:cNvSpPr/>
          <p:nvPr/>
        </p:nvSpPr>
        <p:spPr>
          <a:xfrm>
            <a:off x="2562150" y="6257941"/>
            <a:ext cx="7067700" cy="402962"/>
          </a:xfrm>
          <a:prstGeom prst="roundRect">
            <a:avLst/>
          </a:prstGeom>
          <a:solidFill>
            <a:srgbClr val="205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To learn more and apply for an IAC assessment, visit </a:t>
            </a:r>
            <a:r>
              <a:rPr lang="en-US" sz="1600" b="1" err="1">
                <a:solidFill>
                  <a:schemeClr val="bg2">
                    <a:lumMod val="75000"/>
                  </a:schemeClr>
                </a:solidFill>
                <a:hlinkClick r:id="rId3">
                  <a:extLst>
                    <a:ext uri="{A12FA001-AC4F-418D-AE19-62706E023703}">
                      <ahyp:hlinkClr xmlns:ahyp="http://schemas.microsoft.com/office/drawing/2018/hyperlinkcolor" val="tx"/>
                    </a:ext>
                  </a:extLst>
                </a:hlinkClick>
              </a:rPr>
              <a:t>iac.university</a:t>
            </a:r>
            <a:endParaRPr lang="en-US" sz="1600" b="1" i="0">
              <a:solidFill>
                <a:schemeClr val="bg2">
                  <a:lumMod val="75000"/>
                </a:schemeClr>
              </a:solidFill>
              <a:effectLst/>
            </a:endParaRPr>
          </a:p>
        </p:txBody>
      </p:sp>
    </p:spTree>
    <p:extLst>
      <p:ext uri="{BB962C8B-B14F-4D97-AF65-F5344CB8AC3E}">
        <p14:creationId xmlns:p14="http://schemas.microsoft.com/office/powerpoint/2010/main" val="30164178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12F2D5-F3B7-667A-11F0-5C227BA430BC}"/>
              </a:ext>
            </a:extLst>
          </p:cNvPr>
          <p:cNvSpPr>
            <a:spLocks noGrp="1"/>
          </p:cNvSpPr>
          <p:nvPr>
            <p:ph type="title"/>
          </p:nvPr>
        </p:nvSpPr>
        <p:spPr>
          <a:xfrm>
            <a:off x="815529" y="550301"/>
            <a:ext cx="10560941" cy="553998"/>
          </a:xfrm>
        </p:spPr>
        <p:txBody>
          <a:bodyPr>
            <a:normAutofit fontScale="90000"/>
          </a:bodyPr>
          <a:lstStyle/>
          <a:p>
            <a:r>
              <a:rPr lang="en-US"/>
              <a:t>Overview: Combined Heat and Power Technical Assistance Partnerships (CHP TAPs)</a:t>
            </a:r>
          </a:p>
        </p:txBody>
      </p:sp>
      <p:sp>
        <p:nvSpPr>
          <p:cNvPr id="8" name="TextBox 1">
            <a:extLst>
              <a:ext uri="{FF2B5EF4-FFF2-40B4-BE49-F238E27FC236}">
                <a16:creationId xmlns:a16="http://schemas.microsoft.com/office/drawing/2014/main" id="{9F9A91E6-0611-96CB-89EB-AE2C0803BCD9}"/>
              </a:ext>
            </a:extLst>
          </p:cNvPr>
          <p:cNvSpPr txBox="1"/>
          <p:nvPr/>
        </p:nvSpPr>
        <p:spPr>
          <a:xfrm>
            <a:off x="489392" y="1980126"/>
            <a:ext cx="6038999" cy="377026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marL="285750" indent="-285750">
              <a:spcAft>
                <a:spcPts val="600"/>
              </a:spcAft>
              <a:buFont typeface="Arial" panose="020B0604020202020204" pitchFamily="34" charset="0"/>
              <a:buChar char="•"/>
            </a:pPr>
            <a:r>
              <a:rPr lang="en-US" sz="2000" b="1">
                <a:solidFill>
                  <a:srgbClr val="292929"/>
                </a:solidFill>
              </a:rPr>
              <a:t>10 regional entities </a:t>
            </a:r>
            <a:r>
              <a:rPr lang="en-US" sz="2000">
                <a:solidFill>
                  <a:srgbClr val="292929"/>
                </a:solidFill>
              </a:rPr>
              <a:t>around the country have conducted </a:t>
            </a:r>
            <a:r>
              <a:rPr lang="en-US" sz="2000" b="1">
                <a:solidFill>
                  <a:srgbClr val="292929"/>
                </a:solidFill>
              </a:rPr>
              <a:t>&gt;1000 technical screenings </a:t>
            </a:r>
            <a:r>
              <a:rPr lang="en-US" sz="2000">
                <a:solidFill>
                  <a:srgbClr val="292929"/>
                </a:solidFill>
              </a:rPr>
              <a:t>over the past 5 years​</a:t>
            </a:r>
          </a:p>
          <a:p>
            <a:pPr marL="285750" indent="-285750">
              <a:spcAft>
                <a:spcPts val="600"/>
              </a:spcAft>
              <a:buFont typeface="Arial" panose="020B0604020202020204" pitchFamily="34" charset="0"/>
              <a:buChar char="•"/>
            </a:pPr>
            <a:r>
              <a:rPr lang="en-US" sz="2000">
                <a:solidFill>
                  <a:srgbClr val="292929"/>
                </a:solidFill>
              </a:rPr>
              <a:t>Partner with manufacturers to identify cost effective &amp; resilient ways to deploy combined heat &amp; power (CHP)​</a:t>
            </a:r>
          </a:p>
          <a:p>
            <a:pPr marL="285750" indent="-285750">
              <a:spcAft>
                <a:spcPts val="600"/>
              </a:spcAft>
              <a:buFont typeface="Arial" panose="020B0604020202020204" pitchFamily="34" charset="0"/>
              <a:buChar char="•"/>
            </a:pPr>
            <a:r>
              <a:rPr lang="en-US" sz="2000">
                <a:solidFill>
                  <a:srgbClr val="292929"/>
                </a:solidFill>
              </a:rPr>
              <a:t>Identify and address barriers to using CHPs to advance regional efficiency, promote energy independence, &amp; enhance the nation’s grid resiliency</a:t>
            </a:r>
          </a:p>
          <a:p>
            <a:pPr marL="285750" indent="-285750">
              <a:spcAft>
                <a:spcPts val="600"/>
              </a:spcAft>
              <a:buFont typeface="Arial" panose="020B0604020202020204" pitchFamily="34" charset="0"/>
              <a:buChar char="•"/>
            </a:pPr>
            <a:endParaRPr lang="en-US" sz="2400">
              <a:solidFill>
                <a:srgbClr val="292929"/>
              </a:solidFill>
              <a:latin typeface="+mn-lt"/>
            </a:endParaRPr>
          </a:p>
        </p:txBody>
      </p:sp>
      <p:sp>
        <p:nvSpPr>
          <p:cNvPr id="9" name="TextBox 8">
            <a:extLst>
              <a:ext uri="{FF2B5EF4-FFF2-40B4-BE49-F238E27FC236}">
                <a16:creationId xmlns:a16="http://schemas.microsoft.com/office/drawing/2014/main" id="{CAC21501-D206-391B-E084-2F0BE48A9252}"/>
              </a:ext>
            </a:extLst>
          </p:cNvPr>
          <p:cNvSpPr txBox="1"/>
          <p:nvPr/>
        </p:nvSpPr>
        <p:spPr>
          <a:xfrm>
            <a:off x="489392" y="1532055"/>
            <a:ext cx="2811212" cy="400110"/>
          </a:xfrm>
          <a:prstGeom prst="rect">
            <a:avLst/>
          </a:prstGeom>
          <a:noFill/>
          <a:ln>
            <a:noFill/>
          </a:ln>
        </p:spPr>
        <p:txBody>
          <a:bodyPr wrap="square" rtlCol="0">
            <a:spAutoFit/>
          </a:bodyPr>
          <a:lstStyle/>
          <a:p>
            <a:r>
              <a:rPr lang="en-US" sz="2000" b="1">
                <a:solidFill>
                  <a:srgbClr val="205FAB"/>
                </a:solidFill>
              </a:rPr>
              <a:t>CHP TAP Program</a:t>
            </a:r>
          </a:p>
        </p:txBody>
      </p:sp>
      <p:pic>
        <p:nvPicPr>
          <p:cNvPr id="1028" name="Picture 4">
            <a:extLst>
              <a:ext uri="{FF2B5EF4-FFF2-40B4-BE49-F238E27FC236}">
                <a16:creationId xmlns:a16="http://schemas.microsoft.com/office/drawing/2014/main" id="{61F36741-68D5-3B5D-B07A-A6835E3E02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0853" y="1979121"/>
            <a:ext cx="5081755" cy="289975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89CADE29-C1AE-9E1F-8868-D6B5A427AC9B}"/>
              </a:ext>
            </a:extLst>
          </p:cNvPr>
          <p:cNvSpPr/>
          <p:nvPr/>
        </p:nvSpPr>
        <p:spPr>
          <a:xfrm>
            <a:off x="2445634" y="5917146"/>
            <a:ext cx="7300729" cy="702670"/>
          </a:xfrm>
          <a:prstGeom prst="roundRect">
            <a:avLst/>
          </a:prstGeom>
          <a:solidFill>
            <a:srgbClr val="205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rPr>
              <a:t>To learn more and apply for a CHP TAP assessment, visit </a:t>
            </a:r>
            <a:r>
              <a:rPr lang="en-US" sz="1600" b="1">
                <a:solidFill>
                  <a:schemeClr val="bg2">
                    <a:lumMod val="75000"/>
                  </a:schemeClr>
                </a:solidFill>
                <a:hlinkClick r:id="rId3">
                  <a:extLst>
                    <a:ext uri="{A12FA001-AC4F-418D-AE19-62706E023703}">
                      <ahyp:hlinkClr xmlns:ahyp="http://schemas.microsoft.com/office/drawing/2018/hyperlinkcolor" val="tx"/>
                    </a:ext>
                  </a:extLst>
                </a:hlinkClick>
              </a:rPr>
              <a:t>https://betterbuildingssolutioncenter.energy.gov/chp/chp-taps</a:t>
            </a:r>
            <a:endParaRPr lang="en-US" sz="1600" b="1" i="0">
              <a:solidFill>
                <a:schemeClr val="bg2">
                  <a:lumMod val="75000"/>
                </a:schemeClr>
              </a:solidFill>
              <a:effectLst/>
            </a:endParaRPr>
          </a:p>
        </p:txBody>
      </p:sp>
    </p:spTree>
    <p:extLst>
      <p:ext uri="{BB962C8B-B14F-4D97-AF65-F5344CB8AC3E}">
        <p14:creationId xmlns:p14="http://schemas.microsoft.com/office/powerpoint/2010/main" val="16931868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CB17BEDD-662F-DFFE-DC8C-3A76F6C51915}"/>
              </a:ext>
            </a:extLst>
          </p:cNvPr>
          <p:cNvSpPr>
            <a:spLocks noGrp="1"/>
          </p:cNvSpPr>
          <p:nvPr>
            <p:ph type="subTitle" idx="1"/>
          </p:nvPr>
        </p:nvSpPr>
        <p:spPr/>
        <p:txBody>
          <a:bodyPr>
            <a:normAutofit/>
          </a:bodyPr>
          <a:lstStyle/>
          <a:p>
            <a:r>
              <a:rPr lang="en-US"/>
              <a:t>IAC Implementation Grants Overview</a:t>
            </a:r>
          </a:p>
        </p:txBody>
      </p:sp>
      <p:sp>
        <p:nvSpPr>
          <p:cNvPr id="3" name="Text Placeholder 2">
            <a:extLst>
              <a:ext uri="{FF2B5EF4-FFF2-40B4-BE49-F238E27FC236}">
                <a16:creationId xmlns:a16="http://schemas.microsoft.com/office/drawing/2014/main" id="{A730A028-46E5-E029-AED5-A9404B70C359}"/>
              </a:ext>
            </a:extLst>
          </p:cNvPr>
          <p:cNvSpPr>
            <a:spLocks noGrp="1"/>
          </p:cNvSpPr>
          <p:nvPr>
            <p:ph type="body" sz="quarter" idx="10"/>
          </p:nvPr>
        </p:nvSpPr>
        <p:spPr>
          <a:xfrm>
            <a:off x="6300963" y="4082180"/>
            <a:ext cx="5134824" cy="331125"/>
          </a:xfrm>
        </p:spPr>
        <p:txBody>
          <a:bodyPr/>
          <a:lstStyle/>
          <a:p>
            <a:r>
              <a:rPr lang="en-US"/>
              <a:t>Mustafa Mahmoud, Clifton Yin</a:t>
            </a:r>
          </a:p>
          <a:p>
            <a:r>
              <a:rPr lang="en-US" b="0"/>
              <a:t>Deployment Managers</a:t>
            </a:r>
          </a:p>
          <a:p>
            <a:r>
              <a:rPr lang="en-US" b="0"/>
              <a:t>Office of Manufacturing and Energy Supply Chains</a:t>
            </a:r>
          </a:p>
          <a:p>
            <a:r>
              <a:rPr lang="en-US" b="0"/>
              <a:t>U.S. Department of Energy</a:t>
            </a:r>
          </a:p>
        </p:txBody>
      </p:sp>
      <p:sp>
        <p:nvSpPr>
          <p:cNvPr id="4" name="Text Placeholder 3">
            <a:extLst>
              <a:ext uri="{FF2B5EF4-FFF2-40B4-BE49-F238E27FC236}">
                <a16:creationId xmlns:a16="http://schemas.microsoft.com/office/drawing/2014/main" id="{068EB149-0BA1-F40D-056E-D3CBF6693133}"/>
              </a:ext>
            </a:extLst>
          </p:cNvPr>
          <p:cNvSpPr>
            <a:spLocks noGrp="1"/>
          </p:cNvSpPr>
          <p:nvPr>
            <p:ph type="body" sz="quarter" idx="13"/>
          </p:nvPr>
        </p:nvSpPr>
        <p:spPr/>
        <p:txBody>
          <a:bodyPr/>
          <a:lstStyle/>
          <a:p>
            <a:r>
              <a:rPr lang="en-US">
                <a:latin typeface="Avenir Book" panose="02000503020000020003"/>
              </a:rPr>
              <a:t>November 16</a:t>
            </a:r>
            <a:r>
              <a:rPr lang="en-US" baseline="30000">
                <a:latin typeface="Avenir Book" panose="02000503020000020003"/>
              </a:rPr>
              <a:t>th</a:t>
            </a:r>
            <a:r>
              <a:rPr lang="en-US">
                <a:latin typeface="Avenir Book" panose="02000503020000020003"/>
              </a:rPr>
              <a:t>, 2023</a:t>
            </a:r>
          </a:p>
        </p:txBody>
      </p:sp>
    </p:spTree>
    <p:extLst>
      <p:ext uri="{BB962C8B-B14F-4D97-AF65-F5344CB8AC3E}">
        <p14:creationId xmlns:p14="http://schemas.microsoft.com/office/powerpoint/2010/main" val="2141354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437728-B9A0-CE4C-D941-154FDF387F06}"/>
              </a:ext>
            </a:extLst>
          </p:cNvPr>
          <p:cNvSpPr>
            <a:spLocks noGrp="1"/>
          </p:cNvSpPr>
          <p:nvPr>
            <p:ph idx="1"/>
          </p:nvPr>
        </p:nvSpPr>
        <p:spPr>
          <a:xfrm>
            <a:off x="822960" y="1741650"/>
            <a:ext cx="10515600" cy="4351338"/>
          </a:xfrm>
        </p:spPr>
        <p:txBody>
          <a:bodyPr>
            <a:normAutofit/>
          </a:bodyPr>
          <a:lstStyle/>
          <a:p>
            <a:pPr marL="0" indent="0" algn="ctr">
              <a:buNone/>
            </a:pPr>
            <a:r>
              <a:rPr lang="en-US" b="1">
                <a:solidFill>
                  <a:srgbClr val="205FAB"/>
                </a:solidFill>
              </a:rPr>
              <a:t>This webinar is being recorded and will be published online</a:t>
            </a:r>
          </a:p>
          <a:p>
            <a:pPr marL="0" indent="0">
              <a:buNone/>
            </a:pPr>
            <a:endParaRPr lang="en-US"/>
          </a:p>
          <a:p>
            <a:pPr marL="0" indent="0">
              <a:buNone/>
            </a:pPr>
            <a:endParaRPr lang="en-US"/>
          </a:p>
          <a:p>
            <a:pPr marL="342900" indent="-342900" defTabSz="457200" fontAlgn="auto">
              <a:spcBef>
                <a:spcPct val="20000"/>
              </a:spcBef>
              <a:spcAft>
                <a:spcPts val="0"/>
              </a:spcAft>
              <a:buFont typeface="Arial" panose="020B0604020202020204" pitchFamily="34" charset="0"/>
              <a:buChar char="•"/>
            </a:pPr>
            <a:r>
              <a:rPr lang="en-US" sz="2000">
                <a:cs typeface="Calibri" panose="020F0502020204030204" pitchFamily="34" charset="0"/>
              </a:rPr>
              <a:t>If you do not wish to have your voice recorded, please do not speak during the call</a:t>
            </a:r>
          </a:p>
          <a:p>
            <a:pPr marL="342900" indent="-342900" defTabSz="457200" fontAlgn="auto">
              <a:spcBef>
                <a:spcPct val="20000"/>
              </a:spcBef>
              <a:spcAft>
                <a:spcPts val="0"/>
              </a:spcAft>
              <a:buFont typeface="Arial" panose="020B0604020202020204" pitchFamily="34" charset="0"/>
              <a:buChar char="•"/>
            </a:pPr>
            <a:r>
              <a:rPr lang="en-US" sz="2000">
                <a:cs typeface="Calibri" panose="020F0502020204030204" pitchFamily="34" charset="0"/>
              </a:rPr>
              <a:t>If you do not wish to have your image recorded, please turn off your camera or participate by phone</a:t>
            </a:r>
          </a:p>
          <a:p>
            <a:pPr marL="342900" indent="-342900" defTabSz="457200" fontAlgn="auto">
              <a:spcBef>
                <a:spcPct val="20000"/>
              </a:spcBef>
              <a:spcAft>
                <a:spcPts val="0"/>
              </a:spcAft>
              <a:buFont typeface="Arial" panose="020B0604020202020204" pitchFamily="34" charset="0"/>
              <a:buChar char="•"/>
            </a:pPr>
            <a:r>
              <a:rPr lang="en-US" sz="2000">
                <a:cs typeface="Calibri" panose="020F0502020204030204" pitchFamily="34" charset="0"/>
              </a:rPr>
              <a:t>If you speak during the call or use a video connection, you are presumed to consent to recording and use of your voice or image</a:t>
            </a:r>
          </a:p>
          <a:p>
            <a:endParaRPr lang="en-US"/>
          </a:p>
          <a:p>
            <a:pPr marL="0" indent="0">
              <a:buNone/>
            </a:pPr>
            <a:endParaRPr lang="en-US"/>
          </a:p>
          <a:p>
            <a:pPr marL="0" indent="0" algn="ctr">
              <a:buNone/>
            </a:pPr>
            <a:r>
              <a:rPr lang="en-US" b="1">
                <a:solidFill>
                  <a:srgbClr val="205FAB"/>
                </a:solidFill>
              </a:rPr>
              <a:t>Please mute your phones and we’ll begin momentarily</a:t>
            </a:r>
          </a:p>
          <a:p>
            <a:endParaRPr lang="en-US"/>
          </a:p>
          <a:p>
            <a:endParaRPr lang="en-US"/>
          </a:p>
          <a:p>
            <a:endParaRPr lang="en-US"/>
          </a:p>
        </p:txBody>
      </p:sp>
      <p:sp>
        <p:nvSpPr>
          <p:cNvPr id="9" name="Title 8">
            <a:extLst>
              <a:ext uri="{FF2B5EF4-FFF2-40B4-BE49-F238E27FC236}">
                <a16:creationId xmlns:a16="http://schemas.microsoft.com/office/drawing/2014/main" id="{996CD899-D3B7-BB76-729D-DA68D3E35005}"/>
              </a:ext>
            </a:extLst>
          </p:cNvPr>
          <p:cNvSpPr>
            <a:spLocks noGrp="1"/>
          </p:cNvSpPr>
          <p:nvPr>
            <p:ph type="title"/>
          </p:nvPr>
        </p:nvSpPr>
        <p:spPr/>
        <p:txBody>
          <a:bodyPr/>
          <a:lstStyle/>
          <a:p>
            <a:r>
              <a:rPr lang="en-US"/>
              <a:t>Welcome!</a:t>
            </a:r>
          </a:p>
        </p:txBody>
      </p:sp>
    </p:spTree>
    <p:extLst>
      <p:ext uri="{BB962C8B-B14F-4D97-AF65-F5344CB8AC3E}">
        <p14:creationId xmlns:p14="http://schemas.microsoft.com/office/powerpoint/2010/main" val="23957343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61799-B3E4-DD8E-A661-694DD5DA4743}"/>
              </a:ext>
            </a:extLst>
          </p:cNvPr>
          <p:cNvSpPr>
            <a:spLocks noGrp="1"/>
          </p:cNvSpPr>
          <p:nvPr>
            <p:ph type="title"/>
          </p:nvPr>
        </p:nvSpPr>
        <p:spPr/>
        <p:txBody>
          <a:bodyPr>
            <a:normAutofit/>
          </a:bodyPr>
          <a:lstStyle/>
          <a:p>
            <a:r>
              <a:rPr lang="en-US"/>
              <a:t>Submit Questions in </a:t>
            </a:r>
            <a:r>
              <a:rPr lang="en-US" err="1"/>
              <a:t>Slido</a:t>
            </a:r>
            <a:endParaRPr lang="en-US"/>
          </a:p>
        </p:txBody>
      </p:sp>
      <p:sp>
        <p:nvSpPr>
          <p:cNvPr id="3" name="TextBox 2">
            <a:extLst>
              <a:ext uri="{FF2B5EF4-FFF2-40B4-BE49-F238E27FC236}">
                <a16:creationId xmlns:a16="http://schemas.microsoft.com/office/drawing/2014/main" id="{645D96D9-8899-B843-361B-CDBF9BA0272A}"/>
              </a:ext>
            </a:extLst>
          </p:cNvPr>
          <p:cNvSpPr txBox="1"/>
          <p:nvPr/>
        </p:nvSpPr>
        <p:spPr>
          <a:xfrm>
            <a:off x="4364416" y="1315667"/>
            <a:ext cx="7658586" cy="507831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lt"/>
                <a:cs typeface="Arial"/>
              </a:rPr>
              <a:t>Visit </a:t>
            </a:r>
            <a:r>
              <a:rPr kumimoji="0" lang="en-US" sz="1800" b="1" i="0" u="sng" strike="noStrike" kern="1200" cap="none" spc="0" normalizeH="0" baseline="0" noProof="0">
                <a:ln>
                  <a:noFill/>
                </a:ln>
                <a:solidFill>
                  <a:srgbClr val="0000FF"/>
                </a:solidFill>
                <a:effectLst/>
                <a:uLnTx/>
                <a:uFillTx/>
                <a:latin typeface="Arial"/>
                <a:ea typeface="Calibri" panose="020F0502020204030204" pitchFamily="34" charset="0"/>
                <a:cs typeface="+mn-cs"/>
              </a:rPr>
              <a:t>https://app.sli.do/event/kyXLKxRK4HVcjsbZSyxXFy </a:t>
            </a:r>
            <a:r>
              <a:rPr kumimoji="0" lang="en-US" sz="1800" b="0" i="0" u="none" strike="noStrike" kern="1200" cap="none" spc="0" normalizeH="0" baseline="0" noProof="0">
                <a:ln>
                  <a:noFill/>
                </a:ln>
                <a:solidFill>
                  <a:srgbClr val="000000"/>
                </a:solidFill>
                <a:effectLst/>
                <a:uLnTx/>
                <a:uFillTx/>
                <a:latin typeface="Arial"/>
                <a:ea typeface="Calibri" panose="020F0502020204030204" pitchFamily="34" charset="0"/>
                <a:cs typeface="Calibri"/>
              </a:rPr>
              <a:t>or </a:t>
            </a:r>
            <a:r>
              <a:rPr kumimoji="0" lang="en-US" sz="1800" b="1" i="0" u="none" strike="noStrike" kern="1200" cap="none" spc="0" normalizeH="0" baseline="0" noProof="0">
                <a:ln>
                  <a:noFill/>
                </a:ln>
                <a:solidFill>
                  <a:srgbClr val="000000"/>
                </a:solidFill>
                <a:effectLst/>
                <a:uLnTx/>
                <a:uFillTx/>
                <a:latin typeface="Arial"/>
                <a:ea typeface="Calibri" panose="020F0502020204030204" pitchFamily="34" charset="0"/>
                <a:cs typeface="Calibri"/>
              </a:rPr>
              <a:t>scan the QR code bel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a:ln>
                <a:noFill/>
              </a:ln>
              <a:solidFill>
                <a:srgbClr val="000000"/>
              </a:solidFill>
              <a:effectLst/>
              <a:uLnTx/>
              <a:uFillTx/>
              <a:latin typeface="Arial"/>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a:ln>
                <a:noFill/>
              </a:ln>
              <a:solidFill>
                <a:srgbClr val="000000"/>
              </a:solidFill>
              <a:effectLst/>
              <a:uLnTx/>
              <a:uFillTx/>
              <a:latin typeface="Arial"/>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a:ln>
                <a:noFill/>
              </a:ln>
              <a:solidFill>
                <a:srgbClr val="000000"/>
              </a:solidFill>
              <a:effectLst/>
              <a:uLnTx/>
              <a:uFillTx/>
              <a:latin typeface="Arial"/>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a:ln>
                <a:noFill/>
              </a:ln>
              <a:solidFill>
                <a:srgbClr val="000000"/>
              </a:solidFill>
              <a:effectLst/>
              <a:uLnTx/>
              <a:uFillTx/>
              <a:latin typeface="Arial"/>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a:ea typeface="Calibri" panose="020F0502020204030204" pitchFamily="34" charset="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a:ln>
                <a:noFill/>
              </a:ln>
              <a:solidFill>
                <a:srgbClr val="000000"/>
              </a:solidFill>
              <a:effectLst/>
              <a:uLnTx/>
              <a:uFillTx/>
              <a:latin typeface="Arial"/>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lt"/>
                <a:cs typeface="Arial"/>
              </a:rPr>
              <a:t>OR go to </a:t>
            </a:r>
            <a:r>
              <a:rPr kumimoji="0" lang="en-US" sz="1800" b="1" i="0" u="sng" strike="noStrike" kern="1200" cap="none" spc="0" normalizeH="0" baseline="0" noProof="0">
                <a:ln>
                  <a:noFill/>
                </a:ln>
                <a:solidFill>
                  <a:srgbClr val="000000"/>
                </a:solidFill>
                <a:effectLst/>
                <a:uLnTx/>
                <a:uFillTx/>
                <a:latin typeface="Arial"/>
                <a:ea typeface="+mn-lt"/>
                <a:cs typeface="Arial"/>
                <a:hlinkClick r:id="rId3"/>
              </a:rPr>
              <a:t>www.slido.com</a:t>
            </a:r>
            <a:endParaRPr kumimoji="0" lang="en-US" sz="1800" b="1" i="0" u="sng" strike="noStrike" kern="1200" cap="none" spc="0" normalizeH="0" baseline="0" noProof="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lt"/>
                <a:cs typeface="Arial"/>
              </a:rPr>
              <a:t>using your mobile device or web browser and </a:t>
            </a:r>
            <a:r>
              <a:rPr kumimoji="0" lang="en-US" sz="1800" b="1" i="0" u="none" strike="noStrike" kern="1200" cap="none" spc="0" normalizeH="0" baseline="0" noProof="0">
                <a:ln>
                  <a:noFill/>
                </a:ln>
                <a:solidFill>
                  <a:srgbClr val="000000"/>
                </a:solidFill>
                <a:effectLst/>
                <a:uLnTx/>
                <a:uFillTx/>
                <a:latin typeface="Arial"/>
                <a:ea typeface="+mn-lt"/>
                <a:cs typeface="Arial"/>
              </a:rPr>
              <a:t>enter event code #Nov16OfficeHou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lt"/>
                <a:cs typeface="Arial"/>
              </a:rPr>
              <a:t>Select the room that fits your question (Workstream 1: Implementation Grants Applications </a:t>
            </a:r>
            <a:r>
              <a:rPr kumimoji="0" lang="en-US" sz="1800" b="0" i="1" u="none" strike="noStrike" kern="1200" cap="none" spc="0" normalizeH="0" baseline="0" noProof="0">
                <a:ln>
                  <a:noFill/>
                </a:ln>
                <a:solidFill>
                  <a:srgbClr val="000000"/>
                </a:solidFill>
                <a:effectLst/>
                <a:uLnTx/>
                <a:uFillTx/>
                <a:latin typeface="Arial"/>
                <a:ea typeface="+mn-lt"/>
                <a:cs typeface="Arial"/>
              </a:rPr>
              <a:t>or </a:t>
            </a:r>
            <a:r>
              <a:rPr kumimoji="0" lang="en-US" sz="1800" b="0" i="0" u="none" strike="noStrike" kern="1200" cap="none" spc="0" normalizeH="0" baseline="0" noProof="0">
                <a:ln>
                  <a:noFill/>
                </a:ln>
                <a:solidFill>
                  <a:srgbClr val="000000"/>
                </a:solidFill>
                <a:effectLst/>
                <a:uLnTx/>
                <a:uFillTx/>
                <a:latin typeface="Arial"/>
                <a:ea typeface="+mn-lt"/>
                <a:cs typeface="Arial"/>
              </a:rPr>
              <a:t>Workstream 2: </a:t>
            </a:r>
            <a:br>
              <a:rPr kumimoji="0" lang="en-US" sz="1800" b="0" i="0" u="none" strike="noStrike" kern="1200" cap="none" spc="0" normalizeH="0" baseline="0" noProof="0">
                <a:ln>
                  <a:noFill/>
                </a:ln>
                <a:solidFill>
                  <a:srgbClr val="000000"/>
                </a:solidFill>
                <a:effectLst/>
                <a:uLnTx/>
                <a:uFillTx/>
                <a:latin typeface="Arial"/>
                <a:ea typeface="+mn-lt"/>
                <a:cs typeface="Arial"/>
              </a:rPr>
            </a:br>
            <a:r>
              <a:rPr kumimoji="0" lang="en-US" sz="1800" b="0" i="0" u="none" strike="noStrike" kern="1200" cap="none" spc="0" normalizeH="0" baseline="0" noProof="0">
                <a:ln>
                  <a:noFill/>
                </a:ln>
                <a:solidFill>
                  <a:srgbClr val="000000"/>
                </a:solidFill>
                <a:effectLst/>
                <a:uLnTx/>
                <a:uFillTx/>
                <a:latin typeface="Arial"/>
                <a:ea typeface="+mn-lt"/>
                <a:cs typeface="Arial"/>
              </a:rPr>
              <a:t>Third-Party Assessor Applications)</a:t>
            </a: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descr="A screenshot of a cell phone&#10;&#10;Description automatically generated">
            <a:extLst>
              <a:ext uri="{FF2B5EF4-FFF2-40B4-BE49-F238E27FC236}">
                <a16:creationId xmlns:a16="http://schemas.microsoft.com/office/drawing/2014/main" id="{B2CFC85E-91BE-F3EA-6912-303D4DCB75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9972" y="1443482"/>
            <a:ext cx="3251777" cy="4822684"/>
          </a:xfrm>
          <a:prstGeom prst="rect">
            <a:avLst/>
          </a:prstGeom>
        </p:spPr>
      </p:pic>
      <p:pic>
        <p:nvPicPr>
          <p:cNvPr id="9" name="Picture 8">
            <a:extLst>
              <a:ext uri="{FF2B5EF4-FFF2-40B4-BE49-F238E27FC236}">
                <a16:creationId xmlns:a16="http://schemas.microsoft.com/office/drawing/2014/main" id="{40BE8FB3-6661-6FF8-20BE-84F73F71C5FB}"/>
              </a:ext>
            </a:extLst>
          </p:cNvPr>
          <p:cNvPicPr>
            <a:picLocks noChangeAspect="1"/>
          </p:cNvPicPr>
          <p:nvPr/>
        </p:nvPicPr>
        <p:blipFill>
          <a:blip r:embed="rId5"/>
          <a:stretch>
            <a:fillRect/>
          </a:stretch>
        </p:blipFill>
        <p:spPr>
          <a:xfrm>
            <a:off x="3727790" y="4544640"/>
            <a:ext cx="636626" cy="562993"/>
          </a:xfrm>
          <a:prstGeom prst="rect">
            <a:avLst/>
          </a:prstGeom>
        </p:spPr>
      </p:pic>
      <p:pic>
        <p:nvPicPr>
          <p:cNvPr id="6" name="Picture 5">
            <a:extLst>
              <a:ext uri="{FF2B5EF4-FFF2-40B4-BE49-F238E27FC236}">
                <a16:creationId xmlns:a16="http://schemas.microsoft.com/office/drawing/2014/main" id="{F5893713-79CE-E345-BC11-D58DCE4FC78B}"/>
              </a:ext>
            </a:extLst>
          </p:cNvPr>
          <p:cNvPicPr>
            <a:picLocks noChangeAspect="1"/>
          </p:cNvPicPr>
          <p:nvPr/>
        </p:nvPicPr>
        <p:blipFill>
          <a:blip r:embed="rId6"/>
          <a:stretch>
            <a:fillRect/>
          </a:stretch>
        </p:blipFill>
        <p:spPr>
          <a:xfrm>
            <a:off x="4558625" y="2022128"/>
            <a:ext cx="2210997" cy="2210997"/>
          </a:xfrm>
          <a:prstGeom prst="rect">
            <a:avLst/>
          </a:prstGeom>
        </p:spPr>
      </p:pic>
    </p:spTree>
    <p:extLst>
      <p:ext uri="{BB962C8B-B14F-4D97-AF65-F5344CB8AC3E}">
        <p14:creationId xmlns:p14="http://schemas.microsoft.com/office/powerpoint/2010/main" val="3293250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376303E-7BCD-1A9C-E3CF-A61E6EC32008}"/>
              </a:ext>
            </a:extLst>
          </p:cNvPr>
          <p:cNvSpPr>
            <a:spLocks noGrp="1"/>
          </p:cNvSpPr>
          <p:nvPr>
            <p:ph sz="half" idx="1"/>
          </p:nvPr>
        </p:nvSpPr>
        <p:spPr>
          <a:xfrm>
            <a:off x="1529514" y="1510552"/>
            <a:ext cx="10449965" cy="4319797"/>
          </a:xfrm>
        </p:spPr>
        <p:txBody>
          <a:bodyPr>
            <a:normAutofit fontScale="92500"/>
          </a:bodyPr>
          <a:lstStyle/>
          <a:p>
            <a:pPr marL="0" indent="0">
              <a:buNone/>
            </a:pPr>
            <a:r>
              <a:rPr lang="en-US" b="1">
                <a:solidFill>
                  <a:srgbClr val="1EA5DF"/>
                </a:solidFill>
                <a:latin typeface="Avenir Book" panose="02000503020000020003" pitchFamily="2" charset="0"/>
              </a:rPr>
              <a:t>$80M in funding</a:t>
            </a:r>
            <a:r>
              <a:rPr lang="en-US" b="1">
                <a:latin typeface="Avenir Book" panose="02000503020000020003" pitchFamily="2" charset="0"/>
              </a:rPr>
              <a:t> </a:t>
            </a:r>
            <a:r>
              <a:rPr lang="en-US">
                <a:latin typeface="Avenir Book" panose="02000503020000020003" pitchFamily="2" charset="0"/>
              </a:rPr>
              <a:t>available for the first year of program operation</a:t>
            </a:r>
            <a:br>
              <a:rPr lang="en-US">
                <a:latin typeface="Avenir Book" panose="02000503020000020003" pitchFamily="2" charset="0"/>
              </a:rPr>
            </a:br>
            <a:r>
              <a:rPr lang="en-US">
                <a:latin typeface="Avenir Book" panose="02000503020000020003" pitchFamily="2" charset="0"/>
              </a:rPr>
              <a:t>(Additional funding available in the next couple years depending on demand)</a:t>
            </a:r>
          </a:p>
          <a:p>
            <a:pPr marL="0" indent="0">
              <a:buNone/>
            </a:pPr>
            <a:endParaRPr lang="en-US">
              <a:latin typeface="Avenir Book" panose="02000503020000020003" pitchFamily="2" charset="0"/>
            </a:endParaRPr>
          </a:p>
          <a:p>
            <a:pPr marL="0" marR="0" lvl="0" indent="0" algn="l" defTabSz="914400" rtl="0" eaLnBrk="1" fontAlgn="auto" latinLnBrk="0" hangingPunct="1">
              <a:lnSpc>
                <a:spcPct val="100000"/>
              </a:lnSpc>
              <a:spcBef>
                <a:spcPts val="0"/>
              </a:spcBef>
              <a:spcAft>
                <a:spcPts val="0"/>
              </a:spcAft>
              <a:buClr>
                <a:srgbClr val="205FAB"/>
              </a:buClr>
              <a:buSzTx/>
              <a:buFont typeface="Arial" panose="020B0604020202020204" pitchFamily="34" charset="0"/>
              <a:buNone/>
              <a:tabLst/>
              <a:defRPr/>
            </a:pPr>
            <a:r>
              <a:rPr kumimoji="0" lang="en-US" b="0"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Grants awards of up to </a:t>
            </a:r>
            <a:r>
              <a:rPr kumimoji="0" lang="en-US" b="1" i="0" u="none" strike="noStrike" kern="0" cap="none" spc="0" normalizeH="0" baseline="0" noProof="0">
                <a:ln>
                  <a:noFill/>
                </a:ln>
                <a:solidFill>
                  <a:srgbClr val="1EA5DF"/>
                </a:solidFill>
                <a:effectLst/>
                <a:uLnTx/>
                <a:uFillTx/>
                <a:latin typeface="Avenir Book" panose="02000503020000020003" pitchFamily="2" charset="0"/>
                <a:ea typeface="+mn-ea"/>
                <a:cs typeface="Calibri" panose="020F0502020204030204" pitchFamily="34" charset="0"/>
              </a:rPr>
              <a:t>$300,000 per manufacturer</a:t>
            </a:r>
            <a:r>
              <a:rPr kumimoji="0" lang="en-US" b="0"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 at a 50% cost share;</a:t>
            </a:r>
            <a:br>
              <a:rPr kumimoji="0" lang="en-US" b="0"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br>
            <a:r>
              <a:rPr kumimoji="0" lang="en-US" b="0"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Criteria: 50% impact/feasibility; 25% financial need + cost share; 25% community benefits</a:t>
            </a:r>
          </a:p>
          <a:p>
            <a:pPr marL="0" marR="0" lvl="0" indent="0" algn="l" defTabSz="914400" rtl="0" eaLnBrk="1" fontAlgn="auto" latinLnBrk="0" hangingPunct="1">
              <a:lnSpc>
                <a:spcPct val="100000"/>
              </a:lnSpc>
              <a:spcBef>
                <a:spcPts val="0"/>
              </a:spcBef>
              <a:spcAft>
                <a:spcPts val="0"/>
              </a:spcAft>
              <a:buClr>
                <a:srgbClr val="205FAB"/>
              </a:buClr>
              <a:buSzTx/>
              <a:buFont typeface="Arial" panose="020B0604020202020204" pitchFamily="34" charset="0"/>
              <a:buNone/>
              <a:tabLst/>
              <a:defRPr/>
            </a:pPr>
            <a:endParaRPr lang="en-US">
              <a:solidFill>
                <a:srgbClr val="000000"/>
              </a:solidFill>
              <a:latin typeface="Avenir Book" panose="02000503020000020003" pitchFamily="2" charset="0"/>
            </a:endParaRPr>
          </a:p>
          <a:p>
            <a:pPr marL="0" indent="0" algn="l" rtl="0">
              <a:buClr>
                <a:srgbClr val="205FAB"/>
              </a:buClr>
              <a:buNone/>
              <a:defRPr/>
            </a:pPr>
            <a:r>
              <a:rPr kumimoji="0" lang="en-US" b="0"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Eligibility exclusively for </a:t>
            </a:r>
            <a:r>
              <a:rPr kumimoji="0" lang="en-US" b="1" i="0" u="none" strike="noStrike" kern="0" cap="none" spc="0" normalizeH="0" baseline="0" noProof="0">
                <a:ln>
                  <a:noFill/>
                </a:ln>
                <a:solidFill>
                  <a:srgbClr val="1EA5DF"/>
                </a:solidFill>
                <a:effectLst/>
                <a:uLnTx/>
                <a:uFillTx/>
                <a:latin typeface="Avenir Book" panose="02000503020000020003" pitchFamily="2" charset="0"/>
                <a:ea typeface="+mn-ea"/>
                <a:cs typeface="Calibri" panose="020F0502020204030204" pitchFamily="34" charset="0"/>
              </a:rPr>
              <a:t>small- and medium-sized</a:t>
            </a:r>
            <a:r>
              <a:rPr kumimoji="0" lang="en-US" b="1" i="0" u="none" strike="noStrike" kern="0" cap="none" spc="0" normalizeH="0" baseline="30000" noProof="0">
                <a:ln>
                  <a:noFill/>
                </a:ln>
                <a:solidFill>
                  <a:srgbClr val="1EA5DF"/>
                </a:solidFill>
                <a:effectLst/>
                <a:uLnTx/>
                <a:uFillTx/>
                <a:latin typeface="Avenir Book" panose="02000503020000020003" pitchFamily="2" charset="0"/>
                <a:ea typeface="+mn-ea"/>
                <a:cs typeface="Calibri" panose="020F0502020204030204" pitchFamily="34" charset="0"/>
              </a:rPr>
              <a:t>1</a:t>
            </a:r>
            <a:r>
              <a:rPr kumimoji="0" lang="en-US" b="1" i="0" u="none" strike="noStrike" kern="0" cap="none" spc="0" normalizeH="0" baseline="0" noProof="0">
                <a:ln>
                  <a:noFill/>
                </a:ln>
                <a:solidFill>
                  <a:srgbClr val="1EA5DF"/>
                </a:solidFill>
                <a:effectLst/>
                <a:uLnTx/>
                <a:uFillTx/>
                <a:latin typeface="Avenir Book" panose="02000503020000020003" pitchFamily="2" charset="0"/>
                <a:ea typeface="+mn-ea"/>
                <a:cs typeface="Calibri" panose="020F0502020204030204" pitchFamily="34" charset="0"/>
              </a:rPr>
              <a:t> manufacturing firms</a:t>
            </a:r>
            <a:r>
              <a:rPr kumimoji="0" lang="en-US" b="1"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 </a:t>
            </a:r>
            <a:r>
              <a:rPr kumimoji="0" lang="en-US" b="0"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amp; water treatment facilities</a:t>
            </a:r>
          </a:p>
          <a:p>
            <a:pPr marL="0" indent="0" algn="l" rtl="0">
              <a:buClr>
                <a:srgbClr val="205FAB"/>
              </a:buClr>
              <a:buNone/>
              <a:defRPr/>
            </a:pPr>
            <a:endParaRPr lang="en-US">
              <a:solidFill>
                <a:srgbClr val="000000"/>
              </a:solidFill>
              <a:latin typeface="Avenir Book" panose="02000503020000020003" pitchFamily="2" charset="0"/>
            </a:endParaRPr>
          </a:p>
          <a:p>
            <a:pPr marL="0" indent="0" algn="l" rtl="0">
              <a:buClr>
                <a:srgbClr val="205FAB"/>
              </a:buClr>
              <a:buNone/>
              <a:defRPr/>
            </a:pPr>
            <a:r>
              <a:rPr kumimoji="0" lang="en-US" b="0"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To </a:t>
            </a:r>
            <a:r>
              <a:rPr kumimoji="0" lang="en-US" b="1" i="0" u="none" strike="noStrike" kern="0" cap="none" spc="0" normalizeH="0" baseline="0" noProof="0">
                <a:ln>
                  <a:noFill/>
                </a:ln>
                <a:solidFill>
                  <a:srgbClr val="1EA5DF"/>
                </a:solidFill>
                <a:effectLst/>
                <a:uLnTx/>
                <a:uFillTx/>
                <a:latin typeface="Avenir Book" panose="02000503020000020003" pitchFamily="2" charset="0"/>
                <a:ea typeface="+mn-ea"/>
                <a:cs typeface="Calibri" panose="020F0502020204030204" pitchFamily="34" charset="0"/>
              </a:rPr>
              <a:t>address energy assessment recommendations</a:t>
            </a:r>
            <a:r>
              <a:rPr kumimoji="0" lang="en-US" b="1"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 </a:t>
            </a:r>
            <a:r>
              <a:rPr kumimoji="0" lang="en-US" b="0"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by IACs, DOE Combined Heat and Power/Onsite Energy TAPs, or </a:t>
            </a:r>
            <a:r>
              <a:rPr kumimoji="0" lang="en-US" b="1" i="0" u="none" strike="noStrike" kern="0" cap="none" spc="0" normalizeH="0" baseline="0" noProof="0">
                <a:ln>
                  <a:noFill/>
                </a:ln>
                <a:solidFill>
                  <a:srgbClr val="000000"/>
                </a:solidFill>
                <a:effectLst/>
                <a:uLnTx/>
                <a:uFillTx/>
                <a:latin typeface="Avenir Book" panose="02000503020000020003" pitchFamily="2" charset="0"/>
                <a:ea typeface="+mn-ea"/>
                <a:cs typeface="Calibri" panose="020F0502020204030204" pitchFamily="34" charset="0"/>
              </a:rPr>
              <a:t>other third-party assessors deemed equivalent by DOE</a:t>
            </a:r>
          </a:p>
        </p:txBody>
      </p:sp>
      <p:sp>
        <p:nvSpPr>
          <p:cNvPr id="4" name="Slide Number Placeholder 3">
            <a:extLst>
              <a:ext uri="{FF2B5EF4-FFF2-40B4-BE49-F238E27FC236}">
                <a16:creationId xmlns:a16="http://schemas.microsoft.com/office/drawing/2014/main" id="{5BBF8CC1-3FE0-E60F-8896-5F92CFEB50EE}"/>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B5F485-982A-41B4-B657-C5770F0E9220}" type="slidenum">
              <a:rPr kumimoji="0" lang="en-US" sz="1000" b="0" i="0" u="none" strike="noStrike" kern="1200" cap="none" spc="0" normalizeH="0" baseline="0" noProof="0" smtClean="0">
                <a:ln>
                  <a:noFill/>
                </a:ln>
                <a:solidFill>
                  <a:srgbClr val="DBDDDE">
                    <a:lumMod val="50000"/>
                  </a:srgbClr>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DBDDDE">
                  <a:lumMod val="50000"/>
                </a:srgbClr>
              </a:solidFill>
              <a:effectLst/>
              <a:uLnTx/>
              <a:uFillTx/>
              <a:latin typeface="Calibri" panose="020F0502020204030204" pitchFamily="34" charset="0"/>
              <a:ea typeface="+mn-ea"/>
              <a:cs typeface="Calibri" panose="020F0502020204030204" pitchFamily="34" charset="0"/>
            </a:endParaRPr>
          </a:p>
        </p:txBody>
      </p:sp>
      <p:sp>
        <p:nvSpPr>
          <p:cNvPr id="11" name="Title 10">
            <a:extLst>
              <a:ext uri="{FF2B5EF4-FFF2-40B4-BE49-F238E27FC236}">
                <a16:creationId xmlns:a16="http://schemas.microsoft.com/office/drawing/2014/main" id="{2E497F07-A232-DF23-361D-392ABC3AEC9B}"/>
              </a:ext>
            </a:extLst>
          </p:cNvPr>
          <p:cNvSpPr>
            <a:spLocks noGrp="1"/>
          </p:cNvSpPr>
          <p:nvPr>
            <p:ph type="title"/>
          </p:nvPr>
        </p:nvSpPr>
        <p:spPr>
          <a:xfrm>
            <a:off x="2904579" y="140415"/>
            <a:ext cx="6382841" cy="954107"/>
          </a:xfrm>
        </p:spPr>
        <p:txBody>
          <a:bodyPr/>
          <a:lstStyle/>
          <a:p>
            <a:r>
              <a:rPr lang="en-US" sz="4000"/>
              <a:t>IAC Implementation Grants</a:t>
            </a:r>
            <a:br>
              <a:rPr lang="en-US"/>
            </a:br>
            <a:r>
              <a:rPr lang="en-US" sz="2200"/>
              <a:t>Bipartisan Infrastructure Law Provision 40521.b1</a:t>
            </a:r>
          </a:p>
        </p:txBody>
      </p:sp>
      <p:grpSp>
        <p:nvGrpSpPr>
          <p:cNvPr id="12" name="Graphic 4">
            <a:extLst>
              <a:ext uri="{FF2B5EF4-FFF2-40B4-BE49-F238E27FC236}">
                <a16:creationId xmlns:a16="http://schemas.microsoft.com/office/drawing/2014/main" id="{BECA56BE-061C-2165-CD20-33B042193715}"/>
              </a:ext>
            </a:extLst>
          </p:cNvPr>
          <p:cNvGrpSpPr/>
          <p:nvPr/>
        </p:nvGrpSpPr>
        <p:grpSpPr>
          <a:xfrm>
            <a:off x="485215" y="1624618"/>
            <a:ext cx="685086" cy="646650"/>
            <a:chOff x="2694018" y="3343458"/>
            <a:chExt cx="499912" cy="499281"/>
          </a:xfrm>
          <a:solidFill>
            <a:schemeClr val="tx2"/>
          </a:solidFill>
        </p:grpSpPr>
        <p:sp>
          <p:nvSpPr>
            <p:cNvPr id="13" name="Freeform 44">
              <a:extLst>
                <a:ext uri="{FF2B5EF4-FFF2-40B4-BE49-F238E27FC236}">
                  <a16:creationId xmlns:a16="http://schemas.microsoft.com/office/drawing/2014/main" id="{C93327F4-C542-C893-FF3A-BBBDEC928685}"/>
                </a:ext>
              </a:extLst>
            </p:cNvPr>
            <p:cNvSpPr/>
            <p:nvPr/>
          </p:nvSpPr>
          <p:spPr>
            <a:xfrm>
              <a:off x="2694018" y="3648328"/>
              <a:ext cx="195041" cy="194410"/>
            </a:xfrm>
            <a:custGeom>
              <a:avLst/>
              <a:gdLst>
                <a:gd name="connsiteX0" fmla="*/ 42922 w 195041"/>
                <a:gd name="connsiteY0" fmla="*/ 194411 h 194410"/>
                <a:gd name="connsiteX1" fmla="*/ 12624 w 195041"/>
                <a:gd name="connsiteY1" fmla="*/ 181787 h 194410"/>
                <a:gd name="connsiteX2" fmla="*/ 0 w 195041"/>
                <a:gd name="connsiteY2" fmla="*/ 151489 h 194410"/>
                <a:gd name="connsiteX3" fmla="*/ 12624 w 195041"/>
                <a:gd name="connsiteY3" fmla="*/ 121191 h 194410"/>
                <a:gd name="connsiteX4" fmla="*/ 131921 w 195041"/>
                <a:gd name="connsiteY4" fmla="*/ 1894 h 194410"/>
                <a:gd name="connsiteX5" fmla="*/ 137602 w 195041"/>
                <a:gd name="connsiteY5" fmla="*/ 0 h 194410"/>
                <a:gd name="connsiteX6" fmla="*/ 142652 w 195041"/>
                <a:gd name="connsiteY6" fmla="*/ 3156 h 194410"/>
                <a:gd name="connsiteX7" fmla="*/ 191886 w 195041"/>
                <a:gd name="connsiteY7" fmla="*/ 52390 h 194410"/>
                <a:gd name="connsiteX8" fmla="*/ 195042 w 195041"/>
                <a:gd name="connsiteY8" fmla="*/ 57440 h 194410"/>
                <a:gd name="connsiteX9" fmla="*/ 193148 w 195041"/>
                <a:gd name="connsiteY9" fmla="*/ 63120 h 194410"/>
                <a:gd name="connsiteX10" fmla="*/ 73851 w 195041"/>
                <a:gd name="connsiteY10" fmla="*/ 182418 h 194410"/>
                <a:gd name="connsiteX11" fmla="*/ 42922 w 195041"/>
                <a:gd name="connsiteY11" fmla="*/ 194411 h 194410"/>
                <a:gd name="connsiteX12" fmla="*/ 136340 w 195041"/>
                <a:gd name="connsiteY12" fmla="*/ 17674 h 194410"/>
                <a:gd name="connsiteX13" fmla="*/ 22723 w 195041"/>
                <a:gd name="connsiteY13" fmla="*/ 131290 h 194410"/>
                <a:gd name="connsiteX14" fmla="*/ 22723 w 195041"/>
                <a:gd name="connsiteY14" fmla="*/ 172319 h 194410"/>
                <a:gd name="connsiteX15" fmla="*/ 42922 w 195041"/>
                <a:gd name="connsiteY15" fmla="*/ 180524 h 194410"/>
                <a:gd name="connsiteX16" fmla="*/ 63120 w 195041"/>
                <a:gd name="connsiteY16" fmla="*/ 172319 h 194410"/>
                <a:gd name="connsiteX17" fmla="*/ 176737 w 195041"/>
                <a:gd name="connsiteY17" fmla="*/ 58702 h 194410"/>
                <a:gd name="connsiteX18" fmla="*/ 136340 w 195041"/>
                <a:gd name="connsiteY18" fmla="*/ 17674 h 194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5041" h="194410">
                  <a:moveTo>
                    <a:pt x="42922" y="194411"/>
                  </a:moveTo>
                  <a:cubicBezTo>
                    <a:pt x="31560" y="194411"/>
                    <a:pt x="20830" y="189992"/>
                    <a:pt x="12624" y="181787"/>
                  </a:cubicBezTo>
                  <a:cubicBezTo>
                    <a:pt x="4418" y="173581"/>
                    <a:pt x="0" y="162851"/>
                    <a:pt x="0" y="151489"/>
                  </a:cubicBezTo>
                  <a:cubicBezTo>
                    <a:pt x="0" y="140127"/>
                    <a:pt x="4418" y="129397"/>
                    <a:pt x="12624" y="121191"/>
                  </a:cubicBezTo>
                  <a:lnTo>
                    <a:pt x="131921" y="1894"/>
                  </a:lnTo>
                  <a:cubicBezTo>
                    <a:pt x="133184" y="631"/>
                    <a:pt x="135709" y="0"/>
                    <a:pt x="137602" y="0"/>
                  </a:cubicBezTo>
                  <a:cubicBezTo>
                    <a:pt x="139496" y="0"/>
                    <a:pt x="141389" y="1262"/>
                    <a:pt x="142652" y="3156"/>
                  </a:cubicBezTo>
                  <a:cubicBezTo>
                    <a:pt x="155907" y="22724"/>
                    <a:pt x="172318" y="39135"/>
                    <a:pt x="191886" y="52390"/>
                  </a:cubicBezTo>
                  <a:cubicBezTo>
                    <a:pt x="193779" y="53652"/>
                    <a:pt x="194410" y="55546"/>
                    <a:pt x="195042" y="57440"/>
                  </a:cubicBezTo>
                  <a:cubicBezTo>
                    <a:pt x="195042" y="59333"/>
                    <a:pt x="194410" y="61227"/>
                    <a:pt x="193148" y="63120"/>
                  </a:cubicBezTo>
                  <a:lnTo>
                    <a:pt x="73851" y="182418"/>
                  </a:lnTo>
                  <a:cubicBezTo>
                    <a:pt x="65014" y="189992"/>
                    <a:pt x="54283" y="194411"/>
                    <a:pt x="42922" y="194411"/>
                  </a:cubicBezTo>
                  <a:close/>
                  <a:moveTo>
                    <a:pt x="136340" y="17674"/>
                  </a:moveTo>
                  <a:lnTo>
                    <a:pt x="22723" y="131290"/>
                  </a:lnTo>
                  <a:cubicBezTo>
                    <a:pt x="11362" y="142652"/>
                    <a:pt x="11362" y="160957"/>
                    <a:pt x="22723" y="172319"/>
                  </a:cubicBezTo>
                  <a:cubicBezTo>
                    <a:pt x="28404" y="177999"/>
                    <a:pt x="35347" y="180524"/>
                    <a:pt x="42922" y="180524"/>
                  </a:cubicBezTo>
                  <a:cubicBezTo>
                    <a:pt x="50496" y="180524"/>
                    <a:pt x="58071" y="177368"/>
                    <a:pt x="63120" y="172319"/>
                  </a:cubicBezTo>
                  <a:lnTo>
                    <a:pt x="176737" y="58702"/>
                  </a:lnTo>
                  <a:cubicBezTo>
                    <a:pt x="161588" y="46709"/>
                    <a:pt x="147701" y="33454"/>
                    <a:pt x="136340" y="17674"/>
                  </a:cubicBezTo>
                  <a:close/>
                </a:path>
              </a:pathLst>
            </a:custGeom>
            <a:grpFill/>
            <a:ln w="3175" cap="flat">
              <a:solidFill>
                <a:schemeClr val="tx2"/>
              </a:solidFill>
              <a:prstDash val="solid"/>
              <a:miter/>
            </a:ln>
          </p:spPr>
          <p:txBody>
            <a:bodyPr rtlCol="0" anchor="ctr"/>
            <a:lstStyle/>
            <a:p>
              <a:endParaRPr lang="en-US"/>
            </a:p>
          </p:txBody>
        </p:sp>
        <p:grpSp>
          <p:nvGrpSpPr>
            <p:cNvPr id="14" name="Graphic 4">
              <a:extLst>
                <a:ext uri="{FF2B5EF4-FFF2-40B4-BE49-F238E27FC236}">
                  <a16:creationId xmlns:a16="http://schemas.microsoft.com/office/drawing/2014/main" id="{D7CBFCA2-68D9-53A1-B6A9-34B1D1BA3D93}"/>
                </a:ext>
              </a:extLst>
            </p:cNvPr>
            <p:cNvGrpSpPr/>
            <p:nvPr/>
          </p:nvGrpSpPr>
          <p:grpSpPr>
            <a:xfrm>
              <a:off x="2943679" y="3442556"/>
              <a:ext cx="97832" cy="205140"/>
              <a:chOff x="2943679" y="3442556"/>
              <a:chExt cx="97832" cy="205140"/>
            </a:xfrm>
            <a:grpFill/>
          </p:grpSpPr>
          <p:sp>
            <p:nvSpPr>
              <p:cNvPr id="17" name="Freeform 48">
                <a:extLst>
                  <a:ext uri="{FF2B5EF4-FFF2-40B4-BE49-F238E27FC236}">
                    <a16:creationId xmlns:a16="http://schemas.microsoft.com/office/drawing/2014/main" id="{D55D6D68-19E8-84AA-6363-A2F4FE8541DC}"/>
                  </a:ext>
                </a:extLst>
              </p:cNvPr>
              <p:cNvSpPr/>
              <p:nvPr/>
            </p:nvSpPr>
            <p:spPr>
              <a:xfrm>
                <a:off x="2943679" y="3470329"/>
                <a:ext cx="97832" cy="147701"/>
              </a:xfrm>
              <a:custGeom>
                <a:avLst/>
                <a:gdLst>
                  <a:gd name="connsiteX0" fmla="*/ 47636 w 97832"/>
                  <a:gd name="connsiteY0" fmla="*/ 147701 h 147701"/>
                  <a:gd name="connsiteX1" fmla="*/ 1558 w 97832"/>
                  <a:gd name="connsiteY1" fmla="*/ 124347 h 147701"/>
                  <a:gd name="connsiteX2" fmla="*/ 2820 w 97832"/>
                  <a:gd name="connsiteY2" fmla="*/ 114879 h 147701"/>
                  <a:gd name="connsiteX3" fmla="*/ 12288 w 97832"/>
                  <a:gd name="connsiteY3" fmla="*/ 116141 h 147701"/>
                  <a:gd name="connsiteX4" fmla="*/ 70359 w 97832"/>
                  <a:gd name="connsiteY4" fmla="*/ 128765 h 147701"/>
                  <a:gd name="connsiteX5" fmla="*/ 70990 w 97832"/>
                  <a:gd name="connsiteY5" fmla="*/ 128765 h 147701"/>
                  <a:gd name="connsiteX6" fmla="*/ 82983 w 97832"/>
                  <a:gd name="connsiteY6" fmla="*/ 105411 h 147701"/>
                  <a:gd name="connsiteX7" fmla="*/ 64047 w 97832"/>
                  <a:gd name="connsiteY7" fmla="*/ 82056 h 147701"/>
                  <a:gd name="connsiteX8" fmla="*/ 28700 w 97832"/>
                  <a:gd name="connsiteY8" fmla="*/ 71326 h 147701"/>
                  <a:gd name="connsiteX9" fmla="*/ 927 w 97832"/>
                  <a:gd name="connsiteY9" fmla="*/ 35978 h 147701"/>
                  <a:gd name="connsiteX10" fmla="*/ 48898 w 97832"/>
                  <a:gd name="connsiteY10" fmla="*/ 0 h 147701"/>
                  <a:gd name="connsiteX11" fmla="*/ 50161 w 97832"/>
                  <a:gd name="connsiteY11" fmla="*/ 0 h 147701"/>
                  <a:gd name="connsiteX12" fmla="*/ 97501 w 97832"/>
                  <a:gd name="connsiteY12" fmla="*/ 32191 h 147701"/>
                  <a:gd name="connsiteX13" fmla="*/ 93082 w 97832"/>
                  <a:gd name="connsiteY13" fmla="*/ 40397 h 147701"/>
                  <a:gd name="connsiteX14" fmla="*/ 84877 w 97832"/>
                  <a:gd name="connsiteY14" fmla="*/ 35978 h 147701"/>
                  <a:gd name="connsiteX15" fmla="*/ 50792 w 97832"/>
                  <a:gd name="connsiteY15" fmla="*/ 13255 h 147701"/>
                  <a:gd name="connsiteX16" fmla="*/ 49529 w 97832"/>
                  <a:gd name="connsiteY16" fmla="*/ 13255 h 147701"/>
                  <a:gd name="connsiteX17" fmla="*/ 15444 w 97832"/>
                  <a:gd name="connsiteY17" fmla="*/ 35978 h 147701"/>
                  <a:gd name="connsiteX18" fmla="*/ 33749 w 97832"/>
                  <a:gd name="connsiteY18" fmla="*/ 58070 h 147701"/>
                  <a:gd name="connsiteX19" fmla="*/ 69097 w 97832"/>
                  <a:gd name="connsiteY19" fmla="*/ 68801 h 147701"/>
                  <a:gd name="connsiteX20" fmla="*/ 97501 w 97832"/>
                  <a:gd name="connsiteY20" fmla="*/ 103517 h 147701"/>
                  <a:gd name="connsiteX21" fmla="*/ 77302 w 97832"/>
                  <a:gd name="connsiteY21" fmla="*/ 140758 h 147701"/>
                  <a:gd name="connsiteX22" fmla="*/ 47636 w 97832"/>
                  <a:gd name="connsiteY22" fmla="*/ 147701 h 1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832" h="147701">
                    <a:moveTo>
                      <a:pt x="47636" y="147701"/>
                    </a:moveTo>
                    <a:cubicBezTo>
                      <a:pt x="32487" y="147701"/>
                      <a:pt x="14813" y="142021"/>
                      <a:pt x="1558" y="124347"/>
                    </a:cubicBezTo>
                    <a:cubicBezTo>
                      <a:pt x="-967" y="121191"/>
                      <a:pt x="-336" y="116773"/>
                      <a:pt x="2820" y="114879"/>
                    </a:cubicBezTo>
                    <a:cubicBezTo>
                      <a:pt x="5976" y="112354"/>
                      <a:pt x="10395" y="112985"/>
                      <a:pt x="12288" y="116141"/>
                    </a:cubicBezTo>
                    <a:cubicBezTo>
                      <a:pt x="35643" y="146439"/>
                      <a:pt x="69097" y="129397"/>
                      <a:pt x="70359" y="128765"/>
                    </a:cubicBezTo>
                    <a:cubicBezTo>
                      <a:pt x="70359" y="128765"/>
                      <a:pt x="70990" y="128765"/>
                      <a:pt x="70990" y="128765"/>
                    </a:cubicBezTo>
                    <a:cubicBezTo>
                      <a:pt x="72253" y="128134"/>
                      <a:pt x="84877" y="122453"/>
                      <a:pt x="82983" y="105411"/>
                    </a:cubicBezTo>
                    <a:cubicBezTo>
                      <a:pt x="81089" y="87737"/>
                      <a:pt x="64047" y="82687"/>
                      <a:pt x="64047" y="82056"/>
                    </a:cubicBezTo>
                    <a:cubicBezTo>
                      <a:pt x="64047" y="82056"/>
                      <a:pt x="46373" y="77006"/>
                      <a:pt x="28700" y="71326"/>
                    </a:cubicBezTo>
                    <a:cubicBezTo>
                      <a:pt x="10395" y="65645"/>
                      <a:pt x="296" y="53652"/>
                      <a:pt x="927" y="35978"/>
                    </a:cubicBezTo>
                    <a:cubicBezTo>
                      <a:pt x="927" y="27142"/>
                      <a:pt x="4714" y="0"/>
                      <a:pt x="48898" y="0"/>
                    </a:cubicBezTo>
                    <a:cubicBezTo>
                      <a:pt x="49529" y="0"/>
                      <a:pt x="49529" y="0"/>
                      <a:pt x="50161" y="0"/>
                    </a:cubicBezTo>
                    <a:cubicBezTo>
                      <a:pt x="79827" y="631"/>
                      <a:pt x="94345" y="21461"/>
                      <a:pt x="97501" y="32191"/>
                    </a:cubicBezTo>
                    <a:cubicBezTo>
                      <a:pt x="98763" y="35978"/>
                      <a:pt x="96238" y="39766"/>
                      <a:pt x="93082" y="40397"/>
                    </a:cubicBezTo>
                    <a:cubicBezTo>
                      <a:pt x="89295" y="41659"/>
                      <a:pt x="85508" y="39134"/>
                      <a:pt x="84877" y="35978"/>
                    </a:cubicBezTo>
                    <a:cubicBezTo>
                      <a:pt x="84877" y="34716"/>
                      <a:pt x="77933" y="13886"/>
                      <a:pt x="50792" y="13255"/>
                    </a:cubicBezTo>
                    <a:cubicBezTo>
                      <a:pt x="50161" y="13255"/>
                      <a:pt x="50161" y="13255"/>
                      <a:pt x="49529" y="13255"/>
                    </a:cubicBezTo>
                    <a:cubicBezTo>
                      <a:pt x="33749" y="13255"/>
                      <a:pt x="15444" y="17042"/>
                      <a:pt x="15444" y="35978"/>
                    </a:cubicBezTo>
                    <a:cubicBezTo>
                      <a:pt x="15444" y="47340"/>
                      <a:pt x="21125" y="54283"/>
                      <a:pt x="33749" y="58070"/>
                    </a:cubicBezTo>
                    <a:cubicBezTo>
                      <a:pt x="51423" y="63120"/>
                      <a:pt x="69097" y="68801"/>
                      <a:pt x="69097" y="68801"/>
                    </a:cubicBezTo>
                    <a:cubicBezTo>
                      <a:pt x="70359" y="68801"/>
                      <a:pt x="95607" y="76375"/>
                      <a:pt x="97501" y="103517"/>
                    </a:cubicBezTo>
                    <a:cubicBezTo>
                      <a:pt x="99394" y="124978"/>
                      <a:pt x="84877" y="136971"/>
                      <a:pt x="77302" y="140758"/>
                    </a:cubicBezTo>
                    <a:cubicBezTo>
                      <a:pt x="69097" y="144545"/>
                      <a:pt x="58997" y="147701"/>
                      <a:pt x="47636" y="147701"/>
                    </a:cubicBezTo>
                    <a:close/>
                  </a:path>
                </a:pathLst>
              </a:custGeom>
              <a:grpFill/>
              <a:ln w="3175" cap="flat">
                <a:solidFill>
                  <a:schemeClr val="tx2"/>
                </a:solidFill>
                <a:prstDash val="solid"/>
                <a:miter/>
              </a:ln>
            </p:spPr>
            <p:txBody>
              <a:bodyPr rtlCol="0" anchor="ctr"/>
              <a:lstStyle/>
              <a:p>
                <a:endParaRPr lang="en-US"/>
              </a:p>
            </p:txBody>
          </p:sp>
          <p:sp>
            <p:nvSpPr>
              <p:cNvPr id="18" name="Freeform 49">
                <a:extLst>
                  <a:ext uri="{FF2B5EF4-FFF2-40B4-BE49-F238E27FC236}">
                    <a16:creationId xmlns:a16="http://schemas.microsoft.com/office/drawing/2014/main" id="{1DD28F1F-B798-C695-ECAB-FC99AAD88FA7}"/>
                  </a:ext>
                </a:extLst>
              </p:cNvPr>
              <p:cNvSpPr/>
              <p:nvPr/>
            </p:nvSpPr>
            <p:spPr>
              <a:xfrm>
                <a:off x="2986265" y="3442556"/>
                <a:ext cx="13886" cy="41659"/>
              </a:xfrm>
              <a:custGeom>
                <a:avLst/>
                <a:gdLst>
                  <a:gd name="connsiteX0" fmla="*/ 6943 w 13886"/>
                  <a:gd name="connsiteY0" fmla="*/ 41659 h 41659"/>
                  <a:gd name="connsiteX1" fmla="*/ 0 w 13886"/>
                  <a:gd name="connsiteY1" fmla="*/ 34716 h 41659"/>
                  <a:gd name="connsiteX2" fmla="*/ 0 w 13886"/>
                  <a:gd name="connsiteY2" fmla="*/ 6943 h 41659"/>
                  <a:gd name="connsiteX3" fmla="*/ 6943 w 13886"/>
                  <a:gd name="connsiteY3" fmla="*/ 0 h 41659"/>
                  <a:gd name="connsiteX4" fmla="*/ 13887 w 13886"/>
                  <a:gd name="connsiteY4" fmla="*/ 6943 h 41659"/>
                  <a:gd name="connsiteX5" fmla="*/ 13887 w 13886"/>
                  <a:gd name="connsiteY5" fmla="*/ 34716 h 41659"/>
                  <a:gd name="connsiteX6" fmla="*/ 6943 w 13886"/>
                  <a:gd name="connsiteY6" fmla="*/ 41659 h 4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6" h="41659">
                    <a:moveTo>
                      <a:pt x="6943" y="41659"/>
                    </a:moveTo>
                    <a:cubicBezTo>
                      <a:pt x="3156" y="41659"/>
                      <a:pt x="0" y="38503"/>
                      <a:pt x="0" y="34716"/>
                    </a:cubicBezTo>
                    <a:lnTo>
                      <a:pt x="0" y="6943"/>
                    </a:lnTo>
                    <a:cubicBezTo>
                      <a:pt x="0" y="3156"/>
                      <a:pt x="3156" y="0"/>
                      <a:pt x="6943" y="0"/>
                    </a:cubicBezTo>
                    <a:cubicBezTo>
                      <a:pt x="10731" y="0"/>
                      <a:pt x="13887" y="3156"/>
                      <a:pt x="13887" y="6943"/>
                    </a:cubicBezTo>
                    <a:lnTo>
                      <a:pt x="13887" y="34716"/>
                    </a:lnTo>
                    <a:cubicBezTo>
                      <a:pt x="13887" y="38503"/>
                      <a:pt x="10731" y="41659"/>
                      <a:pt x="6943" y="41659"/>
                    </a:cubicBezTo>
                    <a:close/>
                  </a:path>
                </a:pathLst>
              </a:custGeom>
              <a:grpFill/>
              <a:ln w="3175" cap="flat">
                <a:solidFill>
                  <a:schemeClr val="tx2"/>
                </a:solidFill>
                <a:prstDash val="solid"/>
                <a:miter/>
              </a:ln>
            </p:spPr>
            <p:txBody>
              <a:bodyPr rtlCol="0" anchor="ctr"/>
              <a:lstStyle/>
              <a:p>
                <a:endParaRPr lang="en-US"/>
              </a:p>
            </p:txBody>
          </p:sp>
          <p:sp>
            <p:nvSpPr>
              <p:cNvPr id="19" name="Freeform 50">
                <a:extLst>
                  <a:ext uri="{FF2B5EF4-FFF2-40B4-BE49-F238E27FC236}">
                    <a16:creationId xmlns:a16="http://schemas.microsoft.com/office/drawing/2014/main" id="{58765C7C-B951-E176-A145-7E0CE4390EC6}"/>
                  </a:ext>
                </a:extLst>
              </p:cNvPr>
              <p:cNvSpPr/>
              <p:nvPr/>
            </p:nvSpPr>
            <p:spPr>
              <a:xfrm>
                <a:off x="2986265" y="3606038"/>
                <a:ext cx="13886" cy="41659"/>
              </a:xfrm>
              <a:custGeom>
                <a:avLst/>
                <a:gdLst>
                  <a:gd name="connsiteX0" fmla="*/ 6943 w 13886"/>
                  <a:gd name="connsiteY0" fmla="*/ 41659 h 41659"/>
                  <a:gd name="connsiteX1" fmla="*/ 0 w 13886"/>
                  <a:gd name="connsiteY1" fmla="*/ 34716 h 41659"/>
                  <a:gd name="connsiteX2" fmla="*/ 0 w 13886"/>
                  <a:gd name="connsiteY2" fmla="*/ 6943 h 41659"/>
                  <a:gd name="connsiteX3" fmla="*/ 6943 w 13886"/>
                  <a:gd name="connsiteY3" fmla="*/ 0 h 41659"/>
                  <a:gd name="connsiteX4" fmla="*/ 13887 w 13886"/>
                  <a:gd name="connsiteY4" fmla="*/ 6943 h 41659"/>
                  <a:gd name="connsiteX5" fmla="*/ 13887 w 13886"/>
                  <a:gd name="connsiteY5" fmla="*/ 34716 h 41659"/>
                  <a:gd name="connsiteX6" fmla="*/ 6943 w 13886"/>
                  <a:gd name="connsiteY6" fmla="*/ 41659 h 41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86" h="41659">
                    <a:moveTo>
                      <a:pt x="6943" y="41659"/>
                    </a:moveTo>
                    <a:cubicBezTo>
                      <a:pt x="3156" y="41659"/>
                      <a:pt x="0" y="38503"/>
                      <a:pt x="0" y="34716"/>
                    </a:cubicBezTo>
                    <a:lnTo>
                      <a:pt x="0" y="6943"/>
                    </a:lnTo>
                    <a:cubicBezTo>
                      <a:pt x="0" y="3156"/>
                      <a:pt x="3156" y="0"/>
                      <a:pt x="6943" y="0"/>
                    </a:cubicBezTo>
                    <a:cubicBezTo>
                      <a:pt x="10731" y="0"/>
                      <a:pt x="13887" y="3156"/>
                      <a:pt x="13887" y="6943"/>
                    </a:cubicBezTo>
                    <a:lnTo>
                      <a:pt x="13887" y="34716"/>
                    </a:lnTo>
                    <a:cubicBezTo>
                      <a:pt x="13887" y="38503"/>
                      <a:pt x="10731" y="41659"/>
                      <a:pt x="6943" y="41659"/>
                    </a:cubicBezTo>
                    <a:close/>
                  </a:path>
                </a:pathLst>
              </a:custGeom>
              <a:grpFill/>
              <a:ln w="3175" cap="flat">
                <a:solidFill>
                  <a:schemeClr val="tx2"/>
                </a:solidFill>
                <a:prstDash val="solid"/>
                <a:miter/>
              </a:ln>
            </p:spPr>
            <p:txBody>
              <a:bodyPr rtlCol="0" anchor="ctr"/>
              <a:lstStyle/>
              <a:p>
                <a:endParaRPr lang="en-US"/>
              </a:p>
            </p:txBody>
          </p:sp>
        </p:grpSp>
        <p:sp>
          <p:nvSpPr>
            <p:cNvPr id="15" name="Freeform 46">
              <a:extLst>
                <a:ext uri="{FF2B5EF4-FFF2-40B4-BE49-F238E27FC236}">
                  <a16:creationId xmlns:a16="http://schemas.microsoft.com/office/drawing/2014/main" id="{AE28CCE5-6B83-82B4-8EEC-7B32626E3572}"/>
                </a:ext>
              </a:extLst>
            </p:cNvPr>
            <p:cNvSpPr/>
            <p:nvPr/>
          </p:nvSpPr>
          <p:spPr>
            <a:xfrm>
              <a:off x="2789961" y="3343458"/>
              <a:ext cx="403969" cy="403969"/>
            </a:xfrm>
            <a:custGeom>
              <a:avLst/>
              <a:gdLst>
                <a:gd name="connsiteX0" fmla="*/ 201985 w 403969"/>
                <a:gd name="connsiteY0" fmla="*/ 403970 h 403969"/>
                <a:gd name="connsiteX1" fmla="*/ 87737 w 403969"/>
                <a:gd name="connsiteY1" fmla="*/ 368623 h 403969"/>
                <a:gd name="connsiteX2" fmla="*/ 35347 w 403969"/>
                <a:gd name="connsiteY2" fmla="*/ 316233 h 403969"/>
                <a:gd name="connsiteX3" fmla="*/ 0 w 403969"/>
                <a:gd name="connsiteY3" fmla="*/ 201985 h 403969"/>
                <a:gd name="connsiteX4" fmla="*/ 201985 w 403969"/>
                <a:gd name="connsiteY4" fmla="*/ 0 h 403969"/>
                <a:gd name="connsiteX5" fmla="*/ 403970 w 403969"/>
                <a:gd name="connsiteY5" fmla="*/ 201985 h 403969"/>
                <a:gd name="connsiteX6" fmla="*/ 201985 w 403969"/>
                <a:gd name="connsiteY6" fmla="*/ 403970 h 403969"/>
                <a:gd name="connsiteX7" fmla="*/ 201985 w 403969"/>
                <a:gd name="connsiteY7" fmla="*/ 13255 h 403969"/>
                <a:gd name="connsiteX8" fmla="*/ 13886 w 403969"/>
                <a:gd name="connsiteY8" fmla="*/ 201354 h 403969"/>
                <a:gd name="connsiteX9" fmla="*/ 46709 w 403969"/>
                <a:gd name="connsiteY9" fmla="*/ 307396 h 403969"/>
                <a:gd name="connsiteX10" fmla="*/ 95943 w 403969"/>
                <a:gd name="connsiteY10" fmla="*/ 356630 h 403969"/>
                <a:gd name="connsiteX11" fmla="*/ 202616 w 403969"/>
                <a:gd name="connsiteY11" fmla="*/ 389452 h 403969"/>
                <a:gd name="connsiteX12" fmla="*/ 390714 w 403969"/>
                <a:gd name="connsiteY12" fmla="*/ 201354 h 403969"/>
                <a:gd name="connsiteX13" fmla="*/ 201985 w 403969"/>
                <a:gd name="connsiteY13" fmla="*/ 13255 h 40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969" h="403969">
                  <a:moveTo>
                    <a:pt x="201985" y="403970"/>
                  </a:moveTo>
                  <a:cubicBezTo>
                    <a:pt x="160957" y="403970"/>
                    <a:pt x="121822" y="391977"/>
                    <a:pt x="87737" y="368623"/>
                  </a:cubicBezTo>
                  <a:cubicBezTo>
                    <a:pt x="66907" y="354736"/>
                    <a:pt x="49234" y="337062"/>
                    <a:pt x="35347" y="316233"/>
                  </a:cubicBezTo>
                  <a:cubicBezTo>
                    <a:pt x="11993" y="282779"/>
                    <a:pt x="0" y="243013"/>
                    <a:pt x="0" y="201985"/>
                  </a:cubicBezTo>
                  <a:cubicBezTo>
                    <a:pt x="0" y="90893"/>
                    <a:pt x="90893" y="0"/>
                    <a:pt x="201985" y="0"/>
                  </a:cubicBezTo>
                  <a:cubicBezTo>
                    <a:pt x="313076" y="0"/>
                    <a:pt x="403970" y="90893"/>
                    <a:pt x="403970" y="201985"/>
                  </a:cubicBezTo>
                  <a:cubicBezTo>
                    <a:pt x="403970" y="313077"/>
                    <a:pt x="313708" y="403970"/>
                    <a:pt x="201985" y="403970"/>
                  </a:cubicBezTo>
                  <a:close/>
                  <a:moveTo>
                    <a:pt x="201985" y="13255"/>
                  </a:moveTo>
                  <a:cubicBezTo>
                    <a:pt x="98467" y="13255"/>
                    <a:pt x="13886" y="97836"/>
                    <a:pt x="13886" y="201354"/>
                  </a:cubicBezTo>
                  <a:cubicBezTo>
                    <a:pt x="13886" y="239226"/>
                    <a:pt x="25248" y="276467"/>
                    <a:pt x="46709" y="307396"/>
                  </a:cubicBezTo>
                  <a:cubicBezTo>
                    <a:pt x="59964" y="326963"/>
                    <a:pt x="76375" y="343374"/>
                    <a:pt x="95943" y="356630"/>
                  </a:cubicBezTo>
                  <a:cubicBezTo>
                    <a:pt x="127503" y="378091"/>
                    <a:pt x="164113" y="389452"/>
                    <a:pt x="202616" y="389452"/>
                  </a:cubicBezTo>
                  <a:cubicBezTo>
                    <a:pt x="306133" y="389452"/>
                    <a:pt x="390714" y="304871"/>
                    <a:pt x="390714" y="201354"/>
                  </a:cubicBezTo>
                  <a:cubicBezTo>
                    <a:pt x="390083" y="97836"/>
                    <a:pt x="306133" y="13255"/>
                    <a:pt x="201985" y="13255"/>
                  </a:cubicBezTo>
                  <a:close/>
                </a:path>
              </a:pathLst>
            </a:custGeom>
            <a:grpFill/>
            <a:ln w="3175" cap="flat">
              <a:solidFill>
                <a:schemeClr val="tx2"/>
              </a:solidFill>
              <a:prstDash val="solid"/>
              <a:miter/>
            </a:ln>
          </p:spPr>
          <p:txBody>
            <a:bodyPr rtlCol="0" anchor="ctr"/>
            <a:lstStyle/>
            <a:p>
              <a:endParaRPr lang="en-US"/>
            </a:p>
          </p:txBody>
        </p:sp>
        <p:sp>
          <p:nvSpPr>
            <p:cNvPr id="16" name="Freeform 47">
              <a:extLst>
                <a:ext uri="{FF2B5EF4-FFF2-40B4-BE49-F238E27FC236}">
                  <a16:creationId xmlns:a16="http://schemas.microsoft.com/office/drawing/2014/main" id="{55B95EEC-3EAC-FD3C-75DE-31E9745ECEB6}"/>
                </a:ext>
              </a:extLst>
            </p:cNvPr>
            <p:cNvSpPr/>
            <p:nvPr/>
          </p:nvSpPr>
          <p:spPr>
            <a:xfrm>
              <a:off x="2836670" y="3389535"/>
              <a:ext cx="311814" cy="311183"/>
            </a:xfrm>
            <a:custGeom>
              <a:avLst/>
              <a:gdLst>
                <a:gd name="connsiteX0" fmla="*/ 155276 w 311814"/>
                <a:gd name="connsiteY0" fmla="*/ 311183 h 311183"/>
                <a:gd name="connsiteX1" fmla="*/ 67539 w 311814"/>
                <a:gd name="connsiteY1" fmla="*/ 284041 h 311183"/>
                <a:gd name="connsiteX2" fmla="*/ 27142 w 311814"/>
                <a:gd name="connsiteY2" fmla="*/ 243644 h 311183"/>
                <a:gd name="connsiteX3" fmla="*/ 0 w 311814"/>
                <a:gd name="connsiteY3" fmla="*/ 155907 h 311183"/>
                <a:gd name="connsiteX4" fmla="*/ 155907 w 311814"/>
                <a:gd name="connsiteY4" fmla="*/ 0 h 311183"/>
                <a:gd name="connsiteX5" fmla="*/ 311814 w 311814"/>
                <a:gd name="connsiteY5" fmla="*/ 155907 h 311183"/>
                <a:gd name="connsiteX6" fmla="*/ 155276 w 311814"/>
                <a:gd name="connsiteY6" fmla="*/ 311183 h 311183"/>
                <a:gd name="connsiteX7" fmla="*/ 155276 w 311814"/>
                <a:gd name="connsiteY7" fmla="*/ 13255 h 311183"/>
                <a:gd name="connsiteX8" fmla="*/ 13255 w 311814"/>
                <a:gd name="connsiteY8" fmla="*/ 155276 h 311183"/>
                <a:gd name="connsiteX9" fmla="*/ 37872 w 311814"/>
                <a:gd name="connsiteY9" fmla="*/ 235439 h 311183"/>
                <a:gd name="connsiteX10" fmla="*/ 75113 w 311814"/>
                <a:gd name="connsiteY10" fmla="*/ 272679 h 311183"/>
                <a:gd name="connsiteX11" fmla="*/ 155276 w 311814"/>
                <a:gd name="connsiteY11" fmla="*/ 297297 h 311183"/>
                <a:gd name="connsiteX12" fmla="*/ 297297 w 311814"/>
                <a:gd name="connsiteY12" fmla="*/ 155276 h 311183"/>
                <a:gd name="connsiteX13" fmla="*/ 155276 w 311814"/>
                <a:gd name="connsiteY13" fmla="*/ 13255 h 311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1814" h="311183">
                  <a:moveTo>
                    <a:pt x="155276" y="311183"/>
                  </a:moveTo>
                  <a:cubicBezTo>
                    <a:pt x="123716" y="311183"/>
                    <a:pt x="93418" y="301715"/>
                    <a:pt x="67539" y="284041"/>
                  </a:cubicBezTo>
                  <a:cubicBezTo>
                    <a:pt x="51759" y="273311"/>
                    <a:pt x="37872" y="259424"/>
                    <a:pt x="27142" y="243644"/>
                  </a:cubicBezTo>
                  <a:cubicBezTo>
                    <a:pt x="9468" y="217765"/>
                    <a:pt x="0" y="187467"/>
                    <a:pt x="0" y="155907"/>
                  </a:cubicBezTo>
                  <a:cubicBezTo>
                    <a:pt x="0" y="70064"/>
                    <a:pt x="70064" y="0"/>
                    <a:pt x="155907" y="0"/>
                  </a:cubicBezTo>
                  <a:cubicBezTo>
                    <a:pt x="241751" y="0"/>
                    <a:pt x="311814" y="70064"/>
                    <a:pt x="311814" y="155907"/>
                  </a:cubicBezTo>
                  <a:cubicBezTo>
                    <a:pt x="311814" y="241751"/>
                    <a:pt x="241119" y="311183"/>
                    <a:pt x="155276" y="311183"/>
                  </a:cubicBezTo>
                  <a:close/>
                  <a:moveTo>
                    <a:pt x="155276" y="13255"/>
                  </a:moveTo>
                  <a:cubicBezTo>
                    <a:pt x="77007" y="13255"/>
                    <a:pt x="13255" y="77007"/>
                    <a:pt x="13255" y="155276"/>
                  </a:cubicBezTo>
                  <a:cubicBezTo>
                    <a:pt x="13255" y="184311"/>
                    <a:pt x="22092" y="212084"/>
                    <a:pt x="37872" y="235439"/>
                  </a:cubicBezTo>
                  <a:cubicBezTo>
                    <a:pt x="47971" y="249956"/>
                    <a:pt x="60595" y="262580"/>
                    <a:pt x="75113" y="272679"/>
                  </a:cubicBezTo>
                  <a:cubicBezTo>
                    <a:pt x="99099" y="289091"/>
                    <a:pt x="126872" y="297297"/>
                    <a:pt x="155276" y="297297"/>
                  </a:cubicBezTo>
                  <a:cubicBezTo>
                    <a:pt x="233545" y="297297"/>
                    <a:pt x="297297" y="233545"/>
                    <a:pt x="297297" y="155276"/>
                  </a:cubicBezTo>
                  <a:cubicBezTo>
                    <a:pt x="297297" y="77007"/>
                    <a:pt x="233545" y="13255"/>
                    <a:pt x="155276" y="13255"/>
                  </a:cubicBezTo>
                  <a:close/>
                </a:path>
              </a:pathLst>
            </a:custGeom>
            <a:grpFill/>
            <a:ln w="3175" cap="flat">
              <a:solidFill>
                <a:schemeClr val="tx2"/>
              </a:solidFill>
              <a:prstDash val="solid"/>
              <a:miter/>
            </a:ln>
          </p:spPr>
          <p:txBody>
            <a:bodyPr rtlCol="0" anchor="ctr"/>
            <a:lstStyle/>
            <a:p>
              <a:endParaRPr lang="en-US"/>
            </a:p>
          </p:txBody>
        </p:sp>
      </p:grpSp>
      <p:grpSp>
        <p:nvGrpSpPr>
          <p:cNvPr id="20" name="Graphic 4">
            <a:extLst>
              <a:ext uri="{FF2B5EF4-FFF2-40B4-BE49-F238E27FC236}">
                <a16:creationId xmlns:a16="http://schemas.microsoft.com/office/drawing/2014/main" id="{21CADAD4-BEAB-119B-C907-762FA3AA518F}"/>
              </a:ext>
            </a:extLst>
          </p:cNvPr>
          <p:cNvGrpSpPr/>
          <p:nvPr/>
        </p:nvGrpSpPr>
        <p:grpSpPr>
          <a:xfrm>
            <a:off x="519977" y="3565720"/>
            <a:ext cx="629148" cy="672953"/>
            <a:chOff x="10967191" y="1056568"/>
            <a:chExt cx="463933" cy="479125"/>
          </a:xfrm>
          <a:solidFill>
            <a:schemeClr val="tx2"/>
          </a:solidFill>
        </p:grpSpPr>
        <p:grpSp>
          <p:nvGrpSpPr>
            <p:cNvPr id="21" name="Graphic 4">
              <a:extLst>
                <a:ext uri="{FF2B5EF4-FFF2-40B4-BE49-F238E27FC236}">
                  <a16:creationId xmlns:a16="http://schemas.microsoft.com/office/drawing/2014/main" id="{8141EB7B-8AB3-6987-2665-662460AFF28E}"/>
                </a:ext>
              </a:extLst>
            </p:cNvPr>
            <p:cNvGrpSpPr/>
            <p:nvPr/>
          </p:nvGrpSpPr>
          <p:grpSpPr>
            <a:xfrm>
              <a:off x="11241133" y="1167071"/>
              <a:ext cx="189991" cy="368622"/>
              <a:chOff x="11241133" y="1167071"/>
              <a:chExt cx="189991" cy="368622"/>
            </a:xfrm>
            <a:grpFill/>
          </p:grpSpPr>
          <p:sp>
            <p:nvSpPr>
              <p:cNvPr id="42" name="Freeform 1522">
                <a:extLst>
                  <a:ext uri="{FF2B5EF4-FFF2-40B4-BE49-F238E27FC236}">
                    <a16:creationId xmlns:a16="http://schemas.microsoft.com/office/drawing/2014/main" id="{6E367F5A-0B45-BE80-6FA0-8EC74E56146D}"/>
                  </a:ext>
                </a:extLst>
              </p:cNvPr>
              <p:cNvSpPr/>
              <p:nvPr/>
            </p:nvSpPr>
            <p:spPr>
              <a:xfrm>
                <a:off x="11241133" y="1167071"/>
                <a:ext cx="189991" cy="368622"/>
              </a:xfrm>
              <a:custGeom>
                <a:avLst/>
                <a:gdLst>
                  <a:gd name="connsiteX0" fmla="*/ 184312 w 189991"/>
                  <a:gd name="connsiteY0" fmla="*/ 368622 h 368622"/>
                  <a:gd name="connsiteX1" fmla="*/ 158432 w 189991"/>
                  <a:gd name="connsiteY1" fmla="*/ 368622 h 368622"/>
                  <a:gd name="connsiteX2" fmla="*/ 145177 w 189991"/>
                  <a:gd name="connsiteY2" fmla="*/ 355367 h 368622"/>
                  <a:gd name="connsiteX3" fmla="*/ 145177 w 189991"/>
                  <a:gd name="connsiteY3" fmla="*/ 321913 h 368622"/>
                  <a:gd name="connsiteX4" fmla="*/ 115510 w 189991"/>
                  <a:gd name="connsiteY4" fmla="*/ 309289 h 368622"/>
                  <a:gd name="connsiteX5" fmla="*/ 91524 w 189991"/>
                  <a:gd name="connsiteY5" fmla="*/ 333275 h 368622"/>
                  <a:gd name="connsiteX6" fmla="*/ 73219 w 189991"/>
                  <a:gd name="connsiteY6" fmla="*/ 333275 h 368622"/>
                  <a:gd name="connsiteX7" fmla="*/ 35979 w 189991"/>
                  <a:gd name="connsiteY7" fmla="*/ 296665 h 368622"/>
                  <a:gd name="connsiteX8" fmla="*/ 32191 w 189991"/>
                  <a:gd name="connsiteY8" fmla="*/ 287197 h 368622"/>
                  <a:gd name="connsiteX9" fmla="*/ 35979 w 189991"/>
                  <a:gd name="connsiteY9" fmla="*/ 277729 h 368622"/>
                  <a:gd name="connsiteX10" fmla="*/ 59333 w 189991"/>
                  <a:gd name="connsiteY10" fmla="*/ 253743 h 368622"/>
                  <a:gd name="connsiteX11" fmla="*/ 46709 w 189991"/>
                  <a:gd name="connsiteY11" fmla="*/ 224077 h 368622"/>
                  <a:gd name="connsiteX12" fmla="*/ 13255 w 189991"/>
                  <a:gd name="connsiteY12" fmla="*/ 224077 h 368622"/>
                  <a:gd name="connsiteX13" fmla="*/ 0 w 189991"/>
                  <a:gd name="connsiteY13" fmla="*/ 210822 h 368622"/>
                  <a:gd name="connsiteX14" fmla="*/ 0 w 189991"/>
                  <a:gd name="connsiteY14" fmla="*/ 157801 h 368622"/>
                  <a:gd name="connsiteX15" fmla="*/ 3787 w 189991"/>
                  <a:gd name="connsiteY15" fmla="*/ 148333 h 368622"/>
                  <a:gd name="connsiteX16" fmla="*/ 13255 w 189991"/>
                  <a:gd name="connsiteY16" fmla="*/ 144545 h 368622"/>
                  <a:gd name="connsiteX17" fmla="*/ 46709 w 189991"/>
                  <a:gd name="connsiteY17" fmla="*/ 144545 h 368622"/>
                  <a:gd name="connsiteX18" fmla="*/ 59333 w 189991"/>
                  <a:gd name="connsiteY18" fmla="*/ 114879 h 368622"/>
                  <a:gd name="connsiteX19" fmla="*/ 35979 w 189991"/>
                  <a:gd name="connsiteY19" fmla="*/ 90893 h 368622"/>
                  <a:gd name="connsiteX20" fmla="*/ 32191 w 189991"/>
                  <a:gd name="connsiteY20" fmla="*/ 81425 h 368622"/>
                  <a:gd name="connsiteX21" fmla="*/ 35979 w 189991"/>
                  <a:gd name="connsiteY21" fmla="*/ 71957 h 368622"/>
                  <a:gd name="connsiteX22" fmla="*/ 73219 w 189991"/>
                  <a:gd name="connsiteY22" fmla="*/ 35347 h 368622"/>
                  <a:gd name="connsiteX23" fmla="*/ 82687 w 189991"/>
                  <a:gd name="connsiteY23" fmla="*/ 31560 h 368622"/>
                  <a:gd name="connsiteX24" fmla="*/ 82687 w 189991"/>
                  <a:gd name="connsiteY24" fmla="*/ 31560 h 368622"/>
                  <a:gd name="connsiteX25" fmla="*/ 92155 w 189991"/>
                  <a:gd name="connsiteY25" fmla="*/ 35347 h 368622"/>
                  <a:gd name="connsiteX26" fmla="*/ 116141 w 189991"/>
                  <a:gd name="connsiteY26" fmla="*/ 59333 h 368622"/>
                  <a:gd name="connsiteX27" fmla="*/ 145808 w 189991"/>
                  <a:gd name="connsiteY27" fmla="*/ 46709 h 368622"/>
                  <a:gd name="connsiteX28" fmla="*/ 145808 w 189991"/>
                  <a:gd name="connsiteY28" fmla="*/ 13255 h 368622"/>
                  <a:gd name="connsiteX29" fmla="*/ 159064 w 189991"/>
                  <a:gd name="connsiteY29" fmla="*/ 0 h 368622"/>
                  <a:gd name="connsiteX30" fmla="*/ 184943 w 189991"/>
                  <a:gd name="connsiteY30" fmla="*/ 0 h 368622"/>
                  <a:gd name="connsiteX31" fmla="*/ 189992 w 189991"/>
                  <a:gd name="connsiteY31" fmla="*/ 5050 h 368622"/>
                  <a:gd name="connsiteX32" fmla="*/ 184943 w 189991"/>
                  <a:gd name="connsiteY32" fmla="*/ 10099 h 368622"/>
                  <a:gd name="connsiteX33" fmla="*/ 159064 w 189991"/>
                  <a:gd name="connsiteY33" fmla="*/ 10099 h 368622"/>
                  <a:gd name="connsiteX34" fmla="*/ 156539 w 189991"/>
                  <a:gd name="connsiteY34" fmla="*/ 12624 h 368622"/>
                  <a:gd name="connsiteX35" fmla="*/ 156539 w 189991"/>
                  <a:gd name="connsiteY35" fmla="*/ 49865 h 368622"/>
                  <a:gd name="connsiteX36" fmla="*/ 153383 w 189991"/>
                  <a:gd name="connsiteY36" fmla="*/ 54915 h 368622"/>
                  <a:gd name="connsiteX37" fmla="*/ 116772 w 189991"/>
                  <a:gd name="connsiteY37" fmla="*/ 70064 h 368622"/>
                  <a:gd name="connsiteX38" fmla="*/ 111092 w 189991"/>
                  <a:gd name="connsiteY38" fmla="*/ 68801 h 368622"/>
                  <a:gd name="connsiteX39" fmla="*/ 85212 w 189991"/>
                  <a:gd name="connsiteY39" fmla="*/ 42291 h 368622"/>
                  <a:gd name="connsiteX40" fmla="*/ 83319 w 189991"/>
                  <a:gd name="connsiteY40" fmla="*/ 41659 h 368622"/>
                  <a:gd name="connsiteX41" fmla="*/ 81425 w 189991"/>
                  <a:gd name="connsiteY41" fmla="*/ 42291 h 368622"/>
                  <a:gd name="connsiteX42" fmla="*/ 44184 w 189991"/>
                  <a:gd name="connsiteY42" fmla="*/ 78900 h 368622"/>
                  <a:gd name="connsiteX43" fmla="*/ 43553 w 189991"/>
                  <a:gd name="connsiteY43" fmla="*/ 80794 h 368622"/>
                  <a:gd name="connsiteX44" fmla="*/ 44184 w 189991"/>
                  <a:gd name="connsiteY44" fmla="*/ 82688 h 368622"/>
                  <a:gd name="connsiteX45" fmla="*/ 70063 w 189991"/>
                  <a:gd name="connsiteY45" fmla="*/ 109198 h 368622"/>
                  <a:gd name="connsiteX46" fmla="*/ 71326 w 189991"/>
                  <a:gd name="connsiteY46" fmla="*/ 114879 h 368622"/>
                  <a:gd name="connsiteX47" fmla="*/ 56177 w 189991"/>
                  <a:gd name="connsiteY47" fmla="*/ 151489 h 368622"/>
                  <a:gd name="connsiteX48" fmla="*/ 51127 w 189991"/>
                  <a:gd name="connsiteY48" fmla="*/ 154645 h 368622"/>
                  <a:gd name="connsiteX49" fmla="*/ 13887 w 189991"/>
                  <a:gd name="connsiteY49" fmla="*/ 154645 h 368622"/>
                  <a:gd name="connsiteX50" fmla="*/ 11993 w 189991"/>
                  <a:gd name="connsiteY50" fmla="*/ 155276 h 368622"/>
                  <a:gd name="connsiteX51" fmla="*/ 11362 w 189991"/>
                  <a:gd name="connsiteY51" fmla="*/ 157169 h 368622"/>
                  <a:gd name="connsiteX52" fmla="*/ 11362 w 189991"/>
                  <a:gd name="connsiteY52" fmla="*/ 210191 h 368622"/>
                  <a:gd name="connsiteX53" fmla="*/ 13887 w 189991"/>
                  <a:gd name="connsiteY53" fmla="*/ 212715 h 368622"/>
                  <a:gd name="connsiteX54" fmla="*/ 51127 w 189991"/>
                  <a:gd name="connsiteY54" fmla="*/ 212715 h 368622"/>
                  <a:gd name="connsiteX55" fmla="*/ 56177 w 189991"/>
                  <a:gd name="connsiteY55" fmla="*/ 215871 h 368622"/>
                  <a:gd name="connsiteX56" fmla="*/ 71326 w 189991"/>
                  <a:gd name="connsiteY56" fmla="*/ 252481 h 368622"/>
                  <a:gd name="connsiteX57" fmla="*/ 70063 w 189991"/>
                  <a:gd name="connsiteY57" fmla="*/ 258162 h 368622"/>
                  <a:gd name="connsiteX58" fmla="*/ 44184 w 189991"/>
                  <a:gd name="connsiteY58" fmla="*/ 284672 h 368622"/>
                  <a:gd name="connsiteX59" fmla="*/ 43553 w 189991"/>
                  <a:gd name="connsiteY59" fmla="*/ 286566 h 368622"/>
                  <a:gd name="connsiteX60" fmla="*/ 44184 w 189991"/>
                  <a:gd name="connsiteY60" fmla="*/ 288460 h 368622"/>
                  <a:gd name="connsiteX61" fmla="*/ 81425 w 189991"/>
                  <a:gd name="connsiteY61" fmla="*/ 325069 h 368622"/>
                  <a:gd name="connsiteX62" fmla="*/ 85212 w 189991"/>
                  <a:gd name="connsiteY62" fmla="*/ 325069 h 368622"/>
                  <a:gd name="connsiteX63" fmla="*/ 111092 w 189991"/>
                  <a:gd name="connsiteY63" fmla="*/ 298559 h 368622"/>
                  <a:gd name="connsiteX64" fmla="*/ 116772 w 189991"/>
                  <a:gd name="connsiteY64" fmla="*/ 297297 h 368622"/>
                  <a:gd name="connsiteX65" fmla="*/ 153383 w 189991"/>
                  <a:gd name="connsiteY65" fmla="*/ 312445 h 368622"/>
                  <a:gd name="connsiteX66" fmla="*/ 156539 w 189991"/>
                  <a:gd name="connsiteY66" fmla="*/ 317495 h 368622"/>
                  <a:gd name="connsiteX67" fmla="*/ 156539 w 189991"/>
                  <a:gd name="connsiteY67" fmla="*/ 354736 h 368622"/>
                  <a:gd name="connsiteX68" fmla="*/ 159064 w 189991"/>
                  <a:gd name="connsiteY68" fmla="*/ 357261 h 368622"/>
                  <a:gd name="connsiteX69" fmla="*/ 184943 w 189991"/>
                  <a:gd name="connsiteY69" fmla="*/ 357261 h 368622"/>
                  <a:gd name="connsiteX70" fmla="*/ 189992 w 189991"/>
                  <a:gd name="connsiteY70" fmla="*/ 362310 h 368622"/>
                  <a:gd name="connsiteX71" fmla="*/ 184312 w 189991"/>
                  <a:gd name="connsiteY71" fmla="*/ 368622 h 36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89991" h="368622">
                    <a:moveTo>
                      <a:pt x="184312" y="368622"/>
                    </a:moveTo>
                    <a:lnTo>
                      <a:pt x="158432" y="368622"/>
                    </a:lnTo>
                    <a:cubicBezTo>
                      <a:pt x="151489" y="368622"/>
                      <a:pt x="145177" y="362942"/>
                      <a:pt x="145177" y="355367"/>
                    </a:cubicBezTo>
                    <a:lnTo>
                      <a:pt x="145177" y="321913"/>
                    </a:lnTo>
                    <a:lnTo>
                      <a:pt x="115510" y="309289"/>
                    </a:lnTo>
                    <a:lnTo>
                      <a:pt x="91524" y="333275"/>
                    </a:lnTo>
                    <a:cubicBezTo>
                      <a:pt x="86475" y="338325"/>
                      <a:pt x="78269" y="338325"/>
                      <a:pt x="73219" y="333275"/>
                    </a:cubicBezTo>
                    <a:lnTo>
                      <a:pt x="35979" y="296665"/>
                    </a:lnTo>
                    <a:cubicBezTo>
                      <a:pt x="33454" y="294141"/>
                      <a:pt x="32191" y="290984"/>
                      <a:pt x="32191" y="287197"/>
                    </a:cubicBezTo>
                    <a:cubicBezTo>
                      <a:pt x="32191" y="283410"/>
                      <a:pt x="33454" y="280254"/>
                      <a:pt x="35979" y="277729"/>
                    </a:cubicBezTo>
                    <a:lnTo>
                      <a:pt x="59333" y="253743"/>
                    </a:lnTo>
                    <a:lnTo>
                      <a:pt x="46709" y="224077"/>
                    </a:lnTo>
                    <a:lnTo>
                      <a:pt x="13255" y="224077"/>
                    </a:lnTo>
                    <a:cubicBezTo>
                      <a:pt x="5681" y="224077"/>
                      <a:pt x="0" y="218396"/>
                      <a:pt x="0" y="210822"/>
                    </a:cubicBezTo>
                    <a:lnTo>
                      <a:pt x="0" y="157801"/>
                    </a:lnTo>
                    <a:cubicBezTo>
                      <a:pt x="0" y="154013"/>
                      <a:pt x="1263" y="150857"/>
                      <a:pt x="3787" y="148333"/>
                    </a:cubicBezTo>
                    <a:cubicBezTo>
                      <a:pt x="6312" y="145808"/>
                      <a:pt x="9468" y="144545"/>
                      <a:pt x="13255" y="144545"/>
                    </a:cubicBezTo>
                    <a:lnTo>
                      <a:pt x="46709" y="144545"/>
                    </a:lnTo>
                    <a:lnTo>
                      <a:pt x="59333" y="114879"/>
                    </a:lnTo>
                    <a:lnTo>
                      <a:pt x="35979" y="90893"/>
                    </a:lnTo>
                    <a:cubicBezTo>
                      <a:pt x="33454" y="88368"/>
                      <a:pt x="32191" y="85212"/>
                      <a:pt x="32191" y="81425"/>
                    </a:cubicBezTo>
                    <a:cubicBezTo>
                      <a:pt x="32191" y="77638"/>
                      <a:pt x="33454" y="74482"/>
                      <a:pt x="35979" y="71957"/>
                    </a:cubicBezTo>
                    <a:lnTo>
                      <a:pt x="73219" y="35347"/>
                    </a:lnTo>
                    <a:cubicBezTo>
                      <a:pt x="75744" y="32823"/>
                      <a:pt x="78900" y="31560"/>
                      <a:pt x="82687" y="31560"/>
                    </a:cubicBezTo>
                    <a:cubicBezTo>
                      <a:pt x="82687" y="31560"/>
                      <a:pt x="82687" y="31560"/>
                      <a:pt x="82687" y="31560"/>
                    </a:cubicBezTo>
                    <a:cubicBezTo>
                      <a:pt x="86475" y="31560"/>
                      <a:pt x="89631" y="32823"/>
                      <a:pt x="92155" y="35347"/>
                    </a:cubicBezTo>
                    <a:lnTo>
                      <a:pt x="116141" y="59333"/>
                    </a:lnTo>
                    <a:lnTo>
                      <a:pt x="145808" y="46709"/>
                    </a:lnTo>
                    <a:lnTo>
                      <a:pt x="145808" y="13255"/>
                    </a:lnTo>
                    <a:cubicBezTo>
                      <a:pt x="145808" y="6312"/>
                      <a:pt x="151489" y="0"/>
                      <a:pt x="159064" y="0"/>
                    </a:cubicBezTo>
                    <a:lnTo>
                      <a:pt x="184943" y="0"/>
                    </a:lnTo>
                    <a:cubicBezTo>
                      <a:pt x="188099" y="0"/>
                      <a:pt x="189992" y="2525"/>
                      <a:pt x="189992" y="5050"/>
                    </a:cubicBezTo>
                    <a:cubicBezTo>
                      <a:pt x="189992" y="7574"/>
                      <a:pt x="187468" y="10099"/>
                      <a:pt x="184943" y="10099"/>
                    </a:cubicBezTo>
                    <a:lnTo>
                      <a:pt x="159064" y="10099"/>
                    </a:lnTo>
                    <a:cubicBezTo>
                      <a:pt x="157801" y="10099"/>
                      <a:pt x="156539" y="11362"/>
                      <a:pt x="156539" y="12624"/>
                    </a:cubicBezTo>
                    <a:lnTo>
                      <a:pt x="156539" y="49865"/>
                    </a:lnTo>
                    <a:cubicBezTo>
                      <a:pt x="156539" y="51759"/>
                      <a:pt x="155276" y="53652"/>
                      <a:pt x="153383" y="54915"/>
                    </a:cubicBezTo>
                    <a:lnTo>
                      <a:pt x="116772" y="70064"/>
                    </a:lnTo>
                    <a:cubicBezTo>
                      <a:pt x="114879" y="70695"/>
                      <a:pt x="112354" y="70695"/>
                      <a:pt x="111092" y="68801"/>
                    </a:cubicBezTo>
                    <a:lnTo>
                      <a:pt x="85212" y="42291"/>
                    </a:lnTo>
                    <a:cubicBezTo>
                      <a:pt x="84581" y="41659"/>
                      <a:pt x="83950" y="41659"/>
                      <a:pt x="83319" y="41659"/>
                    </a:cubicBezTo>
                    <a:cubicBezTo>
                      <a:pt x="82687" y="41659"/>
                      <a:pt x="82056" y="41659"/>
                      <a:pt x="81425" y="42291"/>
                    </a:cubicBezTo>
                    <a:lnTo>
                      <a:pt x="44184" y="78900"/>
                    </a:lnTo>
                    <a:cubicBezTo>
                      <a:pt x="43553" y="79532"/>
                      <a:pt x="43553" y="80163"/>
                      <a:pt x="43553" y="80794"/>
                    </a:cubicBezTo>
                    <a:cubicBezTo>
                      <a:pt x="43553" y="81425"/>
                      <a:pt x="43553" y="82056"/>
                      <a:pt x="44184" y="82688"/>
                    </a:cubicBezTo>
                    <a:lnTo>
                      <a:pt x="70063" y="109198"/>
                    </a:lnTo>
                    <a:cubicBezTo>
                      <a:pt x="71326" y="110460"/>
                      <a:pt x="71957" y="112985"/>
                      <a:pt x="71326" y="114879"/>
                    </a:cubicBezTo>
                    <a:lnTo>
                      <a:pt x="56177" y="151489"/>
                    </a:lnTo>
                    <a:cubicBezTo>
                      <a:pt x="55546" y="153382"/>
                      <a:pt x="53652" y="154645"/>
                      <a:pt x="51127" y="154645"/>
                    </a:cubicBezTo>
                    <a:lnTo>
                      <a:pt x="13887" y="154645"/>
                    </a:lnTo>
                    <a:cubicBezTo>
                      <a:pt x="12624" y="154645"/>
                      <a:pt x="11993" y="155276"/>
                      <a:pt x="11993" y="155276"/>
                    </a:cubicBezTo>
                    <a:cubicBezTo>
                      <a:pt x="11993" y="155276"/>
                      <a:pt x="11362" y="155907"/>
                      <a:pt x="11362" y="157169"/>
                    </a:cubicBezTo>
                    <a:lnTo>
                      <a:pt x="11362" y="210191"/>
                    </a:lnTo>
                    <a:cubicBezTo>
                      <a:pt x="11362" y="211453"/>
                      <a:pt x="12624" y="212715"/>
                      <a:pt x="13887" y="212715"/>
                    </a:cubicBezTo>
                    <a:lnTo>
                      <a:pt x="51127" y="212715"/>
                    </a:lnTo>
                    <a:cubicBezTo>
                      <a:pt x="53021" y="212715"/>
                      <a:pt x="54915" y="213978"/>
                      <a:pt x="56177" y="215871"/>
                    </a:cubicBezTo>
                    <a:lnTo>
                      <a:pt x="71326" y="252481"/>
                    </a:lnTo>
                    <a:cubicBezTo>
                      <a:pt x="71957" y="254375"/>
                      <a:pt x="71957" y="256899"/>
                      <a:pt x="70063" y="258162"/>
                    </a:cubicBezTo>
                    <a:lnTo>
                      <a:pt x="44184" y="284672"/>
                    </a:lnTo>
                    <a:cubicBezTo>
                      <a:pt x="43553" y="285304"/>
                      <a:pt x="43553" y="285935"/>
                      <a:pt x="43553" y="286566"/>
                    </a:cubicBezTo>
                    <a:cubicBezTo>
                      <a:pt x="43553" y="287197"/>
                      <a:pt x="43553" y="287828"/>
                      <a:pt x="44184" y="288460"/>
                    </a:cubicBezTo>
                    <a:lnTo>
                      <a:pt x="81425" y="325069"/>
                    </a:lnTo>
                    <a:cubicBezTo>
                      <a:pt x="82687" y="326332"/>
                      <a:pt x="83950" y="326332"/>
                      <a:pt x="85212" y="325069"/>
                    </a:cubicBezTo>
                    <a:lnTo>
                      <a:pt x="111092" y="298559"/>
                    </a:lnTo>
                    <a:cubicBezTo>
                      <a:pt x="112354" y="297297"/>
                      <a:pt x="114879" y="296665"/>
                      <a:pt x="116772" y="297297"/>
                    </a:cubicBezTo>
                    <a:lnTo>
                      <a:pt x="153383" y="312445"/>
                    </a:lnTo>
                    <a:cubicBezTo>
                      <a:pt x="155276" y="313077"/>
                      <a:pt x="156539" y="314970"/>
                      <a:pt x="156539" y="317495"/>
                    </a:cubicBezTo>
                    <a:lnTo>
                      <a:pt x="156539" y="354736"/>
                    </a:lnTo>
                    <a:cubicBezTo>
                      <a:pt x="156539" y="355998"/>
                      <a:pt x="157801" y="357261"/>
                      <a:pt x="159064" y="357261"/>
                    </a:cubicBezTo>
                    <a:lnTo>
                      <a:pt x="184943" y="357261"/>
                    </a:lnTo>
                    <a:cubicBezTo>
                      <a:pt x="188099" y="357261"/>
                      <a:pt x="189992" y="359786"/>
                      <a:pt x="189992" y="362310"/>
                    </a:cubicBezTo>
                    <a:cubicBezTo>
                      <a:pt x="189361" y="366098"/>
                      <a:pt x="186836" y="368622"/>
                      <a:pt x="184312" y="368622"/>
                    </a:cubicBezTo>
                    <a:close/>
                  </a:path>
                </a:pathLst>
              </a:custGeom>
              <a:grpFill/>
              <a:ln w="6350" cap="flat">
                <a:solidFill>
                  <a:schemeClr val="tx2"/>
                </a:solidFill>
                <a:prstDash val="solid"/>
                <a:miter/>
              </a:ln>
            </p:spPr>
            <p:txBody>
              <a:bodyPr rtlCol="0" anchor="ctr"/>
              <a:lstStyle/>
              <a:p>
                <a:endParaRPr lang="en-US"/>
              </a:p>
            </p:txBody>
          </p:sp>
          <p:sp>
            <p:nvSpPr>
              <p:cNvPr id="43" name="Freeform 1523">
                <a:extLst>
                  <a:ext uri="{FF2B5EF4-FFF2-40B4-BE49-F238E27FC236}">
                    <a16:creationId xmlns:a16="http://schemas.microsoft.com/office/drawing/2014/main" id="{C9AB575E-0EB3-F647-DFAB-F90FDF391B23}"/>
                  </a:ext>
                </a:extLst>
              </p:cNvPr>
              <p:cNvSpPr/>
              <p:nvPr/>
            </p:nvSpPr>
            <p:spPr>
              <a:xfrm>
                <a:off x="11332657" y="1261120"/>
                <a:ext cx="97836" cy="183048"/>
              </a:xfrm>
              <a:custGeom>
                <a:avLst/>
                <a:gdLst>
                  <a:gd name="connsiteX0" fmla="*/ 92155 w 97836"/>
                  <a:gd name="connsiteY0" fmla="*/ 183049 h 183048"/>
                  <a:gd name="connsiteX1" fmla="*/ 27142 w 97836"/>
                  <a:gd name="connsiteY1" fmla="*/ 156538 h 183048"/>
                  <a:gd name="connsiteX2" fmla="*/ 0 w 97836"/>
                  <a:gd name="connsiteY2" fmla="*/ 91524 h 183048"/>
                  <a:gd name="connsiteX3" fmla="*/ 27142 w 97836"/>
                  <a:gd name="connsiteY3" fmla="*/ 26511 h 183048"/>
                  <a:gd name="connsiteX4" fmla="*/ 92155 w 97836"/>
                  <a:gd name="connsiteY4" fmla="*/ 0 h 183048"/>
                  <a:gd name="connsiteX5" fmla="*/ 92787 w 97836"/>
                  <a:gd name="connsiteY5" fmla="*/ 0 h 183048"/>
                  <a:gd name="connsiteX6" fmla="*/ 97836 w 97836"/>
                  <a:gd name="connsiteY6" fmla="*/ 5050 h 183048"/>
                  <a:gd name="connsiteX7" fmla="*/ 92787 w 97836"/>
                  <a:gd name="connsiteY7" fmla="*/ 10099 h 183048"/>
                  <a:gd name="connsiteX8" fmla="*/ 92155 w 97836"/>
                  <a:gd name="connsiteY8" fmla="*/ 10099 h 183048"/>
                  <a:gd name="connsiteX9" fmla="*/ 34716 w 97836"/>
                  <a:gd name="connsiteY9" fmla="*/ 33454 h 183048"/>
                  <a:gd name="connsiteX10" fmla="*/ 10731 w 97836"/>
                  <a:gd name="connsiteY10" fmla="*/ 90893 h 183048"/>
                  <a:gd name="connsiteX11" fmla="*/ 34716 w 97836"/>
                  <a:gd name="connsiteY11" fmla="*/ 148333 h 183048"/>
                  <a:gd name="connsiteX12" fmla="*/ 92155 w 97836"/>
                  <a:gd name="connsiteY12" fmla="*/ 171687 h 183048"/>
                  <a:gd name="connsiteX13" fmla="*/ 92787 w 97836"/>
                  <a:gd name="connsiteY13" fmla="*/ 171687 h 183048"/>
                  <a:gd name="connsiteX14" fmla="*/ 97836 w 97836"/>
                  <a:gd name="connsiteY14" fmla="*/ 176737 h 183048"/>
                  <a:gd name="connsiteX15" fmla="*/ 92155 w 97836"/>
                  <a:gd name="connsiteY15" fmla="*/ 183049 h 183048"/>
                  <a:gd name="connsiteX16" fmla="*/ 92155 w 97836"/>
                  <a:gd name="connsiteY16" fmla="*/ 183049 h 18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836" h="183048">
                    <a:moveTo>
                      <a:pt x="92155" y="183049"/>
                    </a:moveTo>
                    <a:cubicBezTo>
                      <a:pt x="67539" y="183049"/>
                      <a:pt x="44815" y="173581"/>
                      <a:pt x="27142" y="156538"/>
                    </a:cubicBezTo>
                    <a:cubicBezTo>
                      <a:pt x="9468" y="139496"/>
                      <a:pt x="0" y="116141"/>
                      <a:pt x="0" y="91524"/>
                    </a:cubicBezTo>
                    <a:cubicBezTo>
                      <a:pt x="0" y="66908"/>
                      <a:pt x="10099" y="43553"/>
                      <a:pt x="27142" y="26511"/>
                    </a:cubicBezTo>
                    <a:cubicBezTo>
                      <a:pt x="44815" y="9468"/>
                      <a:pt x="67539" y="0"/>
                      <a:pt x="92155" y="0"/>
                    </a:cubicBezTo>
                    <a:cubicBezTo>
                      <a:pt x="92155" y="0"/>
                      <a:pt x="92787" y="0"/>
                      <a:pt x="92787" y="0"/>
                    </a:cubicBezTo>
                    <a:cubicBezTo>
                      <a:pt x="95943" y="0"/>
                      <a:pt x="97836" y="2525"/>
                      <a:pt x="97836" y="5050"/>
                    </a:cubicBezTo>
                    <a:cubicBezTo>
                      <a:pt x="97836" y="8206"/>
                      <a:pt x="95311" y="10099"/>
                      <a:pt x="92787" y="10099"/>
                    </a:cubicBezTo>
                    <a:cubicBezTo>
                      <a:pt x="92787" y="10099"/>
                      <a:pt x="92787" y="10099"/>
                      <a:pt x="92155" y="10099"/>
                    </a:cubicBezTo>
                    <a:cubicBezTo>
                      <a:pt x="70695" y="10099"/>
                      <a:pt x="49865" y="18305"/>
                      <a:pt x="34716" y="33454"/>
                    </a:cubicBezTo>
                    <a:cubicBezTo>
                      <a:pt x="18936" y="48603"/>
                      <a:pt x="10731" y="69432"/>
                      <a:pt x="10731" y="90893"/>
                    </a:cubicBezTo>
                    <a:cubicBezTo>
                      <a:pt x="10731" y="112354"/>
                      <a:pt x="19567" y="133184"/>
                      <a:pt x="34716" y="148333"/>
                    </a:cubicBezTo>
                    <a:cubicBezTo>
                      <a:pt x="49865" y="163482"/>
                      <a:pt x="70695" y="171687"/>
                      <a:pt x="92155" y="171687"/>
                    </a:cubicBezTo>
                    <a:cubicBezTo>
                      <a:pt x="92155" y="171687"/>
                      <a:pt x="92787" y="171687"/>
                      <a:pt x="92787" y="171687"/>
                    </a:cubicBezTo>
                    <a:cubicBezTo>
                      <a:pt x="95943" y="171687"/>
                      <a:pt x="97836" y="174212"/>
                      <a:pt x="97836" y="176737"/>
                    </a:cubicBezTo>
                    <a:cubicBezTo>
                      <a:pt x="97836" y="180524"/>
                      <a:pt x="95311" y="183049"/>
                      <a:pt x="92155" y="183049"/>
                    </a:cubicBezTo>
                    <a:cubicBezTo>
                      <a:pt x="92787" y="183049"/>
                      <a:pt x="92155" y="183049"/>
                      <a:pt x="92155" y="183049"/>
                    </a:cubicBezTo>
                    <a:close/>
                  </a:path>
                </a:pathLst>
              </a:custGeom>
              <a:grpFill/>
              <a:ln w="6350" cap="flat">
                <a:solidFill>
                  <a:schemeClr val="tx2"/>
                </a:solidFill>
                <a:prstDash val="solid"/>
                <a:miter/>
              </a:ln>
            </p:spPr>
            <p:txBody>
              <a:bodyPr rtlCol="0" anchor="ctr"/>
              <a:lstStyle/>
              <a:p>
                <a:endParaRPr lang="en-US"/>
              </a:p>
            </p:txBody>
          </p:sp>
        </p:grpSp>
        <p:sp>
          <p:nvSpPr>
            <p:cNvPr id="22" name="Freeform 1517">
              <a:extLst>
                <a:ext uri="{FF2B5EF4-FFF2-40B4-BE49-F238E27FC236}">
                  <a16:creationId xmlns:a16="http://schemas.microsoft.com/office/drawing/2014/main" id="{A7AFBD96-221E-97A5-A434-3CCD9F33E64A}"/>
                </a:ext>
              </a:extLst>
            </p:cNvPr>
            <p:cNvSpPr/>
            <p:nvPr/>
          </p:nvSpPr>
          <p:spPr>
            <a:xfrm>
              <a:off x="11070708" y="1056568"/>
              <a:ext cx="271685" cy="167311"/>
            </a:xfrm>
            <a:custGeom>
              <a:avLst/>
              <a:gdLst>
                <a:gd name="connsiteX0" fmla="*/ 126241 w 271685"/>
                <a:gd name="connsiteY0" fmla="*/ 167311 h 167311"/>
                <a:gd name="connsiteX1" fmla="*/ 119297 w 271685"/>
                <a:gd name="connsiteY1" fmla="*/ 166680 h 167311"/>
                <a:gd name="connsiteX2" fmla="*/ 77007 w 271685"/>
                <a:gd name="connsiteY2" fmla="*/ 133858 h 167311"/>
                <a:gd name="connsiteX3" fmla="*/ 80163 w 271685"/>
                <a:gd name="connsiteY3" fmla="*/ 126914 h 167311"/>
                <a:gd name="connsiteX4" fmla="*/ 87106 w 271685"/>
                <a:gd name="connsiteY4" fmla="*/ 130070 h 167311"/>
                <a:gd name="connsiteX5" fmla="*/ 121191 w 271685"/>
                <a:gd name="connsiteY5" fmla="*/ 155950 h 167311"/>
                <a:gd name="connsiteX6" fmla="*/ 166007 w 271685"/>
                <a:gd name="connsiteY6" fmla="*/ 126283 h 167311"/>
                <a:gd name="connsiteX7" fmla="*/ 164744 w 271685"/>
                <a:gd name="connsiteY7" fmla="*/ 113028 h 167311"/>
                <a:gd name="connsiteX8" fmla="*/ 166007 w 271685"/>
                <a:gd name="connsiteY8" fmla="*/ 107978 h 167311"/>
                <a:gd name="connsiteX9" fmla="*/ 170425 w 271685"/>
                <a:gd name="connsiteY9" fmla="*/ 106085 h 167311"/>
                <a:gd name="connsiteX10" fmla="*/ 172319 w 271685"/>
                <a:gd name="connsiteY10" fmla="*/ 106085 h 167311"/>
                <a:gd name="connsiteX11" fmla="*/ 260687 w 271685"/>
                <a:gd name="connsiteY11" fmla="*/ 68844 h 167311"/>
                <a:gd name="connsiteX12" fmla="*/ 252481 w 271685"/>
                <a:gd name="connsiteY12" fmla="*/ 43596 h 167311"/>
                <a:gd name="connsiteX13" fmla="*/ 184943 w 271685"/>
                <a:gd name="connsiteY13" fmla="*/ 10773 h 167311"/>
                <a:gd name="connsiteX14" fmla="*/ 98467 w 271685"/>
                <a:gd name="connsiteY14" fmla="*/ 41071 h 167311"/>
                <a:gd name="connsiteX15" fmla="*/ 92155 w 271685"/>
                <a:gd name="connsiteY15" fmla="*/ 44227 h 167311"/>
                <a:gd name="connsiteX16" fmla="*/ 73219 w 271685"/>
                <a:gd name="connsiteY16" fmla="*/ 39808 h 167311"/>
                <a:gd name="connsiteX17" fmla="*/ 9468 w 271685"/>
                <a:gd name="connsiteY17" fmla="*/ 62532 h 167311"/>
                <a:gd name="connsiteX18" fmla="*/ 2525 w 271685"/>
                <a:gd name="connsiteY18" fmla="*/ 64425 h 167311"/>
                <a:gd name="connsiteX19" fmla="*/ 631 w 271685"/>
                <a:gd name="connsiteY19" fmla="*/ 57482 h 167311"/>
                <a:gd name="connsiteX20" fmla="*/ 75113 w 271685"/>
                <a:gd name="connsiteY20" fmla="*/ 29709 h 167311"/>
                <a:gd name="connsiteX21" fmla="*/ 91524 w 271685"/>
                <a:gd name="connsiteY21" fmla="*/ 33496 h 167311"/>
                <a:gd name="connsiteX22" fmla="*/ 186836 w 271685"/>
                <a:gd name="connsiteY22" fmla="*/ 1305 h 167311"/>
                <a:gd name="connsiteX23" fmla="*/ 261318 w 271685"/>
                <a:gd name="connsiteY23" fmla="*/ 38546 h 167311"/>
                <a:gd name="connsiteX24" fmla="*/ 271417 w 271685"/>
                <a:gd name="connsiteY24" fmla="*/ 71369 h 167311"/>
                <a:gd name="connsiteX25" fmla="*/ 176737 w 271685"/>
                <a:gd name="connsiteY25" fmla="*/ 118709 h 167311"/>
                <a:gd name="connsiteX26" fmla="*/ 176737 w 271685"/>
                <a:gd name="connsiteY26" fmla="*/ 128808 h 167311"/>
                <a:gd name="connsiteX27" fmla="*/ 126241 w 271685"/>
                <a:gd name="connsiteY27" fmla="*/ 167311 h 16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1685" h="167311">
                  <a:moveTo>
                    <a:pt x="126241" y="167311"/>
                  </a:moveTo>
                  <a:cubicBezTo>
                    <a:pt x="123716" y="167311"/>
                    <a:pt x="121191" y="167311"/>
                    <a:pt x="119297" y="166680"/>
                  </a:cubicBezTo>
                  <a:cubicBezTo>
                    <a:pt x="99730" y="164155"/>
                    <a:pt x="82687" y="151531"/>
                    <a:pt x="77007" y="133858"/>
                  </a:cubicBezTo>
                  <a:cubicBezTo>
                    <a:pt x="76375" y="131333"/>
                    <a:pt x="77638" y="128177"/>
                    <a:pt x="80163" y="126914"/>
                  </a:cubicBezTo>
                  <a:cubicBezTo>
                    <a:pt x="82687" y="126283"/>
                    <a:pt x="85843" y="127546"/>
                    <a:pt x="87106" y="130070"/>
                  </a:cubicBezTo>
                  <a:cubicBezTo>
                    <a:pt x="91524" y="143326"/>
                    <a:pt x="104779" y="153425"/>
                    <a:pt x="121191" y="155950"/>
                  </a:cubicBezTo>
                  <a:cubicBezTo>
                    <a:pt x="143283" y="158474"/>
                    <a:pt x="163482" y="145219"/>
                    <a:pt x="166007" y="126283"/>
                  </a:cubicBezTo>
                  <a:cubicBezTo>
                    <a:pt x="166638" y="121865"/>
                    <a:pt x="166007" y="117446"/>
                    <a:pt x="164744" y="113028"/>
                  </a:cubicBezTo>
                  <a:cubicBezTo>
                    <a:pt x="164113" y="111134"/>
                    <a:pt x="164744" y="109241"/>
                    <a:pt x="166007" y="107978"/>
                  </a:cubicBezTo>
                  <a:cubicBezTo>
                    <a:pt x="167269" y="106716"/>
                    <a:pt x="169163" y="106085"/>
                    <a:pt x="170425" y="106085"/>
                  </a:cubicBezTo>
                  <a:lnTo>
                    <a:pt x="172319" y="106085"/>
                  </a:lnTo>
                  <a:cubicBezTo>
                    <a:pt x="217765" y="111765"/>
                    <a:pt x="257531" y="95354"/>
                    <a:pt x="260687" y="68844"/>
                  </a:cubicBezTo>
                  <a:cubicBezTo>
                    <a:pt x="261949" y="60638"/>
                    <a:pt x="258793" y="51801"/>
                    <a:pt x="252481" y="43596"/>
                  </a:cubicBezTo>
                  <a:cubicBezTo>
                    <a:pt x="239857" y="27184"/>
                    <a:pt x="213978" y="14560"/>
                    <a:pt x="184943" y="10773"/>
                  </a:cubicBezTo>
                  <a:cubicBezTo>
                    <a:pt x="144546" y="5723"/>
                    <a:pt x="107304" y="18979"/>
                    <a:pt x="98467" y="41071"/>
                  </a:cubicBezTo>
                  <a:cubicBezTo>
                    <a:pt x="97205" y="43596"/>
                    <a:pt x="94680" y="44858"/>
                    <a:pt x="92155" y="44227"/>
                  </a:cubicBezTo>
                  <a:cubicBezTo>
                    <a:pt x="85843" y="42333"/>
                    <a:pt x="79531" y="40440"/>
                    <a:pt x="73219" y="39808"/>
                  </a:cubicBezTo>
                  <a:cubicBezTo>
                    <a:pt x="45447" y="36021"/>
                    <a:pt x="20199" y="45489"/>
                    <a:pt x="9468" y="62532"/>
                  </a:cubicBezTo>
                  <a:cubicBezTo>
                    <a:pt x="8206" y="65056"/>
                    <a:pt x="4419" y="65688"/>
                    <a:pt x="2525" y="64425"/>
                  </a:cubicBezTo>
                  <a:cubicBezTo>
                    <a:pt x="0" y="63163"/>
                    <a:pt x="-631" y="59376"/>
                    <a:pt x="631" y="57482"/>
                  </a:cubicBezTo>
                  <a:cubicBezTo>
                    <a:pt x="13255" y="36652"/>
                    <a:pt x="43553" y="25922"/>
                    <a:pt x="75113" y="29709"/>
                  </a:cubicBezTo>
                  <a:cubicBezTo>
                    <a:pt x="80794" y="30340"/>
                    <a:pt x="86475" y="31603"/>
                    <a:pt x="91524" y="33496"/>
                  </a:cubicBezTo>
                  <a:cubicBezTo>
                    <a:pt x="105411" y="8879"/>
                    <a:pt x="143914" y="-4376"/>
                    <a:pt x="186836" y="1305"/>
                  </a:cubicBezTo>
                  <a:cubicBezTo>
                    <a:pt x="219028" y="5092"/>
                    <a:pt x="246800" y="18979"/>
                    <a:pt x="261318" y="38546"/>
                  </a:cubicBezTo>
                  <a:cubicBezTo>
                    <a:pt x="269524" y="49276"/>
                    <a:pt x="272680" y="60638"/>
                    <a:pt x="271417" y="71369"/>
                  </a:cubicBezTo>
                  <a:cubicBezTo>
                    <a:pt x="266999" y="102297"/>
                    <a:pt x="225340" y="123127"/>
                    <a:pt x="176737" y="118709"/>
                  </a:cubicBezTo>
                  <a:cubicBezTo>
                    <a:pt x="177368" y="121865"/>
                    <a:pt x="177368" y="125021"/>
                    <a:pt x="176737" y="128808"/>
                  </a:cubicBezTo>
                  <a:cubicBezTo>
                    <a:pt x="172319" y="150900"/>
                    <a:pt x="150858" y="167311"/>
                    <a:pt x="126241" y="167311"/>
                  </a:cubicBezTo>
                  <a:close/>
                </a:path>
              </a:pathLst>
            </a:custGeom>
            <a:grpFill/>
            <a:ln w="6350" cap="flat">
              <a:solidFill>
                <a:schemeClr val="tx2"/>
              </a:solidFill>
              <a:prstDash val="solid"/>
              <a:miter/>
            </a:ln>
          </p:spPr>
          <p:txBody>
            <a:bodyPr rtlCol="0" anchor="ctr"/>
            <a:lstStyle/>
            <a:p>
              <a:endParaRPr lang="en-US"/>
            </a:p>
          </p:txBody>
        </p:sp>
        <p:grpSp>
          <p:nvGrpSpPr>
            <p:cNvPr id="23" name="Graphic 4">
              <a:extLst>
                <a:ext uri="{FF2B5EF4-FFF2-40B4-BE49-F238E27FC236}">
                  <a16:creationId xmlns:a16="http://schemas.microsoft.com/office/drawing/2014/main" id="{6BEE258F-FB16-BF92-4188-91E2166B3ABF}"/>
                </a:ext>
              </a:extLst>
            </p:cNvPr>
            <p:cNvGrpSpPr/>
            <p:nvPr/>
          </p:nvGrpSpPr>
          <p:grpSpPr>
            <a:xfrm>
              <a:off x="10967191" y="1148135"/>
              <a:ext cx="271514" cy="387558"/>
              <a:chOff x="10967191" y="1148135"/>
              <a:chExt cx="271514" cy="387558"/>
            </a:xfrm>
            <a:grpFill/>
          </p:grpSpPr>
          <p:sp>
            <p:nvSpPr>
              <p:cNvPr id="24" name="Freeform 1519">
                <a:extLst>
                  <a:ext uri="{FF2B5EF4-FFF2-40B4-BE49-F238E27FC236}">
                    <a16:creationId xmlns:a16="http://schemas.microsoft.com/office/drawing/2014/main" id="{BCD39432-7FF8-B211-2186-028D4E42DED9}"/>
                  </a:ext>
                </a:extLst>
              </p:cNvPr>
              <p:cNvSpPr/>
              <p:nvPr/>
            </p:nvSpPr>
            <p:spPr>
              <a:xfrm>
                <a:off x="10992439" y="1148135"/>
                <a:ext cx="138864" cy="387558"/>
              </a:xfrm>
              <a:custGeom>
                <a:avLst/>
                <a:gdLst>
                  <a:gd name="connsiteX0" fmla="*/ 125609 w 138864"/>
                  <a:gd name="connsiteY0" fmla="*/ 387558 h 387558"/>
                  <a:gd name="connsiteX1" fmla="*/ 13256 w 138864"/>
                  <a:gd name="connsiteY1" fmla="*/ 387558 h 387558"/>
                  <a:gd name="connsiteX2" fmla="*/ 3788 w 138864"/>
                  <a:gd name="connsiteY2" fmla="*/ 383771 h 387558"/>
                  <a:gd name="connsiteX3" fmla="*/ 0 w 138864"/>
                  <a:gd name="connsiteY3" fmla="*/ 374303 h 387558"/>
                  <a:gd name="connsiteX4" fmla="*/ 17043 w 138864"/>
                  <a:gd name="connsiteY4" fmla="*/ 23354 h 387558"/>
                  <a:gd name="connsiteX5" fmla="*/ 41660 w 138864"/>
                  <a:gd name="connsiteY5" fmla="*/ 0 h 387558"/>
                  <a:gd name="connsiteX6" fmla="*/ 97205 w 138864"/>
                  <a:gd name="connsiteY6" fmla="*/ 0 h 387558"/>
                  <a:gd name="connsiteX7" fmla="*/ 121822 w 138864"/>
                  <a:gd name="connsiteY7" fmla="*/ 23354 h 387558"/>
                  <a:gd name="connsiteX8" fmla="*/ 138865 w 138864"/>
                  <a:gd name="connsiteY8" fmla="*/ 374303 h 387558"/>
                  <a:gd name="connsiteX9" fmla="*/ 135078 w 138864"/>
                  <a:gd name="connsiteY9" fmla="*/ 383771 h 387558"/>
                  <a:gd name="connsiteX10" fmla="*/ 125609 w 138864"/>
                  <a:gd name="connsiteY10" fmla="*/ 387558 h 387558"/>
                  <a:gd name="connsiteX11" fmla="*/ 41660 w 138864"/>
                  <a:gd name="connsiteY11" fmla="*/ 10099 h 387558"/>
                  <a:gd name="connsiteX12" fmla="*/ 27142 w 138864"/>
                  <a:gd name="connsiteY12" fmla="*/ 23354 h 387558"/>
                  <a:gd name="connsiteX13" fmla="*/ 10100 w 138864"/>
                  <a:gd name="connsiteY13" fmla="*/ 374303 h 387558"/>
                  <a:gd name="connsiteX14" fmla="*/ 10731 w 138864"/>
                  <a:gd name="connsiteY14" fmla="*/ 376197 h 387558"/>
                  <a:gd name="connsiteX15" fmla="*/ 12624 w 138864"/>
                  <a:gd name="connsiteY15" fmla="*/ 376828 h 387558"/>
                  <a:gd name="connsiteX16" fmla="*/ 124978 w 138864"/>
                  <a:gd name="connsiteY16" fmla="*/ 376828 h 387558"/>
                  <a:gd name="connsiteX17" fmla="*/ 126872 w 138864"/>
                  <a:gd name="connsiteY17" fmla="*/ 376197 h 387558"/>
                  <a:gd name="connsiteX18" fmla="*/ 127503 w 138864"/>
                  <a:gd name="connsiteY18" fmla="*/ 374303 h 387558"/>
                  <a:gd name="connsiteX19" fmla="*/ 110460 w 138864"/>
                  <a:gd name="connsiteY19" fmla="*/ 23354 h 387558"/>
                  <a:gd name="connsiteX20" fmla="*/ 95943 w 138864"/>
                  <a:gd name="connsiteY20" fmla="*/ 10099 h 387558"/>
                  <a:gd name="connsiteX21" fmla="*/ 41660 w 138864"/>
                  <a:gd name="connsiteY21" fmla="*/ 10099 h 387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864" h="387558">
                    <a:moveTo>
                      <a:pt x="125609" y="387558"/>
                    </a:moveTo>
                    <a:lnTo>
                      <a:pt x="13256" y="387558"/>
                    </a:lnTo>
                    <a:cubicBezTo>
                      <a:pt x="9468" y="387558"/>
                      <a:pt x="6312" y="386296"/>
                      <a:pt x="3788" y="383771"/>
                    </a:cubicBezTo>
                    <a:cubicBezTo>
                      <a:pt x="1263" y="381246"/>
                      <a:pt x="0" y="378090"/>
                      <a:pt x="0" y="374303"/>
                    </a:cubicBezTo>
                    <a:lnTo>
                      <a:pt x="17043" y="23354"/>
                    </a:lnTo>
                    <a:cubicBezTo>
                      <a:pt x="17674" y="10730"/>
                      <a:pt x="28404" y="0"/>
                      <a:pt x="41660" y="0"/>
                    </a:cubicBezTo>
                    <a:lnTo>
                      <a:pt x="97205" y="0"/>
                    </a:lnTo>
                    <a:cubicBezTo>
                      <a:pt x="110460" y="0"/>
                      <a:pt x="121191" y="10099"/>
                      <a:pt x="121822" y="23354"/>
                    </a:cubicBezTo>
                    <a:lnTo>
                      <a:pt x="138865" y="374303"/>
                    </a:lnTo>
                    <a:cubicBezTo>
                      <a:pt x="138865" y="378090"/>
                      <a:pt x="137602" y="381246"/>
                      <a:pt x="135078" y="383771"/>
                    </a:cubicBezTo>
                    <a:cubicBezTo>
                      <a:pt x="132553" y="385665"/>
                      <a:pt x="128765" y="387558"/>
                      <a:pt x="125609" y="387558"/>
                    </a:cubicBezTo>
                    <a:close/>
                    <a:moveTo>
                      <a:pt x="41660" y="10099"/>
                    </a:moveTo>
                    <a:cubicBezTo>
                      <a:pt x="34085" y="10099"/>
                      <a:pt x="27773" y="15780"/>
                      <a:pt x="27142" y="23354"/>
                    </a:cubicBezTo>
                    <a:lnTo>
                      <a:pt x="10100" y="374303"/>
                    </a:lnTo>
                    <a:cubicBezTo>
                      <a:pt x="10100" y="374934"/>
                      <a:pt x="10731" y="375566"/>
                      <a:pt x="10731" y="376197"/>
                    </a:cubicBezTo>
                    <a:cubicBezTo>
                      <a:pt x="10731" y="376828"/>
                      <a:pt x="11993" y="376828"/>
                      <a:pt x="12624" y="376828"/>
                    </a:cubicBezTo>
                    <a:lnTo>
                      <a:pt x="124978" y="376828"/>
                    </a:lnTo>
                    <a:cubicBezTo>
                      <a:pt x="126241" y="376828"/>
                      <a:pt x="126872" y="376197"/>
                      <a:pt x="126872" y="376197"/>
                    </a:cubicBezTo>
                    <a:cubicBezTo>
                      <a:pt x="126872" y="376197"/>
                      <a:pt x="127503" y="375566"/>
                      <a:pt x="127503" y="374303"/>
                    </a:cubicBezTo>
                    <a:lnTo>
                      <a:pt x="110460" y="23354"/>
                    </a:lnTo>
                    <a:cubicBezTo>
                      <a:pt x="109829" y="15780"/>
                      <a:pt x="104148" y="10099"/>
                      <a:pt x="95943" y="10099"/>
                    </a:cubicBezTo>
                    <a:lnTo>
                      <a:pt x="41660" y="10099"/>
                    </a:lnTo>
                    <a:close/>
                  </a:path>
                </a:pathLst>
              </a:custGeom>
              <a:grpFill/>
              <a:ln w="6350" cap="flat">
                <a:solidFill>
                  <a:schemeClr val="tx2"/>
                </a:solidFill>
                <a:prstDash val="solid"/>
                <a:miter/>
              </a:ln>
            </p:spPr>
            <p:txBody>
              <a:bodyPr rtlCol="0" anchor="ctr"/>
              <a:lstStyle/>
              <a:p>
                <a:endParaRPr lang="en-US"/>
              </a:p>
            </p:txBody>
          </p:sp>
          <p:sp>
            <p:nvSpPr>
              <p:cNvPr id="25" name="Freeform 1520">
                <a:extLst>
                  <a:ext uri="{FF2B5EF4-FFF2-40B4-BE49-F238E27FC236}">
                    <a16:creationId xmlns:a16="http://schemas.microsoft.com/office/drawing/2014/main" id="{8BD123BA-6502-9E38-65A5-95A7AE90C694}"/>
                  </a:ext>
                </a:extLst>
              </p:cNvPr>
              <p:cNvSpPr/>
              <p:nvPr/>
            </p:nvSpPr>
            <p:spPr>
              <a:xfrm>
                <a:off x="10967191" y="1525594"/>
                <a:ext cx="271514" cy="10099"/>
              </a:xfrm>
              <a:custGeom>
                <a:avLst/>
                <a:gdLst>
                  <a:gd name="connsiteX0" fmla="*/ 266368 w 271514"/>
                  <a:gd name="connsiteY0" fmla="*/ 10099 h 10099"/>
                  <a:gd name="connsiteX1" fmla="*/ 5050 w 271514"/>
                  <a:gd name="connsiteY1" fmla="*/ 10099 h 10099"/>
                  <a:gd name="connsiteX2" fmla="*/ 0 w 271514"/>
                  <a:gd name="connsiteY2" fmla="*/ 5050 h 10099"/>
                  <a:gd name="connsiteX3" fmla="*/ 5050 w 271514"/>
                  <a:gd name="connsiteY3" fmla="*/ 0 h 10099"/>
                  <a:gd name="connsiteX4" fmla="*/ 266368 w 271514"/>
                  <a:gd name="connsiteY4" fmla="*/ 0 h 10099"/>
                  <a:gd name="connsiteX5" fmla="*/ 271417 w 271514"/>
                  <a:gd name="connsiteY5" fmla="*/ 5050 h 10099"/>
                  <a:gd name="connsiteX6" fmla="*/ 266368 w 271514"/>
                  <a:gd name="connsiteY6" fmla="*/ 10099 h 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1514" h="10099">
                    <a:moveTo>
                      <a:pt x="266368" y="10099"/>
                    </a:moveTo>
                    <a:lnTo>
                      <a:pt x="5050" y="10099"/>
                    </a:lnTo>
                    <a:cubicBezTo>
                      <a:pt x="1894" y="10099"/>
                      <a:pt x="0" y="7574"/>
                      <a:pt x="0" y="5050"/>
                    </a:cubicBezTo>
                    <a:cubicBezTo>
                      <a:pt x="0" y="1894"/>
                      <a:pt x="2525" y="0"/>
                      <a:pt x="5050" y="0"/>
                    </a:cubicBezTo>
                    <a:lnTo>
                      <a:pt x="266368" y="0"/>
                    </a:lnTo>
                    <a:cubicBezTo>
                      <a:pt x="269524" y="0"/>
                      <a:pt x="271417" y="2525"/>
                      <a:pt x="271417" y="5050"/>
                    </a:cubicBezTo>
                    <a:cubicBezTo>
                      <a:pt x="272049" y="7574"/>
                      <a:pt x="269524" y="10099"/>
                      <a:pt x="266368" y="10099"/>
                    </a:cubicBezTo>
                    <a:close/>
                  </a:path>
                </a:pathLst>
              </a:custGeom>
              <a:grpFill/>
              <a:ln w="6350" cap="flat">
                <a:solidFill>
                  <a:schemeClr val="tx2"/>
                </a:solidFill>
                <a:prstDash val="solid"/>
                <a:miter/>
              </a:ln>
            </p:spPr>
            <p:txBody>
              <a:bodyPr rtlCol="0" anchor="ctr"/>
              <a:lstStyle/>
              <a:p>
                <a:endParaRPr lang="en-US"/>
              </a:p>
            </p:txBody>
          </p:sp>
          <p:sp>
            <p:nvSpPr>
              <p:cNvPr id="26" name="Freeform 1521">
                <a:extLst>
                  <a:ext uri="{FF2B5EF4-FFF2-40B4-BE49-F238E27FC236}">
                    <a16:creationId xmlns:a16="http://schemas.microsoft.com/office/drawing/2014/main" id="{724519FB-62A5-E4B4-78F0-CCBFB27D2A57}"/>
                  </a:ext>
                </a:extLst>
              </p:cNvPr>
              <p:cNvSpPr/>
              <p:nvPr/>
            </p:nvSpPr>
            <p:spPr>
              <a:xfrm>
                <a:off x="11113630" y="1360850"/>
                <a:ext cx="102254" cy="10099"/>
              </a:xfrm>
              <a:custGeom>
                <a:avLst/>
                <a:gdLst>
                  <a:gd name="connsiteX0" fmla="*/ 97205 w 102254"/>
                  <a:gd name="connsiteY0" fmla="*/ 10099 h 10099"/>
                  <a:gd name="connsiteX1" fmla="*/ 5049 w 102254"/>
                  <a:gd name="connsiteY1" fmla="*/ 10099 h 10099"/>
                  <a:gd name="connsiteX2" fmla="*/ 0 w 102254"/>
                  <a:gd name="connsiteY2" fmla="*/ 5050 h 10099"/>
                  <a:gd name="connsiteX3" fmla="*/ 5049 w 102254"/>
                  <a:gd name="connsiteY3" fmla="*/ 0 h 10099"/>
                  <a:gd name="connsiteX4" fmla="*/ 97205 w 102254"/>
                  <a:gd name="connsiteY4" fmla="*/ 0 h 10099"/>
                  <a:gd name="connsiteX5" fmla="*/ 102255 w 102254"/>
                  <a:gd name="connsiteY5" fmla="*/ 5050 h 10099"/>
                  <a:gd name="connsiteX6" fmla="*/ 97205 w 102254"/>
                  <a:gd name="connsiteY6" fmla="*/ 10099 h 10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254" h="10099">
                    <a:moveTo>
                      <a:pt x="97205" y="10099"/>
                    </a:moveTo>
                    <a:lnTo>
                      <a:pt x="5049" y="10099"/>
                    </a:lnTo>
                    <a:cubicBezTo>
                      <a:pt x="1893" y="10099"/>
                      <a:pt x="0" y="7574"/>
                      <a:pt x="0" y="5050"/>
                    </a:cubicBezTo>
                    <a:cubicBezTo>
                      <a:pt x="0" y="2525"/>
                      <a:pt x="2525" y="0"/>
                      <a:pt x="5049" y="0"/>
                    </a:cubicBezTo>
                    <a:lnTo>
                      <a:pt x="97205" y="0"/>
                    </a:lnTo>
                    <a:cubicBezTo>
                      <a:pt x="100361" y="0"/>
                      <a:pt x="102255" y="2525"/>
                      <a:pt x="102255" y="5050"/>
                    </a:cubicBezTo>
                    <a:cubicBezTo>
                      <a:pt x="102255" y="7574"/>
                      <a:pt x="99730" y="10099"/>
                      <a:pt x="97205" y="10099"/>
                    </a:cubicBezTo>
                    <a:close/>
                  </a:path>
                </a:pathLst>
              </a:custGeom>
              <a:grpFill/>
              <a:ln w="6350" cap="flat">
                <a:solidFill>
                  <a:schemeClr val="tx2"/>
                </a:solidFill>
                <a:prstDash val="solid"/>
                <a:miter/>
              </a:ln>
            </p:spPr>
            <p:txBody>
              <a:bodyPr rtlCol="0" anchor="ctr"/>
              <a:lstStyle/>
              <a:p>
                <a:endParaRPr lang="en-US"/>
              </a:p>
            </p:txBody>
          </p:sp>
        </p:grpSp>
      </p:grpSp>
      <p:grpSp>
        <p:nvGrpSpPr>
          <p:cNvPr id="46" name="Graphic 4">
            <a:extLst>
              <a:ext uri="{FF2B5EF4-FFF2-40B4-BE49-F238E27FC236}">
                <a16:creationId xmlns:a16="http://schemas.microsoft.com/office/drawing/2014/main" id="{EDA070E1-6444-A8F4-1CF7-8F72CE3E000C}"/>
              </a:ext>
            </a:extLst>
          </p:cNvPr>
          <p:cNvGrpSpPr/>
          <p:nvPr/>
        </p:nvGrpSpPr>
        <p:grpSpPr>
          <a:xfrm>
            <a:off x="519977" y="2565500"/>
            <a:ext cx="681775" cy="690838"/>
            <a:chOff x="7504412" y="5694056"/>
            <a:chExt cx="545992" cy="533997"/>
          </a:xfrm>
          <a:noFill/>
        </p:grpSpPr>
        <p:grpSp>
          <p:nvGrpSpPr>
            <p:cNvPr id="47" name="Graphic 4">
              <a:extLst>
                <a:ext uri="{FF2B5EF4-FFF2-40B4-BE49-F238E27FC236}">
                  <a16:creationId xmlns:a16="http://schemas.microsoft.com/office/drawing/2014/main" id="{95FC9DA3-8C0F-CDA5-CE2B-D4860CE382D4}"/>
                </a:ext>
              </a:extLst>
            </p:cNvPr>
            <p:cNvGrpSpPr/>
            <p:nvPr/>
          </p:nvGrpSpPr>
          <p:grpSpPr>
            <a:xfrm>
              <a:off x="7738590" y="6039955"/>
              <a:ext cx="311815" cy="188098"/>
              <a:chOff x="7738590" y="6039955"/>
              <a:chExt cx="311815" cy="188098"/>
            </a:xfrm>
            <a:noFill/>
          </p:grpSpPr>
          <p:sp>
            <p:nvSpPr>
              <p:cNvPr id="60" name="Freeform 1850">
                <a:extLst>
                  <a:ext uri="{FF2B5EF4-FFF2-40B4-BE49-F238E27FC236}">
                    <a16:creationId xmlns:a16="http://schemas.microsoft.com/office/drawing/2014/main" id="{C0EA0023-2E49-F9DD-4D57-051D7FD32DAA}"/>
                  </a:ext>
                </a:extLst>
              </p:cNvPr>
              <p:cNvSpPr/>
              <p:nvPr/>
            </p:nvSpPr>
            <p:spPr>
              <a:xfrm>
                <a:off x="7876192" y="6039955"/>
                <a:ext cx="174213" cy="135077"/>
              </a:xfrm>
              <a:custGeom>
                <a:avLst/>
                <a:gdLst>
                  <a:gd name="connsiteX0" fmla="*/ 112985 w 174213"/>
                  <a:gd name="connsiteY0" fmla="*/ 0 h 135077"/>
                  <a:gd name="connsiteX1" fmla="*/ 171056 w 174213"/>
                  <a:gd name="connsiteY1" fmla="*/ 100361 h 135077"/>
                  <a:gd name="connsiteX2" fmla="*/ 151489 w 174213"/>
                  <a:gd name="connsiteY2" fmla="*/ 134446 h 135077"/>
                  <a:gd name="connsiteX3" fmla="*/ 0 w 174213"/>
                  <a:gd name="connsiteY3" fmla="*/ 135078 h 135077"/>
                </a:gdLst>
                <a:ahLst/>
                <a:cxnLst>
                  <a:cxn ang="0">
                    <a:pos x="connsiteX0" y="connsiteY0"/>
                  </a:cxn>
                  <a:cxn ang="0">
                    <a:pos x="connsiteX1" y="connsiteY1"/>
                  </a:cxn>
                  <a:cxn ang="0">
                    <a:pos x="connsiteX2" y="connsiteY2"/>
                  </a:cxn>
                  <a:cxn ang="0">
                    <a:pos x="connsiteX3" y="connsiteY3"/>
                  </a:cxn>
                </a:cxnLst>
                <a:rect l="l" t="t" r="r" b="b"/>
                <a:pathLst>
                  <a:path w="174213" h="135077">
                    <a:moveTo>
                      <a:pt x="112985" y="0"/>
                    </a:moveTo>
                    <a:lnTo>
                      <a:pt x="171056" y="100361"/>
                    </a:lnTo>
                    <a:cubicBezTo>
                      <a:pt x="179893" y="115510"/>
                      <a:pt x="169163" y="134446"/>
                      <a:pt x="151489" y="134446"/>
                    </a:cubicBezTo>
                    <a:lnTo>
                      <a:pt x="0" y="135078"/>
                    </a:lnTo>
                  </a:path>
                </a:pathLst>
              </a:custGeom>
              <a:noFill/>
              <a:ln w="22225" cap="rnd">
                <a:solidFill>
                  <a:schemeClr val="tx2"/>
                </a:solidFill>
                <a:prstDash val="solid"/>
                <a:round/>
              </a:ln>
            </p:spPr>
            <p:txBody>
              <a:bodyPr rtlCol="0" anchor="ctr"/>
              <a:lstStyle/>
              <a:p>
                <a:endParaRPr lang="en-US"/>
              </a:p>
            </p:txBody>
          </p:sp>
          <p:sp>
            <p:nvSpPr>
              <p:cNvPr id="61" name="Freeform 1851">
                <a:extLst>
                  <a:ext uri="{FF2B5EF4-FFF2-40B4-BE49-F238E27FC236}">
                    <a16:creationId xmlns:a16="http://schemas.microsoft.com/office/drawing/2014/main" id="{502E0053-BAD5-3B77-0CE4-FFF5223DC2C1}"/>
                  </a:ext>
                </a:extLst>
              </p:cNvPr>
              <p:cNvSpPr/>
              <p:nvPr/>
            </p:nvSpPr>
            <p:spPr>
              <a:xfrm>
                <a:off x="7779618" y="6120749"/>
                <a:ext cx="68801" cy="107304"/>
              </a:xfrm>
              <a:custGeom>
                <a:avLst/>
                <a:gdLst>
                  <a:gd name="connsiteX0" fmla="*/ 15149 w 68801"/>
                  <a:gd name="connsiteY0" fmla="*/ 107304 h 107304"/>
                  <a:gd name="connsiteX1" fmla="*/ 0 w 68801"/>
                  <a:gd name="connsiteY1" fmla="*/ 107304 h 107304"/>
                  <a:gd name="connsiteX2" fmla="*/ 0 w 68801"/>
                  <a:gd name="connsiteY2" fmla="*/ 0 h 107304"/>
                  <a:gd name="connsiteX3" fmla="*/ 15149 w 68801"/>
                  <a:gd name="connsiteY3" fmla="*/ 0 h 107304"/>
                  <a:gd name="connsiteX4" fmla="*/ 68801 w 68801"/>
                  <a:gd name="connsiteY4" fmla="*/ 53652 h 107304"/>
                  <a:gd name="connsiteX5" fmla="*/ 68801 w 68801"/>
                  <a:gd name="connsiteY5" fmla="*/ 53652 h 107304"/>
                  <a:gd name="connsiteX6" fmla="*/ 15149 w 68801"/>
                  <a:gd name="connsiteY6" fmla="*/ 107304 h 10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801" h="107304">
                    <a:moveTo>
                      <a:pt x="15149" y="107304"/>
                    </a:moveTo>
                    <a:lnTo>
                      <a:pt x="0" y="107304"/>
                    </a:lnTo>
                    <a:lnTo>
                      <a:pt x="0" y="0"/>
                    </a:lnTo>
                    <a:lnTo>
                      <a:pt x="15149" y="0"/>
                    </a:lnTo>
                    <a:cubicBezTo>
                      <a:pt x="44816" y="0"/>
                      <a:pt x="68801" y="23986"/>
                      <a:pt x="68801" y="53652"/>
                    </a:cubicBezTo>
                    <a:lnTo>
                      <a:pt x="68801" y="53652"/>
                    </a:lnTo>
                    <a:cubicBezTo>
                      <a:pt x="68801" y="83319"/>
                      <a:pt x="44816" y="107304"/>
                      <a:pt x="15149" y="107304"/>
                    </a:cubicBezTo>
                    <a:close/>
                  </a:path>
                </a:pathLst>
              </a:custGeom>
              <a:noFill/>
              <a:ln w="22225" cap="rnd">
                <a:solidFill>
                  <a:schemeClr val="tx2"/>
                </a:solidFill>
                <a:prstDash val="solid"/>
                <a:round/>
              </a:ln>
            </p:spPr>
            <p:txBody>
              <a:bodyPr rtlCol="0" anchor="ctr"/>
              <a:lstStyle/>
              <a:p>
                <a:endParaRPr lang="en-US"/>
              </a:p>
            </p:txBody>
          </p:sp>
          <p:grpSp>
            <p:nvGrpSpPr>
              <p:cNvPr id="62" name="Graphic 4">
                <a:extLst>
                  <a:ext uri="{FF2B5EF4-FFF2-40B4-BE49-F238E27FC236}">
                    <a16:creationId xmlns:a16="http://schemas.microsoft.com/office/drawing/2014/main" id="{0D8B57B0-5015-F60A-DAE8-9EFC5AC63CC9}"/>
                  </a:ext>
                </a:extLst>
              </p:cNvPr>
              <p:cNvGrpSpPr/>
              <p:nvPr/>
            </p:nvGrpSpPr>
            <p:grpSpPr>
              <a:xfrm>
                <a:off x="7738590" y="6142210"/>
                <a:ext cx="41028" cy="64382"/>
                <a:chOff x="7738590" y="6142210"/>
                <a:chExt cx="41028" cy="64382"/>
              </a:xfrm>
            </p:grpSpPr>
            <p:sp>
              <p:nvSpPr>
                <p:cNvPr id="63" name="Freeform 1853">
                  <a:extLst>
                    <a:ext uri="{FF2B5EF4-FFF2-40B4-BE49-F238E27FC236}">
                      <a16:creationId xmlns:a16="http://schemas.microsoft.com/office/drawing/2014/main" id="{AD3A71E0-8466-6689-A89C-D0366DF75C3D}"/>
                    </a:ext>
                  </a:extLst>
                </p:cNvPr>
                <p:cNvSpPr/>
                <p:nvPr/>
              </p:nvSpPr>
              <p:spPr>
                <a:xfrm>
                  <a:off x="7738590" y="6142210"/>
                  <a:ext cx="41028" cy="6312"/>
                </a:xfrm>
                <a:custGeom>
                  <a:avLst/>
                  <a:gdLst>
                    <a:gd name="connsiteX0" fmla="*/ 41028 w 41028"/>
                    <a:gd name="connsiteY0" fmla="*/ 0 h 6312"/>
                    <a:gd name="connsiteX1" fmla="*/ 0 w 41028"/>
                    <a:gd name="connsiteY1" fmla="*/ 0 h 6312"/>
                  </a:gdLst>
                  <a:ahLst/>
                  <a:cxnLst>
                    <a:cxn ang="0">
                      <a:pos x="connsiteX0" y="connsiteY0"/>
                    </a:cxn>
                    <a:cxn ang="0">
                      <a:pos x="connsiteX1" y="connsiteY1"/>
                    </a:cxn>
                  </a:cxnLst>
                  <a:rect l="l" t="t" r="r" b="b"/>
                  <a:pathLst>
                    <a:path w="41028" h="6312">
                      <a:moveTo>
                        <a:pt x="41028" y="0"/>
                      </a:moveTo>
                      <a:lnTo>
                        <a:pt x="0" y="0"/>
                      </a:lnTo>
                    </a:path>
                  </a:pathLst>
                </a:custGeom>
                <a:ln w="22225" cap="rnd">
                  <a:solidFill>
                    <a:schemeClr val="tx2"/>
                  </a:solidFill>
                  <a:prstDash val="solid"/>
                  <a:round/>
                </a:ln>
              </p:spPr>
              <p:txBody>
                <a:bodyPr rtlCol="0" anchor="ctr"/>
                <a:lstStyle/>
                <a:p>
                  <a:endParaRPr lang="en-US"/>
                </a:p>
              </p:txBody>
            </p:sp>
            <p:sp>
              <p:nvSpPr>
                <p:cNvPr id="64" name="Freeform 1854">
                  <a:extLst>
                    <a:ext uri="{FF2B5EF4-FFF2-40B4-BE49-F238E27FC236}">
                      <a16:creationId xmlns:a16="http://schemas.microsoft.com/office/drawing/2014/main" id="{12081F6E-AD3E-88A1-D166-BAC5FC38D165}"/>
                    </a:ext>
                  </a:extLst>
                </p:cNvPr>
                <p:cNvSpPr/>
                <p:nvPr/>
              </p:nvSpPr>
              <p:spPr>
                <a:xfrm>
                  <a:off x="7738590" y="6206593"/>
                  <a:ext cx="41028" cy="6312"/>
                </a:xfrm>
                <a:custGeom>
                  <a:avLst/>
                  <a:gdLst>
                    <a:gd name="connsiteX0" fmla="*/ 41028 w 41028"/>
                    <a:gd name="connsiteY0" fmla="*/ 0 h 6312"/>
                    <a:gd name="connsiteX1" fmla="*/ 0 w 41028"/>
                    <a:gd name="connsiteY1" fmla="*/ 0 h 6312"/>
                  </a:gdLst>
                  <a:ahLst/>
                  <a:cxnLst>
                    <a:cxn ang="0">
                      <a:pos x="connsiteX0" y="connsiteY0"/>
                    </a:cxn>
                    <a:cxn ang="0">
                      <a:pos x="connsiteX1" y="connsiteY1"/>
                    </a:cxn>
                  </a:cxnLst>
                  <a:rect l="l" t="t" r="r" b="b"/>
                  <a:pathLst>
                    <a:path w="41028" h="6312">
                      <a:moveTo>
                        <a:pt x="41028" y="0"/>
                      </a:moveTo>
                      <a:lnTo>
                        <a:pt x="0" y="0"/>
                      </a:lnTo>
                    </a:path>
                  </a:pathLst>
                </a:custGeom>
                <a:ln w="22225" cap="rnd">
                  <a:solidFill>
                    <a:schemeClr val="tx2"/>
                  </a:solidFill>
                  <a:prstDash val="solid"/>
                  <a:round/>
                </a:ln>
              </p:spPr>
              <p:txBody>
                <a:bodyPr rtlCol="0" anchor="ctr"/>
                <a:lstStyle/>
                <a:p>
                  <a:endParaRPr lang="en-US"/>
                </a:p>
              </p:txBody>
            </p:sp>
          </p:grpSp>
        </p:grpSp>
        <p:grpSp>
          <p:nvGrpSpPr>
            <p:cNvPr id="48" name="Graphic 4">
              <a:extLst>
                <a:ext uri="{FF2B5EF4-FFF2-40B4-BE49-F238E27FC236}">
                  <a16:creationId xmlns:a16="http://schemas.microsoft.com/office/drawing/2014/main" id="{9D2DE4FB-F298-E025-3300-4AF883DD576C}"/>
                </a:ext>
              </a:extLst>
            </p:cNvPr>
            <p:cNvGrpSpPr/>
            <p:nvPr/>
          </p:nvGrpSpPr>
          <p:grpSpPr>
            <a:xfrm>
              <a:off x="7504412" y="5873949"/>
              <a:ext cx="175475" cy="300452"/>
              <a:chOff x="7504412" y="5873949"/>
              <a:chExt cx="175475" cy="300452"/>
            </a:xfrm>
            <a:noFill/>
          </p:grpSpPr>
          <p:sp>
            <p:nvSpPr>
              <p:cNvPr id="55" name="Freeform 1845">
                <a:extLst>
                  <a:ext uri="{FF2B5EF4-FFF2-40B4-BE49-F238E27FC236}">
                    <a16:creationId xmlns:a16="http://schemas.microsoft.com/office/drawing/2014/main" id="{B3DA17F7-CA18-E221-7B5C-DB93510875A1}"/>
                  </a:ext>
                </a:extLst>
              </p:cNvPr>
              <p:cNvSpPr/>
              <p:nvPr/>
            </p:nvSpPr>
            <p:spPr>
              <a:xfrm>
                <a:off x="7504412" y="6007764"/>
                <a:ext cx="138865" cy="166637"/>
              </a:xfrm>
              <a:custGeom>
                <a:avLst/>
                <a:gdLst>
                  <a:gd name="connsiteX0" fmla="*/ 138866 w 138865"/>
                  <a:gd name="connsiteY0" fmla="*/ 166637 h 166637"/>
                  <a:gd name="connsiteX1" fmla="*/ 22724 w 138865"/>
                  <a:gd name="connsiteY1" fmla="*/ 166637 h 166637"/>
                  <a:gd name="connsiteX2" fmla="*/ 3157 w 138865"/>
                  <a:gd name="connsiteY2" fmla="*/ 132553 h 166637"/>
                  <a:gd name="connsiteX3" fmla="*/ 79533 w 138865"/>
                  <a:gd name="connsiteY3" fmla="*/ 0 h 166637"/>
                </a:gdLst>
                <a:ahLst/>
                <a:cxnLst>
                  <a:cxn ang="0">
                    <a:pos x="connsiteX0" y="connsiteY0"/>
                  </a:cxn>
                  <a:cxn ang="0">
                    <a:pos x="connsiteX1" y="connsiteY1"/>
                  </a:cxn>
                  <a:cxn ang="0">
                    <a:pos x="connsiteX2" y="connsiteY2"/>
                  </a:cxn>
                  <a:cxn ang="0">
                    <a:pos x="connsiteX3" y="connsiteY3"/>
                  </a:cxn>
                </a:cxnLst>
                <a:rect l="l" t="t" r="r" b="b"/>
                <a:pathLst>
                  <a:path w="138865" h="166637">
                    <a:moveTo>
                      <a:pt x="138866" y="166637"/>
                    </a:moveTo>
                    <a:lnTo>
                      <a:pt x="22724" y="166637"/>
                    </a:lnTo>
                    <a:cubicBezTo>
                      <a:pt x="5051" y="166637"/>
                      <a:pt x="-5680" y="147701"/>
                      <a:pt x="3157" y="132553"/>
                    </a:cubicBezTo>
                    <a:lnTo>
                      <a:pt x="79533" y="0"/>
                    </a:lnTo>
                  </a:path>
                </a:pathLst>
              </a:custGeom>
              <a:noFill/>
              <a:ln w="22225" cap="rnd">
                <a:solidFill>
                  <a:schemeClr val="tx2"/>
                </a:solidFill>
                <a:prstDash val="solid"/>
                <a:round/>
              </a:ln>
            </p:spPr>
            <p:txBody>
              <a:bodyPr rtlCol="0" anchor="ctr"/>
              <a:lstStyle/>
              <a:p>
                <a:endParaRPr lang="en-US"/>
              </a:p>
            </p:txBody>
          </p:sp>
          <p:sp>
            <p:nvSpPr>
              <p:cNvPr id="56" name="Freeform 1846">
                <a:extLst>
                  <a:ext uri="{FF2B5EF4-FFF2-40B4-BE49-F238E27FC236}">
                    <a16:creationId xmlns:a16="http://schemas.microsoft.com/office/drawing/2014/main" id="{4D76165E-EA21-A450-2900-77F179184184}"/>
                  </a:ext>
                </a:extLst>
              </p:cNvPr>
              <p:cNvSpPr/>
              <p:nvPr/>
            </p:nvSpPr>
            <p:spPr>
              <a:xfrm>
                <a:off x="7570222" y="5898566"/>
                <a:ext cx="107772" cy="93605"/>
              </a:xfrm>
              <a:custGeom>
                <a:avLst/>
                <a:gdLst>
                  <a:gd name="connsiteX0" fmla="*/ 7411 w 107772"/>
                  <a:gd name="connsiteY0" fmla="*/ 13255 h 93605"/>
                  <a:gd name="connsiteX1" fmla="*/ 14986 w 107772"/>
                  <a:gd name="connsiteY1" fmla="*/ 0 h 93605"/>
                  <a:gd name="connsiteX2" fmla="*/ 107772 w 107772"/>
                  <a:gd name="connsiteY2" fmla="*/ 53652 h 93605"/>
                  <a:gd name="connsiteX3" fmla="*/ 100198 w 107772"/>
                  <a:gd name="connsiteY3" fmla="*/ 66908 h 93605"/>
                  <a:gd name="connsiteX4" fmla="*/ 26979 w 107772"/>
                  <a:gd name="connsiteY4" fmla="*/ 86475 h 93605"/>
                  <a:gd name="connsiteX5" fmla="*/ 26979 w 107772"/>
                  <a:gd name="connsiteY5" fmla="*/ 86475 h 93605"/>
                  <a:gd name="connsiteX6" fmla="*/ 7411 w 107772"/>
                  <a:gd name="connsiteY6" fmla="*/ 13255 h 9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72" h="93605">
                    <a:moveTo>
                      <a:pt x="7411" y="13255"/>
                    </a:moveTo>
                    <a:lnTo>
                      <a:pt x="14986" y="0"/>
                    </a:lnTo>
                    <a:lnTo>
                      <a:pt x="107772" y="53652"/>
                    </a:lnTo>
                    <a:lnTo>
                      <a:pt x="100198" y="66908"/>
                    </a:lnTo>
                    <a:cubicBezTo>
                      <a:pt x="85680" y="92787"/>
                      <a:pt x="52858" y="100992"/>
                      <a:pt x="26979" y="86475"/>
                    </a:cubicBezTo>
                    <a:lnTo>
                      <a:pt x="26979" y="86475"/>
                    </a:lnTo>
                    <a:cubicBezTo>
                      <a:pt x="1099" y="71326"/>
                      <a:pt x="-7738" y="38504"/>
                      <a:pt x="7411" y="13255"/>
                    </a:cubicBezTo>
                    <a:close/>
                  </a:path>
                </a:pathLst>
              </a:custGeom>
              <a:noFill/>
              <a:ln w="22225" cap="rnd">
                <a:solidFill>
                  <a:schemeClr val="tx2"/>
                </a:solidFill>
                <a:prstDash val="solid"/>
                <a:round/>
              </a:ln>
            </p:spPr>
            <p:txBody>
              <a:bodyPr rtlCol="0" anchor="ctr"/>
              <a:lstStyle/>
              <a:p>
                <a:endParaRPr lang="en-US"/>
              </a:p>
            </p:txBody>
          </p:sp>
          <p:grpSp>
            <p:nvGrpSpPr>
              <p:cNvPr id="57" name="Graphic 4">
                <a:extLst>
                  <a:ext uri="{FF2B5EF4-FFF2-40B4-BE49-F238E27FC236}">
                    <a16:creationId xmlns:a16="http://schemas.microsoft.com/office/drawing/2014/main" id="{060F4C29-99A7-47D6-58E0-CFAC382248BC}"/>
                  </a:ext>
                </a:extLst>
              </p:cNvPr>
              <p:cNvGrpSpPr/>
              <p:nvPr/>
            </p:nvGrpSpPr>
            <p:grpSpPr>
              <a:xfrm>
                <a:off x="7603512" y="5873949"/>
                <a:ext cx="76375" cy="67538"/>
                <a:chOff x="7603512" y="5873949"/>
                <a:chExt cx="76375" cy="67538"/>
              </a:xfrm>
            </p:grpSpPr>
            <p:sp>
              <p:nvSpPr>
                <p:cNvPr id="58" name="Freeform 1848">
                  <a:extLst>
                    <a:ext uri="{FF2B5EF4-FFF2-40B4-BE49-F238E27FC236}">
                      <a16:creationId xmlns:a16="http://schemas.microsoft.com/office/drawing/2014/main" id="{5D6ADA8E-DC9B-E5C4-AC89-977CE8CFFB6F}"/>
                    </a:ext>
                  </a:extLst>
                </p:cNvPr>
                <p:cNvSpPr/>
                <p:nvPr/>
              </p:nvSpPr>
              <p:spPr>
                <a:xfrm>
                  <a:off x="7659689" y="5906140"/>
                  <a:ext cx="20198" cy="35347"/>
                </a:xfrm>
                <a:custGeom>
                  <a:avLst/>
                  <a:gdLst>
                    <a:gd name="connsiteX0" fmla="*/ 0 w 20198"/>
                    <a:gd name="connsiteY0" fmla="*/ 35348 h 35347"/>
                    <a:gd name="connsiteX1" fmla="*/ 20199 w 20198"/>
                    <a:gd name="connsiteY1" fmla="*/ 0 h 35347"/>
                  </a:gdLst>
                  <a:ahLst/>
                  <a:cxnLst>
                    <a:cxn ang="0">
                      <a:pos x="connsiteX0" y="connsiteY0"/>
                    </a:cxn>
                    <a:cxn ang="0">
                      <a:pos x="connsiteX1" y="connsiteY1"/>
                    </a:cxn>
                  </a:cxnLst>
                  <a:rect l="l" t="t" r="r" b="b"/>
                  <a:pathLst>
                    <a:path w="20198" h="35347">
                      <a:moveTo>
                        <a:pt x="0" y="35348"/>
                      </a:moveTo>
                      <a:lnTo>
                        <a:pt x="20199" y="0"/>
                      </a:lnTo>
                    </a:path>
                  </a:pathLst>
                </a:custGeom>
                <a:ln w="22225" cap="rnd">
                  <a:solidFill>
                    <a:schemeClr val="tx2"/>
                  </a:solidFill>
                  <a:prstDash val="solid"/>
                  <a:round/>
                </a:ln>
              </p:spPr>
              <p:txBody>
                <a:bodyPr rtlCol="0" anchor="ctr"/>
                <a:lstStyle/>
                <a:p>
                  <a:endParaRPr lang="en-US"/>
                </a:p>
              </p:txBody>
            </p:sp>
            <p:sp>
              <p:nvSpPr>
                <p:cNvPr id="59" name="Freeform 1849">
                  <a:extLst>
                    <a:ext uri="{FF2B5EF4-FFF2-40B4-BE49-F238E27FC236}">
                      <a16:creationId xmlns:a16="http://schemas.microsoft.com/office/drawing/2014/main" id="{57F5DD51-3ECA-DC91-A912-952E429F749D}"/>
                    </a:ext>
                  </a:extLst>
                </p:cNvPr>
                <p:cNvSpPr/>
                <p:nvPr/>
              </p:nvSpPr>
              <p:spPr>
                <a:xfrm>
                  <a:off x="7603512" y="5873949"/>
                  <a:ext cx="20198" cy="35347"/>
                </a:xfrm>
                <a:custGeom>
                  <a:avLst/>
                  <a:gdLst>
                    <a:gd name="connsiteX0" fmla="*/ 0 w 20198"/>
                    <a:gd name="connsiteY0" fmla="*/ 35347 h 35347"/>
                    <a:gd name="connsiteX1" fmla="*/ 20198 w 20198"/>
                    <a:gd name="connsiteY1" fmla="*/ 0 h 35347"/>
                  </a:gdLst>
                  <a:ahLst/>
                  <a:cxnLst>
                    <a:cxn ang="0">
                      <a:pos x="connsiteX0" y="connsiteY0"/>
                    </a:cxn>
                    <a:cxn ang="0">
                      <a:pos x="connsiteX1" y="connsiteY1"/>
                    </a:cxn>
                  </a:cxnLst>
                  <a:rect l="l" t="t" r="r" b="b"/>
                  <a:pathLst>
                    <a:path w="20198" h="35347">
                      <a:moveTo>
                        <a:pt x="0" y="35347"/>
                      </a:moveTo>
                      <a:lnTo>
                        <a:pt x="20198" y="0"/>
                      </a:lnTo>
                    </a:path>
                  </a:pathLst>
                </a:custGeom>
                <a:ln w="22225" cap="rnd">
                  <a:solidFill>
                    <a:schemeClr val="tx2"/>
                  </a:solidFill>
                  <a:prstDash val="solid"/>
                  <a:round/>
                </a:ln>
              </p:spPr>
              <p:txBody>
                <a:bodyPr rtlCol="0" anchor="ctr"/>
                <a:lstStyle/>
                <a:p>
                  <a:endParaRPr lang="en-US"/>
                </a:p>
              </p:txBody>
            </p:sp>
          </p:grpSp>
        </p:grpSp>
        <p:grpSp>
          <p:nvGrpSpPr>
            <p:cNvPr id="49" name="Graphic 4">
              <a:extLst>
                <a:ext uri="{FF2B5EF4-FFF2-40B4-BE49-F238E27FC236}">
                  <a16:creationId xmlns:a16="http://schemas.microsoft.com/office/drawing/2014/main" id="{76ED18B7-C9AA-14BF-CD3A-4CDCAF428F70}"/>
                </a:ext>
              </a:extLst>
            </p:cNvPr>
            <p:cNvGrpSpPr/>
            <p:nvPr/>
          </p:nvGrpSpPr>
          <p:grpSpPr>
            <a:xfrm>
              <a:off x="7701349" y="5694056"/>
              <a:ext cx="269523" cy="277098"/>
              <a:chOff x="7701349" y="5694056"/>
              <a:chExt cx="269523" cy="277098"/>
            </a:xfrm>
            <a:noFill/>
          </p:grpSpPr>
          <p:sp>
            <p:nvSpPr>
              <p:cNvPr id="50" name="Freeform 1840">
                <a:extLst>
                  <a:ext uri="{FF2B5EF4-FFF2-40B4-BE49-F238E27FC236}">
                    <a16:creationId xmlns:a16="http://schemas.microsoft.com/office/drawing/2014/main" id="{6B3F97E8-BA48-C3D3-2F59-52842150F086}"/>
                  </a:ext>
                </a:extLst>
              </p:cNvPr>
              <p:cNvSpPr/>
              <p:nvPr/>
            </p:nvSpPr>
            <p:spPr>
              <a:xfrm>
                <a:off x="7701349" y="5694056"/>
                <a:ext cx="173580" cy="143283"/>
              </a:xfrm>
              <a:custGeom>
                <a:avLst/>
                <a:gdLst>
                  <a:gd name="connsiteX0" fmla="*/ 0 w 173580"/>
                  <a:gd name="connsiteY0" fmla="*/ 111723 h 143283"/>
                  <a:gd name="connsiteX1" fmla="*/ 58070 w 173580"/>
                  <a:gd name="connsiteY1" fmla="*/ 11362 h 143283"/>
                  <a:gd name="connsiteX2" fmla="*/ 97205 w 173580"/>
                  <a:gd name="connsiteY2" fmla="*/ 11362 h 143283"/>
                  <a:gd name="connsiteX3" fmla="*/ 173581 w 173580"/>
                  <a:gd name="connsiteY3" fmla="*/ 143283 h 143283"/>
                </a:gdLst>
                <a:ahLst/>
                <a:cxnLst>
                  <a:cxn ang="0">
                    <a:pos x="connsiteX0" y="connsiteY0"/>
                  </a:cxn>
                  <a:cxn ang="0">
                    <a:pos x="connsiteX1" y="connsiteY1"/>
                  </a:cxn>
                  <a:cxn ang="0">
                    <a:pos x="connsiteX2" y="connsiteY2"/>
                  </a:cxn>
                  <a:cxn ang="0">
                    <a:pos x="connsiteX3" y="connsiteY3"/>
                  </a:cxn>
                </a:cxnLst>
                <a:rect l="l" t="t" r="r" b="b"/>
                <a:pathLst>
                  <a:path w="173580" h="143283">
                    <a:moveTo>
                      <a:pt x="0" y="111723"/>
                    </a:moveTo>
                    <a:lnTo>
                      <a:pt x="58070" y="11362"/>
                    </a:lnTo>
                    <a:cubicBezTo>
                      <a:pt x="66907" y="-3787"/>
                      <a:pt x="88368" y="-3787"/>
                      <a:pt x="97205" y="11362"/>
                    </a:cubicBezTo>
                    <a:lnTo>
                      <a:pt x="173581" y="143283"/>
                    </a:lnTo>
                  </a:path>
                </a:pathLst>
              </a:custGeom>
              <a:noFill/>
              <a:ln w="22225" cap="rnd">
                <a:solidFill>
                  <a:schemeClr val="tx2"/>
                </a:solidFill>
                <a:prstDash val="solid"/>
                <a:round/>
              </a:ln>
            </p:spPr>
            <p:txBody>
              <a:bodyPr rtlCol="0" anchor="ctr"/>
              <a:lstStyle/>
              <a:p>
                <a:endParaRPr lang="en-US"/>
              </a:p>
            </p:txBody>
          </p:sp>
          <p:sp>
            <p:nvSpPr>
              <p:cNvPr id="51" name="Freeform 1841">
                <a:extLst>
                  <a:ext uri="{FF2B5EF4-FFF2-40B4-BE49-F238E27FC236}">
                    <a16:creationId xmlns:a16="http://schemas.microsoft.com/office/drawing/2014/main" id="{B1E6B2E8-A6BA-F33B-C6CC-568C21BBB129}"/>
                  </a:ext>
                </a:extLst>
              </p:cNvPr>
              <p:cNvSpPr/>
              <p:nvPr/>
            </p:nvSpPr>
            <p:spPr>
              <a:xfrm>
                <a:off x="7861487" y="5853283"/>
                <a:ext cx="107491" cy="93885"/>
              </a:xfrm>
              <a:custGeom>
                <a:avLst/>
                <a:gdLst>
                  <a:gd name="connsiteX0" fmla="*/ 99917 w 107491"/>
                  <a:gd name="connsiteY0" fmla="*/ 26978 h 93885"/>
                  <a:gd name="connsiteX1" fmla="*/ 107491 w 107491"/>
                  <a:gd name="connsiteY1" fmla="*/ 40233 h 93885"/>
                  <a:gd name="connsiteX2" fmla="*/ 14705 w 107491"/>
                  <a:gd name="connsiteY2" fmla="*/ 93886 h 93885"/>
                  <a:gd name="connsiteX3" fmla="*/ 7131 w 107491"/>
                  <a:gd name="connsiteY3" fmla="*/ 80631 h 93885"/>
                  <a:gd name="connsiteX4" fmla="*/ 26698 w 107491"/>
                  <a:gd name="connsiteY4" fmla="*/ 7411 h 93885"/>
                  <a:gd name="connsiteX5" fmla="*/ 26698 w 107491"/>
                  <a:gd name="connsiteY5" fmla="*/ 7411 h 93885"/>
                  <a:gd name="connsiteX6" fmla="*/ 99917 w 107491"/>
                  <a:gd name="connsiteY6" fmla="*/ 26978 h 93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491" h="93885">
                    <a:moveTo>
                      <a:pt x="99917" y="26978"/>
                    </a:moveTo>
                    <a:lnTo>
                      <a:pt x="107491" y="40233"/>
                    </a:lnTo>
                    <a:lnTo>
                      <a:pt x="14705" y="93886"/>
                    </a:lnTo>
                    <a:lnTo>
                      <a:pt x="7131" y="80631"/>
                    </a:lnTo>
                    <a:cubicBezTo>
                      <a:pt x="-7387" y="54751"/>
                      <a:pt x="819" y="22560"/>
                      <a:pt x="26698" y="7411"/>
                    </a:cubicBezTo>
                    <a:lnTo>
                      <a:pt x="26698" y="7411"/>
                    </a:lnTo>
                    <a:cubicBezTo>
                      <a:pt x="52577" y="-7738"/>
                      <a:pt x="85399" y="1099"/>
                      <a:pt x="99917" y="26978"/>
                    </a:cubicBezTo>
                    <a:close/>
                  </a:path>
                </a:pathLst>
              </a:custGeom>
              <a:noFill/>
              <a:ln w="22225" cap="rnd">
                <a:solidFill>
                  <a:schemeClr val="tx2"/>
                </a:solidFill>
                <a:prstDash val="solid"/>
                <a:round/>
              </a:ln>
            </p:spPr>
            <p:txBody>
              <a:bodyPr rtlCol="0" anchor="ctr"/>
              <a:lstStyle/>
              <a:p>
                <a:endParaRPr lang="en-US"/>
              </a:p>
            </p:txBody>
          </p:sp>
          <p:grpSp>
            <p:nvGrpSpPr>
              <p:cNvPr id="52" name="Graphic 4">
                <a:extLst>
                  <a:ext uri="{FF2B5EF4-FFF2-40B4-BE49-F238E27FC236}">
                    <a16:creationId xmlns:a16="http://schemas.microsoft.com/office/drawing/2014/main" id="{DB605FBC-6E49-7EEB-F2CF-9D957F5C6EBF}"/>
                  </a:ext>
                </a:extLst>
              </p:cNvPr>
              <p:cNvGrpSpPr/>
              <p:nvPr/>
            </p:nvGrpSpPr>
            <p:grpSpPr>
              <a:xfrm>
                <a:off x="7895128" y="5904247"/>
                <a:ext cx="75744" cy="66907"/>
                <a:chOff x="7895128" y="5904247"/>
                <a:chExt cx="75744" cy="66907"/>
              </a:xfrm>
            </p:grpSpPr>
            <p:sp>
              <p:nvSpPr>
                <p:cNvPr id="53" name="Freeform 1843">
                  <a:extLst>
                    <a:ext uri="{FF2B5EF4-FFF2-40B4-BE49-F238E27FC236}">
                      <a16:creationId xmlns:a16="http://schemas.microsoft.com/office/drawing/2014/main" id="{9C5B8D00-7F94-11AB-9823-9B5BDC1CEC32}"/>
                    </a:ext>
                  </a:extLst>
                </p:cNvPr>
                <p:cNvSpPr/>
                <p:nvPr/>
              </p:nvSpPr>
              <p:spPr>
                <a:xfrm>
                  <a:off x="7895128" y="5936438"/>
                  <a:ext cx="20198" cy="34716"/>
                </a:xfrm>
                <a:custGeom>
                  <a:avLst/>
                  <a:gdLst>
                    <a:gd name="connsiteX0" fmla="*/ 0 w 20198"/>
                    <a:gd name="connsiteY0" fmla="*/ 0 h 34716"/>
                    <a:gd name="connsiteX1" fmla="*/ 20198 w 20198"/>
                    <a:gd name="connsiteY1" fmla="*/ 34716 h 34716"/>
                  </a:gdLst>
                  <a:ahLst/>
                  <a:cxnLst>
                    <a:cxn ang="0">
                      <a:pos x="connsiteX0" y="connsiteY0"/>
                    </a:cxn>
                    <a:cxn ang="0">
                      <a:pos x="connsiteX1" y="connsiteY1"/>
                    </a:cxn>
                  </a:cxnLst>
                  <a:rect l="l" t="t" r="r" b="b"/>
                  <a:pathLst>
                    <a:path w="20198" h="34716">
                      <a:moveTo>
                        <a:pt x="0" y="0"/>
                      </a:moveTo>
                      <a:lnTo>
                        <a:pt x="20198" y="34716"/>
                      </a:lnTo>
                    </a:path>
                  </a:pathLst>
                </a:custGeom>
                <a:ln w="22225" cap="rnd">
                  <a:solidFill>
                    <a:schemeClr val="tx2"/>
                  </a:solidFill>
                  <a:prstDash val="solid"/>
                  <a:round/>
                </a:ln>
              </p:spPr>
              <p:txBody>
                <a:bodyPr rtlCol="0" anchor="ctr"/>
                <a:lstStyle/>
                <a:p>
                  <a:endParaRPr lang="en-US"/>
                </a:p>
              </p:txBody>
            </p:sp>
            <p:sp>
              <p:nvSpPr>
                <p:cNvPr id="54" name="Freeform 1844">
                  <a:extLst>
                    <a:ext uri="{FF2B5EF4-FFF2-40B4-BE49-F238E27FC236}">
                      <a16:creationId xmlns:a16="http://schemas.microsoft.com/office/drawing/2014/main" id="{0356126D-7957-2062-2D10-1AB25A0B4D1D}"/>
                    </a:ext>
                  </a:extLst>
                </p:cNvPr>
                <p:cNvSpPr/>
                <p:nvPr/>
              </p:nvSpPr>
              <p:spPr>
                <a:xfrm>
                  <a:off x="7950674" y="5904247"/>
                  <a:ext cx="20198" cy="34716"/>
                </a:xfrm>
                <a:custGeom>
                  <a:avLst/>
                  <a:gdLst>
                    <a:gd name="connsiteX0" fmla="*/ 0 w 20198"/>
                    <a:gd name="connsiteY0" fmla="*/ 0 h 34716"/>
                    <a:gd name="connsiteX1" fmla="*/ 20198 w 20198"/>
                    <a:gd name="connsiteY1" fmla="*/ 34716 h 34716"/>
                  </a:gdLst>
                  <a:ahLst/>
                  <a:cxnLst>
                    <a:cxn ang="0">
                      <a:pos x="connsiteX0" y="connsiteY0"/>
                    </a:cxn>
                    <a:cxn ang="0">
                      <a:pos x="connsiteX1" y="connsiteY1"/>
                    </a:cxn>
                  </a:cxnLst>
                  <a:rect l="l" t="t" r="r" b="b"/>
                  <a:pathLst>
                    <a:path w="20198" h="34716">
                      <a:moveTo>
                        <a:pt x="0" y="0"/>
                      </a:moveTo>
                      <a:lnTo>
                        <a:pt x="20198" y="34716"/>
                      </a:lnTo>
                    </a:path>
                  </a:pathLst>
                </a:custGeom>
                <a:ln w="22225" cap="rnd">
                  <a:solidFill>
                    <a:schemeClr val="tx2"/>
                  </a:solidFill>
                  <a:prstDash val="solid"/>
                  <a:round/>
                </a:ln>
              </p:spPr>
              <p:txBody>
                <a:bodyPr rtlCol="0" anchor="ctr"/>
                <a:lstStyle/>
                <a:p>
                  <a:endParaRPr lang="en-US"/>
                </a:p>
              </p:txBody>
            </p:sp>
          </p:grpSp>
        </p:grpSp>
      </p:grpSp>
      <p:grpSp>
        <p:nvGrpSpPr>
          <p:cNvPr id="65" name="Graphic 4">
            <a:extLst>
              <a:ext uri="{FF2B5EF4-FFF2-40B4-BE49-F238E27FC236}">
                <a16:creationId xmlns:a16="http://schemas.microsoft.com/office/drawing/2014/main" id="{8FD54231-0AD0-2E52-D1D6-8F20C74889F8}"/>
              </a:ext>
            </a:extLst>
          </p:cNvPr>
          <p:cNvGrpSpPr/>
          <p:nvPr/>
        </p:nvGrpSpPr>
        <p:grpSpPr>
          <a:xfrm>
            <a:off x="521991" y="4534614"/>
            <a:ext cx="683266" cy="705880"/>
            <a:chOff x="4314315" y="1035149"/>
            <a:chExt cx="491144" cy="522073"/>
          </a:xfrm>
          <a:solidFill>
            <a:schemeClr val="tx2"/>
          </a:solidFill>
        </p:grpSpPr>
        <p:grpSp>
          <p:nvGrpSpPr>
            <p:cNvPr id="66" name="Graphic 4">
              <a:extLst>
                <a:ext uri="{FF2B5EF4-FFF2-40B4-BE49-F238E27FC236}">
                  <a16:creationId xmlns:a16="http://schemas.microsoft.com/office/drawing/2014/main" id="{4AA02439-BB59-D377-5AB4-4EC29CC39E0D}"/>
                </a:ext>
              </a:extLst>
            </p:cNvPr>
            <p:cNvGrpSpPr/>
            <p:nvPr/>
          </p:nvGrpSpPr>
          <p:grpSpPr>
            <a:xfrm>
              <a:off x="4314315" y="1035149"/>
              <a:ext cx="491144" cy="522073"/>
              <a:chOff x="4314315" y="1035149"/>
              <a:chExt cx="491144" cy="522073"/>
            </a:xfrm>
            <a:grpFill/>
          </p:grpSpPr>
          <p:grpSp>
            <p:nvGrpSpPr>
              <p:cNvPr id="100" name="Graphic 4">
                <a:extLst>
                  <a:ext uri="{FF2B5EF4-FFF2-40B4-BE49-F238E27FC236}">
                    <a16:creationId xmlns:a16="http://schemas.microsoft.com/office/drawing/2014/main" id="{81126677-F090-07AF-B707-256361F6B02C}"/>
                  </a:ext>
                </a:extLst>
              </p:cNvPr>
              <p:cNvGrpSpPr/>
              <p:nvPr/>
            </p:nvGrpSpPr>
            <p:grpSpPr>
              <a:xfrm>
                <a:off x="4314315" y="1204307"/>
                <a:ext cx="491144" cy="352916"/>
                <a:chOff x="4314315" y="1204307"/>
                <a:chExt cx="491144" cy="352916"/>
              </a:xfrm>
              <a:grpFill/>
            </p:grpSpPr>
            <p:grpSp>
              <p:nvGrpSpPr>
                <p:cNvPr id="107" name="Graphic 4">
                  <a:extLst>
                    <a:ext uri="{FF2B5EF4-FFF2-40B4-BE49-F238E27FC236}">
                      <a16:creationId xmlns:a16="http://schemas.microsoft.com/office/drawing/2014/main" id="{9AD2F5E0-A4A5-0FDF-4760-F7046E79D6AF}"/>
                    </a:ext>
                  </a:extLst>
                </p:cNvPr>
                <p:cNvGrpSpPr/>
                <p:nvPr/>
              </p:nvGrpSpPr>
              <p:grpSpPr>
                <a:xfrm>
                  <a:off x="4314315" y="1368324"/>
                  <a:ext cx="491144" cy="188898"/>
                  <a:chOff x="4314315" y="1368324"/>
                  <a:chExt cx="491144" cy="188898"/>
                </a:xfrm>
                <a:grpFill/>
              </p:grpSpPr>
              <p:sp>
                <p:nvSpPr>
                  <p:cNvPr id="109" name="Freeform 1689">
                    <a:extLst>
                      <a:ext uri="{FF2B5EF4-FFF2-40B4-BE49-F238E27FC236}">
                        <a16:creationId xmlns:a16="http://schemas.microsoft.com/office/drawing/2014/main" id="{B4E90536-3AA1-15F4-2581-74FF8EE8978C}"/>
                      </a:ext>
                    </a:extLst>
                  </p:cNvPr>
                  <p:cNvSpPr/>
                  <p:nvPr/>
                </p:nvSpPr>
                <p:spPr>
                  <a:xfrm>
                    <a:off x="4314315" y="1388459"/>
                    <a:ext cx="491144" cy="168764"/>
                  </a:xfrm>
                  <a:custGeom>
                    <a:avLst/>
                    <a:gdLst>
                      <a:gd name="connsiteX0" fmla="*/ 8837 w 491144"/>
                      <a:gd name="connsiteY0" fmla="*/ 168695 h 168764"/>
                      <a:gd name="connsiteX1" fmla="*/ 8206 w 491144"/>
                      <a:gd name="connsiteY1" fmla="*/ 168695 h 168764"/>
                      <a:gd name="connsiteX2" fmla="*/ 0 w 491144"/>
                      <a:gd name="connsiteY2" fmla="*/ 159227 h 168764"/>
                      <a:gd name="connsiteX3" fmla="*/ 5050 w 491144"/>
                      <a:gd name="connsiteY3" fmla="*/ 99263 h 168764"/>
                      <a:gd name="connsiteX4" fmla="*/ 83319 w 491144"/>
                      <a:gd name="connsiteY4" fmla="*/ 15313 h 168764"/>
                      <a:gd name="connsiteX5" fmla="*/ 180524 w 491144"/>
                      <a:gd name="connsiteY5" fmla="*/ 164 h 168764"/>
                      <a:gd name="connsiteX6" fmla="*/ 188098 w 491144"/>
                      <a:gd name="connsiteY6" fmla="*/ 2689 h 168764"/>
                      <a:gd name="connsiteX7" fmla="*/ 245538 w 491144"/>
                      <a:gd name="connsiteY7" fmla="*/ 60128 h 168764"/>
                      <a:gd name="connsiteX8" fmla="*/ 302977 w 491144"/>
                      <a:gd name="connsiteY8" fmla="*/ 2689 h 168764"/>
                      <a:gd name="connsiteX9" fmla="*/ 310552 w 491144"/>
                      <a:gd name="connsiteY9" fmla="*/ 164 h 168764"/>
                      <a:gd name="connsiteX10" fmla="*/ 407757 w 491144"/>
                      <a:gd name="connsiteY10" fmla="*/ 15313 h 168764"/>
                      <a:gd name="connsiteX11" fmla="*/ 486026 w 491144"/>
                      <a:gd name="connsiteY11" fmla="*/ 99263 h 168764"/>
                      <a:gd name="connsiteX12" fmla="*/ 491076 w 491144"/>
                      <a:gd name="connsiteY12" fmla="*/ 159227 h 168764"/>
                      <a:gd name="connsiteX13" fmla="*/ 482870 w 491144"/>
                      <a:gd name="connsiteY13" fmla="*/ 168695 h 168764"/>
                      <a:gd name="connsiteX14" fmla="*/ 473402 w 491144"/>
                      <a:gd name="connsiteY14" fmla="*/ 160490 h 168764"/>
                      <a:gd name="connsiteX15" fmla="*/ 468352 w 491144"/>
                      <a:gd name="connsiteY15" fmla="*/ 100525 h 168764"/>
                      <a:gd name="connsiteX16" fmla="*/ 405232 w 491144"/>
                      <a:gd name="connsiteY16" fmla="*/ 32987 h 168764"/>
                      <a:gd name="connsiteX17" fmla="*/ 312445 w 491144"/>
                      <a:gd name="connsiteY17" fmla="*/ 18469 h 168764"/>
                      <a:gd name="connsiteX18" fmla="*/ 251850 w 491144"/>
                      <a:gd name="connsiteY18" fmla="*/ 79065 h 168764"/>
                      <a:gd name="connsiteX19" fmla="*/ 239226 w 491144"/>
                      <a:gd name="connsiteY19" fmla="*/ 79065 h 168764"/>
                      <a:gd name="connsiteX20" fmla="*/ 178630 w 491144"/>
                      <a:gd name="connsiteY20" fmla="*/ 18469 h 168764"/>
                      <a:gd name="connsiteX21" fmla="*/ 85843 w 491144"/>
                      <a:gd name="connsiteY21" fmla="*/ 32987 h 168764"/>
                      <a:gd name="connsiteX22" fmla="*/ 22723 w 491144"/>
                      <a:gd name="connsiteY22" fmla="*/ 100525 h 168764"/>
                      <a:gd name="connsiteX23" fmla="*/ 17674 w 491144"/>
                      <a:gd name="connsiteY23" fmla="*/ 160490 h 168764"/>
                      <a:gd name="connsiteX24" fmla="*/ 8837 w 491144"/>
                      <a:gd name="connsiteY24" fmla="*/ 168695 h 16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1144" h="168764">
                        <a:moveTo>
                          <a:pt x="8837" y="168695"/>
                        </a:moveTo>
                        <a:cubicBezTo>
                          <a:pt x="8837" y="168695"/>
                          <a:pt x="8206" y="168695"/>
                          <a:pt x="8206" y="168695"/>
                        </a:cubicBezTo>
                        <a:cubicBezTo>
                          <a:pt x="3156" y="168064"/>
                          <a:pt x="0" y="164277"/>
                          <a:pt x="0" y="159227"/>
                        </a:cubicBezTo>
                        <a:lnTo>
                          <a:pt x="5050" y="99263"/>
                        </a:lnTo>
                        <a:cubicBezTo>
                          <a:pt x="8837" y="56341"/>
                          <a:pt x="41028" y="22256"/>
                          <a:pt x="83319" y="15313"/>
                        </a:cubicBezTo>
                        <a:lnTo>
                          <a:pt x="180524" y="164"/>
                        </a:lnTo>
                        <a:cubicBezTo>
                          <a:pt x="183049" y="-467"/>
                          <a:pt x="186205" y="795"/>
                          <a:pt x="188098" y="2689"/>
                        </a:cubicBezTo>
                        <a:lnTo>
                          <a:pt x="245538" y="60128"/>
                        </a:lnTo>
                        <a:lnTo>
                          <a:pt x="302977" y="2689"/>
                        </a:lnTo>
                        <a:cubicBezTo>
                          <a:pt x="304871" y="795"/>
                          <a:pt x="308027" y="-467"/>
                          <a:pt x="310552" y="164"/>
                        </a:cubicBezTo>
                        <a:lnTo>
                          <a:pt x="407757" y="15313"/>
                        </a:lnTo>
                        <a:cubicBezTo>
                          <a:pt x="450047" y="21625"/>
                          <a:pt x="482239" y="56341"/>
                          <a:pt x="486026" y="99263"/>
                        </a:cubicBezTo>
                        <a:lnTo>
                          <a:pt x="491076" y="159227"/>
                        </a:lnTo>
                        <a:cubicBezTo>
                          <a:pt x="491707" y="164277"/>
                          <a:pt x="487920" y="168064"/>
                          <a:pt x="482870" y="168695"/>
                        </a:cubicBezTo>
                        <a:cubicBezTo>
                          <a:pt x="477821" y="169326"/>
                          <a:pt x="474033" y="165539"/>
                          <a:pt x="473402" y="160490"/>
                        </a:cubicBezTo>
                        <a:lnTo>
                          <a:pt x="468352" y="100525"/>
                        </a:lnTo>
                        <a:cubicBezTo>
                          <a:pt x="465196" y="65809"/>
                          <a:pt x="439317" y="38036"/>
                          <a:pt x="405232" y="32987"/>
                        </a:cubicBezTo>
                        <a:lnTo>
                          <a:pt x="312445" y="18469"/>
                        </a:lnTo>
                        <a:lnTo>
                          <a:pt x="251850" y="79065"/>
                        </a:lnTo>
                        <a:cubicBezTo>
                          <a:pt x="248694" y="82221"/>
                          <a:pt x="243013" y="82221"/>
                          <a:pt x="239226" y="79065"/>
                        </a:cubicBezTo>
                        <a:lnTo>
                          <a:pt x="178630" y="18469"/>
                        </a:lnTo>
                        <a:lnTo>
                          <a:pt x="85843" y="32987"/>
                        </a:lnTo>
                        <a:cubicBezTo>
                          <a:pt x="51759" y="38036"/>
                          <a:pt x="25248" y="66440"/>
                          <a:pt x="22723" y="100525"/>
                        </a:cubicBezTo>
                        <a:lnTo>
                          <a:pt x="17674" y="160490"/>
                        </a:lnTo>
                        <a:cubicBezTo>
                          <a:pt x="17043" y="165539"/>
                          <a:pt x="13255" y="168695"/>
                          <a:pt x="8837" y="168695"/>
                        </a:cubicBezTo>
                        <a:close/>
                      </a:path>
                    </a:pathLst>
                  </a:custGeom>
                  <a:grpFill/>
                  <a:ln w="3175" cap="flat">
                    <a:noFill/>
                    <a:prstDash val="solid"/>
                    <a:miter/>
                  </a:ln>
                </p:spPr>
                <p:txBody>
                  <a:bodyPr rtlCol="0" anchor="ctr"/>
                  <a:lstStyle/>
                  <a:p>
                    <a:endParaRPr lang="en-US"/>
                  </a:p>
                </p:txBody>
              </p:sp>
              <p:sp>
                <p:nvSpPr>
                  <p:cNvPr id="110" name="Freeform 1690">
                    <a:extLst>
                      <a:ext uri="{FF2B5EF4-FFF2-40B4-BE49-F238E27FC236}">
                        <a16:creationId xmlns:a16="http://schemas.microsoft.com/office/drawing/2014/main" id="{DB72E67A-58B7-501B-41A6-6AF217752DEF}"/>
                      </a:ext>
                    </a:extLst>
                  </p:cNvPr>
                  <p:cNvSpPr/>
                  <p:nvPr/>
                </p:nvSpPr>
                <p:spPr>
                  <a:xfrm>
                    <a:off x="4487796" y="1368324"/>
                    <a:ext cx="26079" cy="38603"/>
                  </a:xfrm>
                  <a:custGeom>
                    <a:avLst/>
                    <a:gdLst>
                      <a:gd name="connsiteX0" fmla="*/ 8306 w 26079"/>
                      <a:gd name="connsiteY0" fmla="*/ 38603 h 38603"/>
                      <a:gd name="connsiteX1" fmla="*/ 5150 w 26079"/>
                      <a:gd name="connsiteY1" fmla="*/ 37972 h 38603"/>
                      <a:gd name="connsiteX2" fmla="*/ 731 w 26079"/>
                      <a:gd name="connsiteY2" fmla="*/ 26611 h 38603"/>
                      <a:gd name="connsiteX3" fmla="*/ 9568 w 26079"/>
                      <a:gd name="connsiteY3" fmla="*/ 5150 h 38603"/>
                      <a:gd name="connsiteX4" fmla="*/ 20930 w 26079"/>
                      <a:gd name="connsiteY4" fmla="*/ 731 h 38603"/>
                      <a:gd name="connsiteX5" fmla="*/ 25348 w 26079"/>
                      <a:gd name="connsiteY5" fmla="*/ 12093 h 38603"/>
                      <a:gd name="connsiteX6" fmla="*/ 16511 w 26079"/>
                      <a:gd name="connsiteY6" fmla="*/ 33554 h 38603"/>
                      <a:gd name="connsiteX7" fmla="*/ 8306 w 26079"/>
                      <a:gd name="connsiteY7" fmla="*/ 38603 h 3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9" h="38603">
                        <a:moveTo>
                          <a:pt x="8306" y="38603"/>
                        </a:moveTo>
                        <a:cubicBezTo>
                          <a:pt x="7043" y="38603"/>
                          <a:pt x="5781" y="38603"/>
                          <a:pt x="5150" y="37972"/>
                        </a:cubicBezTo>
                        <a:cubicBezTo>
                          <a:pt x="731" y="36079"/>
                          <a:pt x="-1162" y="31029"/>
                          <a:pt x="731" y="26611"/>
                        </a:cubicBezTo>
                        <a:lnTo>
                          <a:pt x="9568" y="5150"/>
                        </a:lnTo>
                        <a:cubicBezTo>
                          <a:pt x="11462" y="731"/>
                          <a:pt x="16511" y="-1162"/>
                          <a:pt x="20930" y="731"/>
                        </a:cubicBezTo>
                        <a:cubicBezTo>
                          <a:pt x="25348" y="2625"/>
                          <a:pt x="27242" y="7674"/>
                          <a:pt x="25348" y="12093"/>
                        </a:cubicBezTo>
                        <a:lnTo>
                          <a:pt x="16511" y="33554"/>
                        </a:lnTo>
                        <a:cubicBezTo>
                          <a:pt x="14618" y="36710"/>
                          <a:pt x="11462" y="38603"/>
                          <a:pt x="8306" y="38603"/>
                        </a:cubicBezTo>
                        <a:close/>
                      </a:path>
                    </a:pathLst>
                  </a:custGeom>
                  <a:grpFill/>
                  <a:ln w="3175" cap="flat">
                    <a:noFill/>
                    <a:prstDash val="solid"/>
                    <a:miter/>
                  </a:ln>
                </p:spPr>
                <p:txBody>
                  <a:bodyPr rtlCol="0" anchor="ctr"/>
                  <a:lstStyle/>
                  <a:p>
                    <a:endParaRPr lang="en-US"/>
                  </a:p>
                </p:txBody>
              </p:sp>
              <p:sp>
                <p:nvSpPr>
                  <p:cNvPr id="111" name="Freeform 1691">
                    <a:extLst>
                      <a:ext uri="{FF2B5EF4-FFF2-40B4-BE49-F238E27FC236}">
                        <a16:creationId xmlns:a16="http://schemas.microsoft.com/office/drawing/2014/main" id="{C690A513-79CA-5575-3B5F-BD3F382170B1}"/>
                      </a:ext>
                    </a:extLst>
                  </p:cNvPr>
                  <p:cNvSpPr/>
                  <p:nvPr/>
                </p:nvSpPr>
                <p:spPr>
                  <a:xfrm>
                    <a:off x="4605200" y="1368324"/>
                    <a:ext cx="26079" cy="38603"/>
                  </a:xfrm>
                  <a:custGeom>
                    <a:avLst/>
                    <a:gdLst>
                      <a:gd name="connsiteX0" fmla="*/ 17773 w 26079"/>
                      <a:gd name="connsiteY0" fmla="*/ 38603 h 38603"/>
                      <a:gd name="connsiteX1" fmla="*/ 9568 w 26079"/>
                      <a:gd name="connsiteY1" fmla="*/ 33554 h 38603"/>
                      <a:gd name="connsiteX2" fmla="*/ 731 w 26079"/>
                      <a:gd name="connsiteY2" fmla="*/ 12093 h 38603"/>
                      <a:gd name="connsiteX3" fmla="*/ 5149 w 26079"/>
                      <a:gd name="connsiteY3" fmla="*/ 731 h 38603"/>
                      <a:gd name="connsiteX4" fmla="*/ 16511 w 26079"/>
                      <a:gd name="connsiteY4" fmla="*/ 5150 h 38603"/>
                      <a:gd name="connsiteX5" fmla="*/ 25348 w 26079"/>
                      <a:gd name="connsiteY5" fmla="*/ 26611 h 38603"/>
                      <a:gd name="connsiteX6" fmla="*/ 20929 w 26079"/>
                      <a:gd name="connsiteY6" fmla="*/ 37972 h 38603"/>
                      <a:gd name="connsiteX7" fmla="*/ 17773 w 26079"/>
                      <a:gd name="connsiteY7" fmla="*/ 38603 h 38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79" h="38603">
                        <a:moveTo>
                          <a:pt x="17773" y="38603"/>
                        </a:moveTo>
                        <a:cubicBezTo>
                          <a:pt x="14617" y="38603"/>
                          <a:pt x="10830" y="36710"/>
                          <a:pt x="9568" y="33554"/>
                        </a:cubicBezTo>
                        <a:lnTo>
                          <a:pt x="731" y="12093"/>
                        </a:lnTo>
                        <a:cubicBezTo>
                          <a:pt x="-1163" y="7674"/>
                          <a:pt x="731" y="2625"/>
                          <a:pt x="5149" y="731"/>
                        </a:cubicBezTo>
                        <a:cubicBezTo>
                          <a:pt x="9568" y="-1162"/>
                          <a:pt x="14617" y="731"/>
                          <a:pt x="16511" y="5150"/>
                        </a:cubicBezTo>
                        <a:lnTo>
                          <a:pt x="25348" y="26611"/>
                        </a:lnTo>
                        <a:cubicBezTo>
                          <a:pt x="27242" y="31029"/>
                          <a:pt x="25348" y="36079"/>
                          <a:pt x="20929" y="37972"/>
                        </a:cubicBezTo>
                        <a:cubicBezTo>
                          <a:pt x="20298" y="37972"/>
                          <a:pt x="19036" y="38603"/>
                          <a:pt x="17773" y="38603"/>
                        </a:cubicBezTo>
                        <a:close/>
                      </a:path>
                    </a:pathLst>
                  </a:custGeom>
                  <a:grpFill/>
                  <a:ln w="3175" cap="flat">
                    <a:noFill/>
                    <a:prstDash val="solid"/>
                    <a:miter/>
                  </a:ln>
                </p:spPr>
                <p:txBody>
                  <a:bodyPr rtlCol="0" anchor="ctr"/>
                  <a:lstStyle/>
                  <a:p>
                    <a:endParaRPr lang="en-US"/>
                  </a:p>
                </p:txBody>
              </p:sp>
            </p:grpSp>
            <p:sp>
              <p:nvSpPr>
                <p:cNvPr id="108" name="Freeform 1688">
                  <a:extLst>
                    <a:ext uri="{FF2B5EF4-FFF2-40B4-BE49-F238E27FC236}">
                      <a16:creationId xmlns:a16="http://schemas.microsoft.com/office/drawing/2014/main" id="{4E30C849-8425-934C-8071-79EBD1CA0C0F}"/>
                    </a:ext>
                  </a:extLst>
                </p:cNvPr>
                <p:cNvSpPr/>
                <p:nvPr/>
              </p:nvSpPr>
              <p:spPr>
                <a:xfrm>
                  <a:off x="4450496" y="1204307"/>
                  <a:ext cx="219864" cy="163486"/>
                </a:xfrm>
                <a:custGeom>
                  <a:avLst/>
                  <a:gdLst>
                    <a:gd name="connsiteX0" fmla="*/ 109357 w 219864"/>
                    <a:gd name="connsiteY0" fmla="*/ 163486 h 163486"/>
                    <a:gd name="connsiteX1" fmla="*/ 15939 w 219864"/>
                    <a:gd name="connsiteY1" fmla="*/ 75118 h 163486"/>
                    <a:gd name="connsiteX2" fmla="*/ 159 w 219864"/>
                    <a:gd name="connsiteY2" fmla="*/ 34090 h 163486"/>
                    <a:gd name="connsiteX3" fmla="*/ 159 w 219864"/>
                    <a:gd name="connsiteY3" fmla="*/ 33459 h 163486"/>
                    <a:gd name="connsiteX4" fmla="*/ 17832 w 219864"/>
                    <a:gd name="connsiteY4" fmla="*/ 636 h 163486"/>
                    <a:gd name="connsiteX5" fmla="*/ 29194 w 219864"/>
                    <a:gd name="connsiteY5" fmla="*/ 5686 h 163486"/>
                    <a:gd name="connsiteX6" fmla="*/ 24144 w 219864"/>
                    <a:gd name="connsiteY6" fmla="*/ 17047 h 163486"/>
                    <a:gd name="connsiteX7" fmla="*/ 17832 w 219864"/>
                    <a:gd name="connsiteY7" fmla="*/ 32196 h 163486"/>
                    <a:gd name="connsiteX8" fmla="*/ 27300 w 219864"/>
                    <a:gd name="connsiteY8" fmla="*/ 61232 h 163486"/>
                    <a:gd name="connsiteX9" fmla="*/ 32350 w 219864"/>
                    <a:gd name="connsiteY9" fmla="*/ 66912 h 163486"/>
                    <a:gd name="connsiteX10" fmla="*/ 109988 w 219864"/>
                    <a:gd name="connsiteY10" fmla="*/ 145181 h 163486"/>
                    <a:gd name="connsiteX11" fmla="*/ 188257 w 219864"/>
                    <a:gd name="connsiteY11" fmla="*/ 66912 h 163486"/>
                    <a:gd name="connsiteX12" fmla="*/ 193938 w 219864"/>
                    <a:gd name="connsiteY12" fmla="*/ 60600 h 163486"/>
                    <a:gd name="connsiteX13" fmla="*/ 202143 w 219864"/>
                    <a:gd name="connsiteY13" fmla="*/ 31565 h 163486"/>
                    <a:gd name="connsiteX14" fmla="*/ 195831 w 219864"/>
                    <a:gd name="connsiteY14" fmla="*/ 17047 h 163486"/>
                    <a:gd name="connsiteX15" fmla="*/ 190782 w 219864"/>
                    <a:gd name="connsiteY15" fmla="*/ 5686 h 163486"/>
                    <a:gd name="connsiteX16" fmla="*/ 202143 w 219864"/>
                    <a:gd name="connsiteY16" fmla="*/ 636 h 163486"/>
                    <a:gd name="connsiteX17" fmla="*/ 219817 w 219864"/>
                    <a:gd name="connsiteY17" fmla="*/ 33459 h 163486"/>
                    <a:gd name="connsiteX18" fmla="*/ 204668 w 219864"/>
                    <a:gd name="connsiteY18" fmla="*/ 74487 h 163486"/>
                    <a:gd name="connsiteX19" fmla="*/ 109357 w 219864"/>
                    <a:gd name="connsiteY19" fmla="*/ 163486 h 163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9864" h="163486">
                      <a:moveTo>
                        <a:pt x="109357" y="163486"/>
                      </a:moveTo>
                      <a:cubicBezTo>
                        <a:pt x="58860" y="163486"/>
                        <a:pt x="27932" y="116777"/>
                        <a:pt x="15939" y="75118"/>
                      </a:cubicBezTo>
                      <a:cubicBezTo>
                        <a:pt x="5208" y="66912"/>
                        <a:pt x="1421" y="44189"/>
                        <a:pt x="159" y="34090"/>
                      </a:cubicBezTo>
                      <a:cubicBezTo>
                        <a:pt x="159" y="34090"/>
                        <a:pt x="159" y="33459"/>
                        <a:pt x="159" y="33459"/>
                      </a:cubicBezTo>
                      <a:cubicBezTo>
                        <a:pt x="-1104" y="17047"/>
                        <a:pt x="5208" y="5686"/>
                        <a:pt x="17832" y="636"/>
                      </a:cubicBezTo>
                      <a:cubicBezTo>
                        <a:pt x="22251" y="-1258"/>
                        <a:pt x="27300" y="1267"/>
                        <a:pt x="29194" y="5686"/>
                      </a:cubicBezTo>
                      <a:cubicBezTo>
                        <a:pt x="31088" y="10104"/>
                        <a:pt x="28563" y="15154"/>
                        <a:pt x="24144" y="17047"/>
                      </a:cubicBezTo>
                      <a:cubicBezTo>
                        <a:pt x="20357" y="18310"/>
                        <a:pt x="17201" y="20835"/>
                        <a:pt x="17832" y="32196"/>
                      </a:cubicBezTo>
                      <a:cubicBezTo>
                        <a:pt x="19726" y="44820"/>
                        <a:pt x="24144" y="59338"/>
                        <a:pt x="27300" y="61232"/>
                      </a:cubicBezTo>
                      <a:cubicBezTo>
                        <a:pt x="29825" y="61863"/>
                        <a:pt x="31719" y="64388"/>
                        <a:pt x="32350" y="66912"/>
                      </a:cubicBezTo>
                      <a:cubicBezTo>
                        <a:pt x="41818" y="102891"/>
                        <a:pt x="67697" y="145181"/>
                        <a:pt x="109988" y="145181"/>
                      </a:cubicBezTo>
                      <a:cubicBezTo>
                        <a:pt x="164903" y="145181"/>
                        <a:pt x="183839" y="85217"/>
                        <a:pt x="188257" y="66912"/>
                      </a:cubicBezTo>
                      <a:cubicBezTo>
                        <a:pt x="188888" y="63756"/>
                        <a:pt x="190782" y="61863"/>
                        <a:pt x="193938" y="60600"/>
                      </a:cubicBezTo>
                      <a:cubicBezTo>
                        <a:pt x="196463" y="58707"/>
                        <a:pt x="200881" y="44820"/>
                        <a:pt x="202143" y="31565"/>
                      </a:cubicBezTo>
                      <a:cubicBezTo>
                        <a:pt x="202775" y="20835"/>
                        <a:pt x="199619" y="18310"/>
                        <a:pt x="195831" y="17047"/>
                      </a:cubicBezTo>
                      <a:cubicBezTo>
                        <a:pt x="191413" y="15154"/>
                        <a:pt x="188888" y="10104"/>
                        <a:pt x="190782" y="5686"/>
                      </a:cubicBezTo>
                      <a:cubicBezTo>
                        <a:pt x="192675" y="1267"/>
                        <a:pt x="197725" y="-1258"/>
                        <a:pt x="202143" y="636"/>
                      </a:cubicBezTo>
                      <a:cubicBezTo>
                        <a:pt x="214767" y="5686"/>
                        <a:pt x="220448" y="16416"/>
                        <a:pt x="219817" y="33459"/>
                      </a:cubicBezTo>
                      <a:cubicBezTo>
                        <a:pt x="216661" y="58707"/>
                        <a:pt x="210349" y="70068"/>
                        <a:pt x="204668" y="74487"/>
                      </a:cubicBezTo>
                      <a:cubicBezTo>
                        <a:pt x="192044" y="118671"/>
                        <a:pt x="161747" y="163486"/>
                        <a:pt x="109357" y="163486"/>
                      </a:cubicBezTo>
                      <a:close/>
                    </a:path>
                  </a:pathLst>
                </a:custGeom>
                <a:solidFill>
                  <a:schemeClr val="tx2"/>
                </a:solidFill>
                <a:ln w="3175" cap="flat">
                  <a:noFill/>
                  <a:prstDash val="solid"/>
                  <a:miter/>
                </a:ln>
              </p:spPr>
              <p:txBody>
                <a:bodyPr rtlCol="0" anchor="ctr"/>
                <a:lstStyle/>
                <a:p>
                  <a:endParaRPr lang="en-US"/>
                </a:p>
              </p:txBody>
            </p:sp>
          </p:grpSp>
          <p:grpSp>
            <p:nvGrpSpPr>
              <p:cNvPr id="101" name="Graphic 4">
                <a:extLst>
                  <a:ext uri="{FF2B5EF4-FFF2-40B4-BE49-F238E27FC236}">
                    <a16:creationId xmlns:a16="http://schemas.microsoft.com/office/drawing/2014/main" id="{DB84A1BE-39E6-752A-B929-5F5EE93E79C6}"/>
                  </a:ext>
                </a:extLst>
              </p:cNvPr>
              <p:cNvGrpSpPr/>
              <p:nvPr/>
            </p:nvGrpSpPr>
            <p:grpSpPr>
              <a:xfrm>
                <a:off x="4425407" y="1035149"/>
                <a:ext cx="268261" cy="162850"/>
                <a:chOff x="4425407" y="1035149"/>
                <a:chExt cx="268261" cy="162850"/>
              </a:xfrm>
              <a:grpFill/>
            </p:grpSpPr>
            <p:grpSp>
              <p:nvGrpSpPr>
                <p:cNvPr id="102" name="Graphic 4">
                  <a:extLst>
                    <a:ext uri="{FF2B5EF4-FFF2-40B4-BE49-F238E27FC236}">
                      <a16:creationId xmlns:a16="http://schemas.microsoft.com/office/drawing/2014/main" id="{744900A4-1465-7037-550C-A7DEFC8EEC36}"/>
                    </a:ext>
                  </a:extLst>
                </p:cNvPr>
                <p:cNvGrpSpPr/>
                <p:nvPr/>
              </p:nvGrpSpPr>
              <p:grpSpPr>
                <a:xfrm>
                  <a:off x="4441818" y="1035149"/>
                  <a:ext cx="236069" cy="162850"/>
                  <a:chOff x="4441818" y="1035149"/>
                  <a:chExt cx="236069" cy="162850"/>
                </a:xfrm>
                <a:grpFill/>
              </p:grpSpPr>
              <p:sp>
                <p:nvSpPr>
                  <p:cNvPr id="104" name="Freeform 1684">
                    <a:extLst>
                      <a:ext uri="{FF2B5EF4-FFF2-40B4-BE49-F238E27FC236}">
                        <a16:creationId xmlns:a16="http://schemas.microsoft.com/office/drawing/2014/main" id="{5FFFFB0D-9430-FAB7-DF7F-DDA5324BA551}"/>
                      </a:ext>
                    </a:extLst>
                  </p:cNvPr>
                  <p:cNvSpPr/>
                  <p:nvPr/>
                </p:nvSpPr>
                <p:spPr>
                  <a:xfrm>
                    <a:off x="4576615" y="1062642"/>
                    <a:ext cx="101272" cy="135357"/>
                  </a:xfrm>
                  <a:custGeom>
                    <a:avLst/>
                    <a:gdLst>
                      <a:gd name="connsiteX0" fmla="*/ 91805 w 101272"/>
                      <a:gd name="connsiteY0" fmla="*/ 135358 h 135357"/>
                      <a:gd name="connsiteX1" fmla="*/ 82968 w 101272"/>
                      <a:gd name="connsiteY1" fmla="*/ 126521 h 135357"/>
                      <a:gd name="connsiteX2" fmla="*/ 82968 w 101272"/>
                      <a:gd name="connsiteY2" fmla="*/ 114528 h 135357"/>
                      <a:gd name="connsiteX3" fmla="*/ 6593 w 101272"/>
                      <a:gd name="connsiteY3" fmla="*/ 17323 h 135357"/>
                      <a:gd name="connsiteX4" fmla="*/ 281 w 101272"/>
                      <a:gd name="connsiteY4" fmla="*/ 6593 h 135357"/>
                      <a:gd name="connsiteX5" fmla="*/ 11011 w 101272"/>
                      <a:gd name="connsiteY5" fmla="*/ 280 h 135357"/>
                      <a:gd name="connsiteX6" fmla="*/ 101273 w 101272"/>
                      <a:gd name="connsiteY6" fmla="*/ 114528 h 135357"/>
                      <a:gd name="connsiteX7" fmla="*/ 101273 w 101272"/>
                      <a:gd name="connsiteY7" fmla="*/ 126521 h 135357"/>
                      <a:gd name="connsiteX8" fmla="*/ 91805 w 101272"/>
                      <a:gd name="connsiteY8" fmla="*/ 135358 h 13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272" h="135357">
                        <a:moveTo>
                          <a:pt x="91805" y="135358"/>
                        </a:moveTo>
                        <a:cubicBezTo>
                          <a:pt x="86755" y="135358"/>
                          <a:pt x="82968" y="131571"/>
                          <a:pt x="82968" y="126521"/>
                        </a:cubicBezTo>
                        <a:lnTo>
                          <a:pt x="82968" y="114528"/>
                        </a:lnTo>
                        <a:cubicBezTo>
                          <a:pt x="82968" y="67819"/>
                          <a:pt x="51408" y="28053"/>
                          <a:pt x="6593" y="17323"/>
                        </a:cubicBezTo>
                        <a:cubicBezTo>
                          <a:pt x="2174" y="16061"/>
                          <a:pt x="-982" y="11642"/>
                          <a:pt x="281" y="6593"/>
                        </a:cubicBezTo>
                        <a:cubicBezTo>
                          <a:pt x="1543" y="2174"/>
                          <a:pt x="5962" y="-982"/>
                          <a:pt x="11011" y="280"/>
                        </a:cubicBezTo>
                        <a:cubicBezTo>
                          <a:pt x="64032" y="12905"/>
                          <a:pt x="101273" y="59614"/>
                          <a:pt x="101273" y="114528"/>
                        </a:cubicBezTo>
                        <a:lnTo>
                          <a:pt x="101273" y="126521"/>
                        </a:lnTo>
                        <a:cubicBezTo>
                          <a:pt x="100642" y="131571"/>
                          <a:pt x="96223" y="135358"/>
                          <a:pt x="91805" y="135358"/>
                        </a:cubicBezTo>
                        <a:close/>
                      </a:path>
                    </a:pathLst>
                  </a:custGeom>
                  <a:grpFill/>
                  <a:ln w="3175" cap="flat">
                    <a:noFill/>
                    <a:prstDash val="solid"/>
                    <a:miter/>
                  </a:ln>
                </p:spPr>
                <p:txBody>
                  <a:bodyPr rtlCol="0" anchor="ctr"/>
                  <a:lstStyle/>
                  <a:p>
                    <a:endParaRPr lang="en-US"/>
                  </a:p>
                </p:txBody>
              </p:sp>
              <p:sp>
                <p:nvSpPr>
                  <p:cNvPr id="105" name="Freeform 1685">
                    <a:extLst>
                      <a:ext uri="{FF2B5EF4-FFF2-40B4-BE49-F238E27FC236}">
                        <a16:creationId xmlns:a16="http://schemas.microsoft.com/office/drawing/2014/main" id="{17EFDA28-4011-2A1E-18BD-C72096AF2388}"/>
                      </a:ext>
                    </a:extLst>
                  </p:cNvPr>
                  <p:cNvSpPr/>
                  <p:nvPr/>
                </p:nvSpPr>
                <p:spPr>
                  <a:xfrm>
                    <a:off x="4441818" y="1062642"/>
                    <a:ext cx="101272" cy="135357"/>
                  </a:xfrm>
                  <a:custGeom>
                    <a:avLst/>
                    <a:gdLst>
                      <a:gd name="connsiteX0" fmla="*/ 8837 w 101272"/>
                      <a:gd name="connsiteY0" fmla="*/ 135358 h 135357"/>
                      <a:gd name="connsiteX1" fmla="*/ 0 w 101272"/>
                      <a:gd name="connsiteY1" fmla="*/ 126521 h 135357"/>
                      <a:gd name="connsiteX2" fmla="*/ 0 w 101272"/>
                      <a:gd name="connsiteY2" fmla="*/ 114528 h 135357"/>
                      <a:gd name="connsiteX3" fmla="*/ 90262 w 101272"/>
                      <a:gd name="connsiteY3" fmla="*/ 280 h 135357"/>
                      <a:gd name="connsiteX4" fmla="*/ 100992 w 101272"/>
                      <a:gd name="connsiteY4" fmla="*/ 6593 h 135357"/>
                      <a:gd name="connsiteX5" fmla="*/ 94680 w 101272"/>
                      <a:gd name="connsiteY5" fmla="*/ 17323 h 135357"/>
                      <a:gd name="connsiteX6" fmla="*/ 17674 w 101272"/>
                      <a:gd name="connsiteY6" fmla="*/ 114528 h 135357"/>
                      <a:gd name="connsiteX7" fmla="*/ 17674 w 101272"/>
                      <a:gd name="connsiteY7" fmla="*/ 126521 h 135357"/>
                      <a:gd name="connsiteX8" fmla="*/ 8837 w 101272"/>
                      <a:gd name="connsiteY8" fmla="*/ 135358 h 13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272" h="135357">
                        <a:moveTo>
                          <a:pt x="8837" y="135358"/>
                        </a:moveTo>
                        <a:cubicBezTo>
                          <a:pt x="3787" y="135358"/>
                          <a:pt x="0" y="131571"/>
                          <a:pt x="0" y="126521"/>
                        </a:cubicBezTo>
                        <a:lnTo>
                          <a:pt x="0" y="114528"/>
                        </a:lnTo>
                        <a:cubicBezTo>
                          <a:pt x="0" y="59614"/>
                          <a:pt x="37241" y="12905"/>
                          <a:pt x="90262" y="280"/>
                        </a:cubicBezTo>
                        <a:cubicBezTo>
                          <a:pt x="94680" y="-982"/>
                          <a:pt x="99730" y="2174"/>
                          <a:pt x="100992" y="6593"/>
                        </a:cubicBezTo>
                        <a:cubicBezTo>
                          <a:pt x="102255" y="11011"/>
                          <a:pt x="99099" y="16061"/>
                          <a:pt x="94680" y="17323"/>
                        </a:cubicBezTo>
                        <a:cubicBezTo>
                          <a:pt x="49234" y="28053"/>
                          <a:pt x="17674" y="67819"/>
                          <a:pt x="17674" y="114528"/>
                        </a:cubicBezTo>
                        <a:lnTo>
                          <a:pt x="17674" y="126521"/>
                        </a:lnTo>
                        <a:cubicBezTo>
                          <a:pt x="17674" y="131571"/>
                          <a:pt x="13886" y="135358"/>
                          <a:pt x="8837" y="135358"/>
                        </a:cubicBezTo>
                        <a:close/>
                      </a:path>
                    </a:pathLst>
                  </a:custGeom>
                  <a:grpFill/>
                  <a:ln w="3175" cap="flat">
                    <a:noFill/>
                    <a:prstDash val="solid"/>
                    <a:miter/>
                  </a:ln>
                </p:spPr>
                <p:txBody>
                  <a:bodyPr rtlCol="0" anchor="ctr"/>
                  <a:lstStyle/>
                  <a:p>
                    <a:endParaRPr lang="en-US"/>
                  </a:p>
                </p:txBody>
              </p:sp>
              <p:sp>
                <p:nvSpPr>
                  <p:cNvPr id="106" name="Freeform 1686">
                    <a:extLst>
                      <a:ext uri="{FF2B5EF4-FFF2-40B4-BE49-F238E27FC236}">
                        <a16:creationId xmlns:a16="http://schemas.microsoft.com/office/drawing/2014/main" id="{CA4B3DA3-E37A-19DA-4126-9F347E6E612C}"/>
                      </a:ext>
                    </a:extLst>
                  </p:cNvPr>
                  <p:cNvSpPr/>
                  <p:nvPr/>
                </p:nvSpPr>
                <p:spPr>
                  <a:xfrm>
                    <a:off x="4527031" y="1035149"/>
                    <a:ext cx="64382" cy="85843"/>
                  </a:xfrm>
                  <a:custGeom>
                    <a:avLst/>
                    <a:gdLst>
                      <a:gd name="connsiteX0" fmla="*/ 55546 w 64382"/>
                      <a:gd name="connsiteY0" fmla="*/ 85844 h 85843"/>
                      <a:gd name="connsiteX1" fmla="*/ 46709 w 64382"/>
                      <a:gd name="connsiteY1" fmla="*/ 77007 h 85843"/>
                      <a:gd name="connsiteX2" fmla="*/ 46709 w 64382"/>
                      <a:gd name="connsiteY2" fmla="*/ 25879 h 85843"/>
                      <a:gd name="connsiteX3" fmla="*/ 38503 w 64382"/>
                      <a:gd name="connsiteY3" fmla="*/ 17674 h 85843"/>
                      <a:gd name="connsiteX4" fmla="*/ 25879 w 64382"/>
                      <a:gd name="connsiteY4" fmla="*/ 17674 h 85843"/>
                      <a:gd name="connsiteX5" fmla="*/ 17674 w 64382"/>
                      <a:gd name="connsiteY5" fmla="*/ 25879 h 85843"/>
                      <a:gd name="connsiteX6" fmla="*/ 17674 w 64382"/>
                      <a:gd name="connsiteY6" fmla="*/ 77007 h 85843"/>
                      <a:gd name="connsiteX7" fmla="*/ 8837 w 64382"/>
                      <a:gd name="connsiteY7" fmla="*/ 85844 h 85843"/>
                      <a:gd name="connsiteX8" fmla="*/ 0 w 64382"/>
                      <a:gd name="connsiteY8" fmla="*/ 77007 h 85843"/>
                      <a:gd name="connsiteX9" fmla="*/ 0 w 64382"/>
                      <a:gd name="connsiteY9" fmla="*/ 25879 h 85843"/>
                      <a:gd name="connsiteX10" fmla="*/ 25879 w 64382"/>
                      <a:gd name="connsiteY10" fmla="*/ 0 h 85843"/>
                      <a:gd name="connsiteX11" fmla="*/ 38503 w 64382"/>
                      <a:gd name="connsiteY11" fmla="*/ 0 h 85843"/>
                      <a:gd name="connsiteX12" fmla="*/ 64382 w 64382"/>
                      <a:gd name="connsiteY12" fmla="*/ 25879 h 85843"/>
                      <a:gd name="connsiteX13" fmla="*/ 64382 w 64382"/>
                      <a:gd name="connsiteY13" fmla="*/ 77007 h 85843"/>
                      <a:gd name="connsiteX14" fmla="*/ 55546 w 64382"/>
                      <a:gd name="connsiteY14" fmla="*/ 85844 h 85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382" h="85843">
                        <a:moveTo>
                          <a:pt x="55546" y="85844"/>
                        </a:moveTo>
                        <a:cubicBezTo>
                          <a:pt x="50496" y="85844"/>
                          <a:pt x="46709" y="82056"/>
                          <a:pt x="46709" y="77007"/>
                        </a:cubicBezTo>
                        <a:lnTo>
                          <a:pt x="46709" y="25879"/>
                        </a:lnTo>
                        <a:cubicBezTo>
                          <a:pt x="46709" y="21461"/>
                          <a:pt x="42922" y="17674"/>
                          <a:pt x="38503" y="17674"/>
                        </a:cubicBezTo>
                        <a:lnTo>
                          <a:pt x="25879" y="17674"/>
                        </a:lnTo>
                        <a:cubicBezTo>
                          <a:pt x="21461" y="17674"/>
                          <a:pt x="17674" y="21461"/>
                          <a:pt x="17674" y="25879"/>
                        </a:cubicBezTo>
                        <a:lnTo>
                          <a:pt x="17674" y="77007"/>
                        </a:lnTo>
                        <a:cubicBezTo>
                          <a:pt x="17674" y="82056"/>
                          <a:pt x="13886" y="85844"/>
                          <a:pt x="8837" y="85844"/>
                        </a:cubicBezTo>
                        <a:cubicBezTo>
                          <a:pt x="3787" y="85844"/>
                          <a:pt x="0" y="82056"/>
                          <a:pt x="0" y="77007"/>
                        </a:cubicBezTo>
                        <a:lnTo>
                          <a:pt x="0" y="25879"/>
                        </a:lnTo>
                        <a:cubicBezTo>
                          <a:pt x="0" y="11993"/>
                          <a:pt x="11362" y="0"/>
                          <a:pt x="25879" y="0"/>
                        </a:cubicBezTo>
                        <a:lnTo>
                          <a:pt x="38503" y="0"/>
                        </a:lnTo>
                        <a:cubicBezTo>
                          <a:pt x="52390" y="0"/>
                          <a:pt x="64382" y="11362"/>
                          <a:pt x="64382" y="25879"/>
                        </a:cubicBezTo>
                        <a:lnTo>
                          <a:pt x="64382" y="77007"/>
                        </a:lnTo>
                        <a:cubicBezTo>
                          <a:pt x="64382" y="81425"/>
                          <a:pt x="60595" y="85844"/>
                          <a:pt x="55546" y="85844"/>
                        </a:cubicBezTo>
                        <a:close/>
                      </a:path>
                    </a:pathLst>
                  </a:custGeom>
                  <a:grpFill/>
                  <a:ln w="3175" cap="flat">
                    <a:noFill/>
                    <a:prstDash val="solid"/>
                    <a:miter/>
                  </a:ln>
                </p:spPr>
                <p:txBody>
                  <a:bodyPr rtlCol="0" anchor="ctr"/>
                  <a:lstStyle/>
                  <a:p>
                    <a:endParaRPr lang="en-US"/>
                  </a:p>
                </p:txBody>
              </p:sp>
            </p:grpSp>
            <p:sp>
              <p:nvSpPr>
                <p:cNvPr id="103" name="Freeform 1683">
                  <a:extLst>
                    <a:ext uri="{FF2B5EF4-FFF2-40B4-BE49-F238E27FC236}">
                      <a16:creationId xmlns:a16="http://schemas.microsoft.com/office/drawing/2014/main" id="{490F9553-2CC3-CE58-BF6D-3D10DCB3B95F}"/>
                    </a:ext>
                  </a:extLst>
                </p:cNvPr>
                <p:cNvSpPr/>
                <p:nvPr/>
              </p:nvSpPr>
              <p:spPr>
                <a:xfrm>
                  <a:off x="4425407" y="1180326"/>
                  <a:ext cx="268261" cy="17673"/>
                </a:xfrm>
                <a:custGeom>
                  <a:avLst/>
                  <a:gdLst>
                    <a:gd name="connsiteX0" fmla="*/ 259425 w 268261"/>
                    <a:gd name="connsiteY0" fmla="*/ 17674 h 17673"/>
                    <a:gd name="connsiteX1" fmla="*/ 8837 w 268261"/>
                    <a:gd name="connsiteY1" fmla="*/ 17674 h 17673"/>
                    <a:gd name="connsiteX2" fmla="*/ 0 w 268261"/>
                    <a:gd name="connsiteY2" fmla="*/ 8837 h 17673"/>
                    <a:gd name="connsiteX3" fmla="*/ 8837 w 268261"/>
                    <a:gd name="connsiteY3" fmla="*/ 0 h 17673"/>
                    <a:gd name="connsiteX4" fmla="*/ 259425 w 268261"/>
                    <a:gd name="connsiteY4" fmla="*/ 0 h 17673"/>
                    <a:gd name="connsiteX5" fmla="*/ 268261 w 268261"/>
                    <a:gd name="connsiteY5" fmla="*/ 8837 h 17673"/>
                    <a:gd name="connsiteX6" fmla="*/ 259425 w 268261"/>
                    <a:gd name="connsiteY6" fmla="*/ 17674 h 17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261" h="17673">
                      <a:moveTo>
                        <a:pt x="259425" y="17674"/>
                      </a:moveTo>
                      <a:lnTo>
                        <a:pt x="8837" y="17674"/>
                      </a:lnTo>
                      <a:cubicBezTo>
                        <a:pt x="3787" y="17674"/>
                        <a:pt x="0" y="13886"/>
                        <a:pt x="0" y="8837"/>
                      </a:cubicBezTo>
                      <a:cubicBezTo>
                        <a:pt x="0" y="3787"/>
                        <a:pt x="3787" y="0"/>
                        <a:pt x="8837" y="0"/>
                      </a:cubicBezTo>
                      <a:lnTo>
                        <a:pt x="259425" y="0"/>
                      </a:lnTo>
                      <a:cubicBezTo>
                        <a:pt x="264474" y="0"/>
                        <a:pt x="268261" y="3787"/>
                        <a:pt x="268261" y="8837"/>
                      </a:cubicBezTo>
                      <a:cubicBezTo>
                        <a:pt x="268261" y="13886"/>
                        <a:pt x="264474" y="17674"/>
                        <a:pt x="259425" y="17674"/>
                      </a:cubicBezTo>
                      <a:close/>
                    </a:path>
                  </a:pathLst>
                </a:custGeom>
                <a:grpFill/>
                <a:ln w="3175" cap="flat">
                  <a:noFill/>
                  <a:prstDash val="solid"/>
                  <a:miter/>
                </a:ln>
              </p:spPr>
              <p:txBody>
                <a:bodyPr rtlCol="0" anchor="ctr"/>
                <a:lstStyle/>
                <a:p>
                  <a:endParaRPr lang="en-US"/>
                </a:p>
              </p:txBody>
            </p:sp>
          </p:grpSp>
        </p:grpSp>
        <p:sp>
          <p:nvSpPr>
            <p:cNvPr id="97" name="Freeform 1677">
              <a:extLst>
                <a:ext uri="{FF2B5EF4-FFF2-40B4-BE49-F238E27FC236}">
                  <a16:creationId xmlns:a16="http://schemas.microsoft.com/office/drawing/2014/main" id="{3E796B06-29B5-F1DA-E81E-45D81041DF0B}"/>
                </a:ext>
              </a:extLst>
            </p:cNvPr>
            <p:cNvSpPr/>
            <p:nvPr/>
          </p:nvSpPr>
          <p:spPr>
            <a:xfrm>
              <a:off x="4452548" y="1398722"/>
              <a:ext cx="215871" cy="158431"/>
            </a:xfrm>
            <a:custGeom>
              <a:avLst/>
              <a:gdLst>
                <a:gd name="connsiteX0" fmla="*/ 107304 w 215871"/>
                <a:gd name="connsiteY0" fmla="*/ 158432 h 158431"/>
                <a:gd name="connsiteX1" fmla="*/ 101624 w 215871"/>
                <a:gd name="connsiteY1" fmla="*/ 156538 h 158431"/>
                <a:gd name="connsiteX2" fmla="*/ 0 w 215871"/>
                <a:gd name="connsiteY2" fmla="*/ 8837 h 158431"/>
                <a:gd name="connsiteX3" fmla="*/ 8837 w 215871"/>
                <a:gd name="connsiteY3" fmla="*/ 0 h 158431"/>
                <a:gd name="connsiteX4" fmla="*/ 17674 w 215871"/>
                <a:gd name="connsiteY4" fmla="*/ 8837 h 158431"/>
                <a:gd name="connsiteX5" fmla="*/ 107936 w 215871"/>
                <a:gd name="connsiteY5" fmla="*/ 138233 h 158431"/>
                <a:gd name="connsiteX6" fmla="*/ 198198 w 215871"/>
                <a:gd name="connsiteY6" fmla="*/ 8837 h 158431"/>
                <a:gd name="connsiteX7" fmla="*/ 207035 w 215871"/>
                <a:gd name="connsiteY7" fmla="*/ 0 h 158431"/>
                <a:gd name="connsiteX8" fmla="*/ 215871 w 215871"/>
                <a:gd name="connsiteY8" fmla="*/ 8837 h 158431"/>
                <a:gd name="connsiteX9" fmla="*/ 114248 w 215871"/>
                <a:gd name="connsiteY9" fmla="*/ 156538 h 158431"/>
                <a:gd name="connsiteX10" fmla="*/ 107304 w 215871"/>
                <a:gd name="connsiteY10" fmla="*/ 158432 h 15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5871" h="158431">
                  <a:moveTo>
                    <a:pt x="107304" y="158432"/>
                  </a:moveTo>
                  <a:cubicBezTo>
                    <a:pt x="105411" y="158432"/>
                    <a:pt x="102886" y="157801"/>
                    <a:pt x="101624" y="156538"/>
                  </a:cubicBezTo>
                  <a:cubicBezTo>
                    <a:pt x="97205" y="152751"/>
                    <a:pt x="0" y="66908"/>
                    <a:pt x="0" y="8837"/>
                  </a:cubicBezTo>
                  <a:cubicBezTo>
                    <a:pt x="0" y="3787"/>
                    <a:pt x="3787" y="0"/>
                    <a:pt x="8837" y="0"/>
                  </a:cubicBezTo>
                  <a:cubicBezTo>
                    <a:pt x="13887" y="0"/>
                    <a:pt x="17674" y="3787"/>
                    <a:pt x="17674" y="8837"/>
                  </a:cubicBezTo>
                  <a:cubicBezTo>
                    <a:pt x="17674" y="47340"/>
                    <a:pt x="78269" y="111092"/>
                    <a:pt x="107936" y="138233"/>
                  </a:cubicBezTo>
                  <a:cubicBezTo>
                    <a:pt x="137602" y="111092"/>
                    <a:pt x="198198" y="47971"/>
                    <a:pt x="198198" y="8837"/>
                  </a:cubicBezTo>
                  <a:cubicBezTo>
                    <a:pt x="198198" y="3787"/>
                    <a:pt x="201985" y="0"/>
                    <a:pt x="207035" y="0"/>
                  </a:cubicBezTo>
                  <a:cubicBezTo>
                    <a:pt x="212084" y="0"/>
                    <a:pt x="215871" y="3787"/>
                    <a:pt x="215871" y="8837"/>
                  </a:cubicBezTo>
                  <a:cubicBezTo>
                    <a:pt x="215871" y="66908"/>
                    <a:pt x="118035" y="152751"/>
                    <a:pt x="114248" y="156538"/>
                  </a:cubicBezTo>
                  <a:cubicBezTo>
                    <a:pt x="111092" y="157801"/>
                    <a:pt x="109198" y="158432"/>
                    <a:pt x="107304" y="158432"/>
                  </a:cubicBezTo>
                  <a:close/>
                </a:path>
              </a:pathLst>
            </a:custGeom>
            <a:grpFill/>
            <a:ln w="3175" cap="flat">
              <a:noFill/>
              <a:prstDash val="solid"/>
              <a:miter/>
            </a:ln>
          </p:spPr>
          <p:txBody>
            <a:bodyPr rtlCol="0" anchor="ctr"/>
            <a:lstStyle/>
            <a:p>
              <a:endParaRPr lang="en-US"/>
            </a:p>
          </p:txBody>
        </p:sp>
        <p:sp>
          <p:nvSpPr>
            <p:cNvPr id="98" name="Freeform 1678">
              <a:extLst>
                <a:ext uri="{FF2B5EF4-FFF2-40B4-BE49-F238E27FC236}">
                  <a16:creationId xmlns:a16="http://schemas.microsoft.com/office/drawing/2014/main" id="{A3A50504-2CC1-9856-0785-0B228A2E72BC}"/>
                </a:ext>
              </a:extLst>
            </p:cNvPr>
            <p:cNvSpPr/>
            <p:nvPr/>
          </p:nvSpPr>
          <p:spPr>
            <a:xfrm>
              <a:off x="4379249" y="1403772"/>
              <a:ext cx="27853" cy="153382"/>
            </a:xfrm>
            <a:custGeom>
              <a:avLst/>
              <a:gdLst>
                <a:gd name="connsiteX0" fmla="*/ 8917 w 27853"/>
                <a:gd name="connsiteY0" fmla="*/ 153382 h 153382"/>
                <a:gd name="connsiteX1" fmla="*/ 7023 w 27853"/>
                <a:gd name="connsiteY1" fmla="*/ 153382 h 153382"/>
                <a:gd name="connsiteX2" fmla="*/ 80 w 27853"/>
                <a:gd name="connsiteY2" fmla="*/ 142652 h 153382"/>
                <a:gd name="connsiteX3" fmla="*/ 10179 w 27853"/>
                <a:gd name="connsiteY3" fmla="*/ 8837 h 153382"/>
                <a:gd name="connsiteX4" fmla="*/ 19016 w 27853"/>
                <a:gd name="connsiteY4" fmla="*/ 0 h 153382"/>
                <a:gd name="connsiteX5" fmla="*/ 27853 w 27853"/>
                <a:gd name="connsiteY5" fmla="*/ 8837 h 153382"/>
                <a:gd name="connsiteX6" fmla="*/ 17123 w 27853"/>
                <a:gd name="connsiteY6" fmla="*/ 146439 h 153382"/>
                <a:gd name="connsiteX7" fmla="*/ 8917 w 27853"/>
                <a:gd name="connsiteY7" fmla="*/ 153382 h 15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53" h="153382">
                  <a:moveTo>
                    <a:pt x="8917" y="153382"/>
                  </a:moveTo>
                  <a:cubicBezTo>
                    <a:pt x="8286" y="153382"/>
                    <a:pt x="7655" y="153382"/>
                    <a:pt x="7023" y="153382"/>
                  </a:cubicBezTo>
                  <a:cubicBezTo>
                    <a:pt x="2605" y="152120"/>
                    <a:pt x="-551" y="147701"/>
                    <a:pt x="80" y="142652"/>
                  </a:cubicBezTo>
                  <a:cubicBezTo>
                    <a:pt x="80" y="142021"/>
                    <a:pt x="10179" y="94049"/>
                    <a:pt x="10179" y="8837"/>
                  </a:cubicBezTo>
                  <a:cubicBezTo>
                    <a:pt x="10179" y="3787"/>
                    <a:pt x="13967" y="0"/>
                    <a:pt x="19016" y="0"/>
                  </a:cubicBezTo>
                  <a:cubicBezTo>
                    <a:pt x="24066" y="0"/>
                    <a:pt x="27853" y="3787"/>
                    <a:pt x="27853" y="8837"/>
                  </a:cubicBezTo>
                  <a:cubicBezTo>
                    <a:pt x="27853" y="95943"/>
                    <a:pt x="17754" y="143914"/>
                    <a:pt x="17123" y="146439"/>
                  </a:cubicBezTo>
                  <a:cubicBezTo>
                    <a:pt x="16492" y="150857"/>
                    <a:pt x="13335" y="153382"/>
                    <a:pt x="8917" y="153382"/>
                  </a:cubicBezTo>
                  <a:close/>
                </a:path>
              </a:pathLst>
            </a:custGeom>
            <a:grpFill/>
            <a:ln w="3175" cap="flat">
              <a:noFill/>
              <a:prstDash val="solid"/>
              <a:miter/>
            </a:ln>
          </p:spPr>
          <p:txBody>
            <a:bodyPr rtlCol="0" anchor="ctr"/>
            <a:lstStyle/>
            <a:p>
              <a:endParaRPr lang="en-US"/>
            </a:p>
          </p:txBody>
        </p:sp>
        <p:sp>
          <p:nvSpPr>
            <p:cNvPr id="99" name="Freeform 1679">
              <a:extLst>
                <a:ext uri="{FF2B5EF4-FFF2-40B4-BE49-F238E27FC236}">
                  <a16:creationId xmlns:a16="http://schemas.microsoft.com/office/drawing/2014/main" id="{FB49DA4B-D6B9-4271-2A00-49B5A3E4FDD6}"/>
                </a:ext>
              </a:extLst>
            </p:cNvPr>
            <p:cNvSpPr/>
            <p:nvPr/>
          </p:nvSpPr>
          <p:spPr>
            <a:xfrm>
              <a:off x="4710079" y="1403772"/>
              <a:ext cx="28051" cy="153382"/>
            </a:xfrm>
            <a:custGeom>
              <a:avLst/>
              <a:gdLst>
                <a:gd name="connsiteX0" fmla="*/ 19567 w 28051"/>
                <a:gd name="connsiteY0" fmla="*/ 153382 h 153382"/>
                <a:gd name="connsiteX1" fmla="*/ 10730 w 28051"/>
                <a:gd name="connsiteY1" fmla="*/ 146439 h 153382"/>
                <a:gd name="connsiteX2" fmla="*/ 0 w 28051"/>
                <a:gd name="connsiteY2" fmla="*/ 8837 h 153382"/>
                <a:gd name="connsiteX3" fmla="*/ 8837 w 28051"/>
                <a:gd name="connsiteY3" fmla="*/ 0 h 153382"/>
                <a:gd name="connsiteX4" fmla="*/ 17674 w 28051"/>
                <a:gd name="connsiteY4" fmla="*/ 8837 h 153382"/>
                <a:gd name="connsiteX5" fmla="*/ 27773 w 28051"/>
                <a:gd name="connsiteY5" fmla="*/ 142652 h 153382"/>
                <a:gd name="connsiteX6" fmla="*/ 20830 w 28051"/>
                <a:gd name="connsiteY6" fmla="*/ 153382 h 153382"/>
                <a:gd name="connsiteX7" fmla="*/ 19567 w 28051"/>
                <a:gd name="connsiteY7" fmla="*/ 153382 h 15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51" h="153382">
                  <a:moveTo>
                    <a:pt x="19567" y="153382"/>
                  </a:moveTo>
                  <a:cubicBezTo>
                    <a:pt x="15780" y="153382"/>
                    <a:pt x="11993" y="150857"/>
                    <a:pt x="10730" y="146439"/>
                  </a:cubicBezTo>
                  <a:cubicBezTo>
                    <a:pt x="10099" y="144545"/>
                    <a:pt x="0" y="96574"/>
                    <a:pt x="0" y="8837"/>
                  </a:cubicBezTo>
                  <a:cubicBezTo>
                    <a:pt x="0" y="3787"/>
                    <a:pt x="3787" y="0"/>
                    <a:pt x="8837" y="0"/>
                  </a:cubicBezTo>
                  <a:cubicBezTo>
                    <a:pt x="13886" y="0"/>
                    <a:pt x="17674" y="3787"/>
                    <a:pt x="17674" y="8837"/>
                  </a:cubicBezTo>
                  <a:cubicBezTo>
                    <a:pt x="17674" y="94049"/>
                    <a:pt x="27773" y="142021"/>
                    <a:pt x="27773" y="142652"/>
                  </a:cubicBezTo>
                  <a:cubicBezTo>
                    <a:pt x="29035" y="147070"/>
                    <a:pt x="25879" y="152120"/>
                    <a:pt x="20830" y="153382"/>
                  </a:cubicBezTo>
                  <a:cubicBezTo>
                    <a:pt x="20830" y="153382"/>
                    <a:pt x="20198" y="153382"/>
                    <a:pt x="19567" y="153382"/>
                  </a:cubicBezTo>
                  <a:close/>
                </a:path>
              </a:pathLst>
            </a:custGeom>
            <a:grpFill/>
            <a:ln w="3175" cap="flat">
              <a:noFill/>
              <a:prstDash val="solid"/>
              <a:miter/>
            </a:ln>
          </p:spPr>
          <p:txBody>
            <a:bodyPr rtlCol="0" anchor="ctr"/>
            <a:lstStyle/>
            <a:p>
              <a:endParaRPr lang="en-US"/>
            </a:p>
          </p:txBody>
        </p:sp>
      </p:grpSp>
      <p:sp>
        <p:nvSpPr>
          <p:cNvPr id="112" name="Rectangle: Rounded Corners 111">
            <a:extLst>
              <a:ext uri="{FF2B5EF4-FFF2-40B4-BE49-F238E27FC236}">
                <a16:creationId xmlns:a16="http://schemas.microsoft.com/office/drawing/2014/main" id="{D4D7026E-9E9E-6C85-9D9D-BBC1428C6D39}"/>
              </a:ext>
            </a:extLst>
          </p:cNvPr>
          <p:cNvSpPr/>
          <p:nvPr/>
        </p:nvSpPr>
        <p:spPr>
          <a:xfrm>
            <a:off x="342022" y="5531015"/>
            <a:ext cx="11637458" cy="69374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US" sz="1400" i="1" u="none" strike="noStrike" kern="1200" cap="none" spc="0" normalizeH="0" baseline="0" noProof="0">
                <a:ln>
                  <a:noFill/>
                </a:ln>
                <a:solidFill>
                  <a:schemeClr val="tx1"/>
                </a:solidFill>
                <a:effectLst/>
                <a:uLnTx/>
                <a:uFillTx/>
                <a:latin typeface="Avenir Book" panose="02000503020000020003"/>
              </a:rPr>
              <a:t>1. Small and medium-sized manufacturer is a firm with: a gross annual sales of less than $100M, fewer than 500 employees at the plant site, and annual energy bills between $100,000 - $3,500,000. </a:t>
            </a:r>
            <a:r>
              <a:rPr kumimoji="0" lang="en-US" sz="1400" b="1" i="1" u="none" strike="noStrike" kern="1200" cap="none" spc="0" normalizeH="0" baseline="0" noProof="0">
                <a:ln>
                  <a:noFill/>
                </a:ln>
                <a:solidFill>
                  <a:schemeClr val="tx1"/>
                </a:solidFill>
                <a:effectLst/>
                <a:uLnTx/>
                <a:uFillTx/>
                <a:latin typeface="Avenir Book" panose="02000503020000020003"/>
              </a:rPr>
              <a:t>If the manufacturer/facility is an individual LLC that pays separate taxes from the parent company, then the eligibility is based on the LLC.</a:t>
            </a:r>
          </a:p>
        </p:txBody>
      </p:sp>
    </p:spTree>
    <p:extLst>
      <p:ext uri="{BB962C8B-B14F-4D97-AF65-F5344CB8AC3E}">
        <p14:creationId xmlns:p14="http://schemas.microsoft.com/office/powerpoint/2010/main" val="26735835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DFE8344-C3B3-E7DC-A9EF-579ED5B239C5}"/>
              </a:ext>
            </a:extLst>
          </p:cNvPr>
          <p:cNvSpPr>
            <a:spLocks noGrp="1"/>
          </p:cNvSpPr>
          <p:nvPr>
            <p:ph type="sldNum" sz="quarter" idx="4"/>
          </p:nvPr>
        </p:nvSpPr>
        <p:spPr/>
        <p:txBody>
          <a:bodyPr/>
          <a:lstStyle/>
          <a:p>
            <a:fld id="{02B5F485-982A-41B4-B657-C5770F0E9220}" type="slidenum">
              <a:rPr lang="en-US" smtClean="0"/>
              <a:pPr/>
              <a:t>7</a:t>
            </a:fld>
            <a:endParaRPr lang="en-US"/>
          </a:p>
        </p:txBody>
      </p:sp>
      <p:sp>
        <p:nvSpPr>
          <p:cNvPr id="5" name="Title 4">
            <a:extLst>
              <a:ext uri="{FF2B5EF4-FFF2-40B4-BE49-F238E27FC236}">
                <a16:creationId xmlns:a16="http://schemas.microsoft.com/office/drawing/2014/main" id="{41763A92-B2E2-D021-5A63-16FED2379DB7}"/>
              </a:ext>
            </a:extLst>
          </p:cNvPr>
          <p:cNvSpPr>
            <a:spLocks noGrp="1"/>
          </p:cNvSpPr>
          <p:nvPr>
            <p:ph type="title"/>
          </p:nvPr>
        </p:nvSpPr>
        <p:spPr>
          <a:xfrm>
            <a:off x="191300" y="70998"/>
            <a:ext cx="11185170" cy="1107996"/>
          </a:xfrm>
        </p:spPr>
        <p:txBody>
          <a:bodyPr/>
          <a:lstStyle/>
          <a:p>
            <a:r>
              <a:rPr lang="en-US" b="1"/>
              <a:t>IAC Implementation Grants Program: </a:t>
            </a:r>
            <a:r>
              <a:rPr lang="en-US"/>
              <a:t>Two Parallel Workstreams</a:t>
            </a:r>
          </a:p>
        </p:txBody>
      </p:sp>
      <p:sp>
        <p:nvSpPr>
          <p:cNvPr id="6" name="TextBox 5">
            <a:extLst>
              <a:ext uri="{FF2B5EF4-FFF2-40B4-BE49-F238E27FC236}">
                <a16:creationId xmlns:a16="http://schemas.microsoft.com/office/drawing/2014/main" id="{85023CC3-4DD9-86C5-D382-ACCF0AD2680F}"/>
              </a:ext>
            </a:extLst>
          </p:cNvPr>
          <p:cNvSpPr txBox="1"/>
          <p:nvPr/>
        </p:nvSpPr>
        <p:spPr>
          <a:xfrm>
            <a:off x="1690997" y="1582143"/>
            <a:ext cx="3090672" cy="584775"/>
          </a:xfrm>
          <a:prstGeom prst="rect">
            <a:avLst/>
          </a:prstGeom>
          <a:noFill/>
        </p:spPr>
        <p:txBody>
          <a:bodyPr wrap="square" rtlCol="0">
            <a:spAutoFit/>
          </a:bodyPr>
          <a:lstStyle/>
          <a:p>
            <a:pPr algn="ctr"/>
            <a:r>
              <a:rPr lang="en-US" sz="1600" b="1">
                <a:latin typeface="Avenir Book" panose="02000503020000020003"/>
              </a:rPr>
              <a:t>Workstream 1: </a:t>
            </a:r>
            <a:r>
              <a:rPr lang="en-US" sz="1600">
                <a:latin typeface="Avenir Book" panose="02000503020000020003"/>
              </a:rPr>
              <a:t>Implementation Grants Funding </a:t>
            </a:r>
          </a:p>
        </p:txBody>
      </p:sp>
      <p:sp>
        <p:nvSpPr>
          <p:cNvPr id="7" name="TextBox 6">
            <a:extLst>
              <a:ext uri="{FF2B5EF4-FFF2-40B4-BE49-F238E27FC236}">
                <a16:creationId xmlns:a16="http://schemas.microsoft.com/office/drawing/2014/main" id="{C8A697D7-EA3B-0B2C-62E9-678C67E1E803}"/>
              </a:ext>
            </a:extLst>
          </p:cNvPr>
          <p:cNvSpPr txBox="1"/>
          <p:nvPr/>
        </p:nvSpPr>
        <p:spPr>
          <a:xfrm>
            <a:off x="1693772" y="4820488"/>
            <a:ext cx="3087897" cy="1569660"/>
          </a:xfrm>
          <a:prstGeom prst="rect">
            <a:avLst/>
          </a:prstGeom>
          <a:noFill/>
          <a:ln>
            <a:noFill/>
          </a:ln>
        </p:spPr>
        <p:txBody>
          <a:bodyPr wrap="square" rtlCol="0">
            <a:spAutoFit/>
          </a:bodyPr>
          <a:lstStyle/>
          <a:p>
            <a:pPr algn="ctr"/>
            <a:r>
              <a:rPr lang="en-US" sz="1600">
                <a:latin typeface="Avenir Book" panose="02000503020000020003"/>
              </a:rPr>
              <a:t>Provide </a:t>
            </a:r>
            <a:r>
              <a:rPr lang="en-US" sz="1600" b="1">
                <a:latin typeface="Avenir Book" panose="02000503020000020003"/>
              </a:rPr>
              <a:t>federal funding </a:t>
            </a:r>
            <a:r>
              <a:rPr lang="en-US" sz="1600">
                <a:latin typeface="Avenir Book" panose="02000503020000020003"/>
              </a:rPr>
              <a:t>to eligible SMMs to implement recommendations made </a:t>
            </a:r>
            <a:r>
              <a:rPr lang="en-US" sz="1600" b="1">
                <a:latin typeface="Avenir Book" panose="02000503020000020003"/>
              </a:rPr>
              <a:t>in IAC or CHP TAP assessments </a:t>
            </a:r>
            <a:r>
              <a:rPr lang="en-US" sz="1600">
                <a:latin typeface="Avenir Book" panose="02000503020000020003"/>
              </a:rPr>
              <a:t>starting in 2018, or </a:t>
            </a:r>
            <a:r>
              <a:rPr lang="en-US" sz="1600" b="1">
                <a:latin typeface="Avenir Book" panose="02000503020000020003"/>
              </a:rPr>
              <a:t>qualified third-party assessments </a:t>
            </a:r>
            <a:r>
              <a:rPr lang="en-US" sz="1600">
                <a:latin typeface="Avenir Book" panose="02000503020000020003"/>
              </a:rPr>
              <a:t>starting in 2021</a:t>
            </a:r>
            <a:endParaRPr lang="en-US" sz="1600" b="1" kern="0">
              <a:solidFill>
                <a:srgbClr val="000000"/>
              </a:solidFill>
              <a:latin typeface="Avenir Book" panose="02000503020000020003"/>
              <a:ea typeface="+mn-lt"/>
              <a:cs typeface="Arial" panose="020B0604020202020204" pitchFamily="34" charset="0"/>
            </a:endParaRPr>
          </a:p>
        </p:txBody>
      </p:sp>
      <p:sp>
        <p:nvSpPr>
          <p:cNvPr id="9" name="Oval 8">
            <a:extLst>
              <a:ext uri="{FF2B5EF4-FFF2-40B4-BE49-F238E27FC236}">
                <a16:creationId xmlns:a16="http://schemas.microsoft.com/office/drawing/2014/main" id="{26749FE1-C4EB-2F61-3DBA-C6A6819C7919}"/>
              </a:ext>
            </a:extLst>
          </p:cNvPr>
          <p:cNvSpPr/>
          <p:nvPr/>
        </p:nvSpPr>
        <p:spPr>
          <a:xfrm>
            <a:off x="2001893" y="2280278"/>
            <a:ext cx="2468880" cy="2468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Book" panose="02000503020000020003"/>
            </a:endParaRPr>
          </a:p>
        </p:txBody>
      </p:sp>
      <p:pic>
        <p:nvPicPr>
          <p:cNvPr id="10" name="Graphic 9" descr="Money outline">
            <a:extLst>
              <a:ext uri="{FF2B5EF4-FFF2-40B4-BE49-F238E27FC236}">
                <a16:creationId xmlns:a16="http://schemas.microsoft.com/office/drawing/2014/main" id="{9E35614A-0A54-92B7-A885-CEAD438325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51450" y="2513669"/>
            <a:ext cx="1755648" cy="1755648"/>
          </a:xfrm>
          <a:prstGeom prst="rect">
            <a:avLst/>
          </a:prstGeom>
        </p:spPr>
      </p:pic>
      <p:sp>
        <p:nvSpPr>
          <p:cNvPr id="11" name="TextBox 10">
            <a:extLst>
              <a:ext uri="{FF2B5EF4-FFF2-40B4-BE49-F238E27FC236}">
                <a16:creationId xmlns:a16="http://schemas.microsoft.com/office/drawing/2014/main" id="{A340409A-4A7F-D59A-98E9-FC916CB82D8E}"/>
              </a:ext>
            </a:extLst>
          </p:cNvPr>
          <p:cNvSpPr txBox="1"/>
          <p:nvPr/>
        </p:nvSpPr>
        <p:spPr>
          <a:xfrm>
            <a:off x="7410329" y="1582143"/>
            <a:ext cx="3090672" cy="584775"/>
          </a:xfrm>
          <a:prstGeom prst="rect">
            <a:avLst/>
          </a:prstGeom>
          <a:noFill/>
        </p:spPr>
        <p:txBody>
          <a:bodyPr wrap="square" rtlCol="0">
            <a:spAutoFit/>
          </a:bodyPr>
          <a:lstStyle/>
          <a:p>
            <a:pPr algn="ctr"/>
            <a:r>
              <a:rPr lang="en-US" sz="1600" b="1" kern="0">
                <a:solidFill>
                  <a:sysClr val="windowText" lastClr="000000"/>
                </a:solidFill>
                <a:latin typeface="Avenir Book" panose="02000503020000020003"/>
                <a:ea typeface="+mn-lt"/>
                <a:cs typeface="Arial" panose="020B0604020202020204" pitchFamily="34" charset="0"/>
              </a:rPr>
              <a:t>Workstream 2: </a:t>
            </a:r>
            <a:r>
              <a:rPr lang="en-US" sz="1600" i="0">
                <a:solidFill>
                  <a:srgbClr val="212529"/>
                </a:solidFill>
                <a:effectLst/>
                <a:latin typeface="Avenir Book" panose="02000503020000020003"/>
              </a:rPr>
              <a:t>Third-Party Assessor Qualification</a:t>
            </a:r>
            <a:r>
              <a:rPr lang="en-US" sz="1600" kern="0">
                <a:solidFill>
                  <a:sysClr val="windowText" lastClr="000000"/>
                </a:solidFill>
                <a:latin typeface="Avenir Book" panose="02000503020000020003"/>
                <a:ea typeface="+mn-lt"/>
                <a:cs typeface="Arial" panose="020B0604020202020204" pitchFamily="34" charset="0"/>
              </a:rPr>
              <a:t> </a:t>
            </a:r>
            <a:endParaRPr lang="en-US" sz="1600" kern="0">
              <a:solidFill>
                <a:sysClr val="windowText" lastClr="000000"/>
              </a:solidFill>
              <a:latin typeface="Avenir Book" panose="02000503020000020003"/>
              <a:cs typeface="Arial" panose="020B0604020202020204" pitchFamily="34" charset="0"/>
            </a:endParaRPr>
          </a:p>
        </p:txBody>
      </p:sp>
      <p:sp>
        <p:nvSpPr>
          <p:cNvPr id="12" name="TextBox 11">
            <a:extLst>
              <a:ext uri="{FF2B5EF4-FFF2-40B4-BE49-F238E27FC236}">
                <a16:creationId xmlns:a16="http://schemas.microsoft.com/office/drawing/2014/main" id="{CEE6CE06-AEFB-67C3-0C75-DD9D3DA7B5C4}"/>
              </a:ext>
            </a:extLst>
          </p:cNvPr>
          <p:cNvSpPr txBox="1"/>
          <p:nvPr/>
        </p:nvSpPr>
        <p:spPr>
          <a:xfrm>
            <a:off x="7410329" y="4820488"/>
            <a:ext cx="3090672" cy="1569660"/>
          </a:xfrm>
          <a:prstGeom prst="rect">
            <a:avLst/>
          </a:prstGeom>
          <a:noFill/>
          <a:ln>
            <a:noFill/>
          </a:ln>
        </p:spPr>
        <p:txBody>
          <a:bodyPr wrap="square" rtlCol="0">
            <a:spAutoFit/>
          </a:bodyPr>
          <a:lstStyle/>
          <a:p>
            <a:pPr algn="ctr"/>
            <a:r>
              <a:rPr lang="en-US" sz="1600">
                <a:latin typeface="Avenir Book" panose="02000503020000020003"/>
              </a:rPr>
              <a:t>Identify entities interested in qualifying as a </a:t>
            </a:r>
            <a:r>
              <a:rPr lang="en-US" sz="1600" b="1">
                <a:latin typeface="Avenir Book" panose="02000503020000020003"/>
              </a:rPr>
              <a:t>“third-party assessor that provides an assessment equivalent</a:t>
            </a:r>
            <a:r>
              <a:rPr lang="en-US" sz="1600">
                <a:latin typeface="Avenir Book" panose="02000503020000020003"/>
              </a:rPr>
              <a:t>” to an Industrial Assessment Center or CHP TAP assessments </a:t>
            </a:r>
            <a:endParaRPr lang="en-US" sz="1600" kern="0">
              <a:solidFill>
                <a:srgbClr val="000000"/>
              </a:solidFill>
              <a:latin typeface="Avenir Book" panose="02000503020000020003"/>
              <a:ea typeface="+mn-lt"/>
              <a:cs typeface="Arial" panose="020B0604020202020204" pitchFamily="34" charset="0"/>
            </a:endParaRPr>
          </a:p>
        </p:txBody>
      </p:sp>
      <p:sp>
        <p:nvSpPr>
          <p:cNvPr id="14" name="Oval 13">
            <a:extLst>
              <a:ext uri="{FF2B5EF4-FFF2-40B4-BE49-F238E27FC236}">
                <a16:creationId xmlns:a16="http://schemas.microsoft.com/office/drawing/2014/main" id="{136D0411-7C59-239C-CA86-D466A8E2B5D5}"/>
              </a:ext>
            </a:extLst>
          </p:cNvPr>
          <p:cNvSpPr/>
          <p:nvPr/>
        </p:nvSpPr>
        <p:spPr>
          <a:xfrm>
            <a:off x="7721227" y="2280278"/>
            <a:ext cx="2468880" cy="24688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Book" panose="02000503020000020003"/>
            </a:endParaRPr>
          </a:p>
        </p:txBody>
      </p:sp>
      <p:pic>
        <p:nvPicPr>
          <p:cNvPr id="15" name="Graphic 14" descr="Checklist with solid fill">
            <a:extLst>
              <a:ext uri="{FF2B5EF4-FFF2-40B4-BE49-F238E27FC236}">
                <a16:creationId xmlns:a16="http://schemas.microsoft.com/office/drawing/2014/main" id="{01E68C7A-5B02-78BA-7A8A-7A9CD2B9D20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7841" y="2590361"/>
            <a:ext cx="1755648" cy="1755648"/>
          </a:xfrm>
          <a:prstGeom prst="rect">
            <a:avLst/>
          </a:prstGeom>
        </p:spPr>
      </p:pic>
    </p:spTree>
    <p:extLst>
      <p:ext uri="{BB962C8B-B14F-4D97-AF65-F5344CB8AC3E}">
        <p14:creationId xmlns:p14="http://schemas.microsoft.com/office/powerpoint/2010/main" val="20090800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97482385-351F-CC33-E9EC-0AD6A26EB61D}"/>
              </a:ext>
            </a:extLst>
          </p:cNvPr>
          <p:cNvSpPr>
            <a:spLocks noGrp="1"/>
          </p:cNvSpPr>
          <p:nvPr>
            <p:ph sz="half" idx="2"/>
          </p:nvPr>
        </p:nvSpPr>
        <p:spPr>
          <a:xfrm>
            <a:off x="5436067" y="1557190"/>
            <a:ext cx="6526634" cy="3878875"/>
          </a:xfrm>
        </p:spPr>
        <p:txBody>
          <a:bodyPr>
            <a:normAutofit/>
          </a:bodyPr>
          <a:lstStyle/>
          <a:p>
            <a:pPr marL="0" lvl="0" indent="0" algn="l">
              <a:buNone/>
            </a:pPr>
            <a:r>
              <a:rPr lang="en-US" sz="2400">
                <a:solidFill>
                  <a:schemeClr val="tx1"/>
                </a:solidFill>
                <a:latin typeface="Avenir Book"/>
              </a:rPr>
              <a:t>Improve site energy and/or material efficiency</a:t>
            </a:r>
          </a:p>
          <a:p>
            <a:pPr marL="0" lvl="0" indent="0" algn="l">
              <a:buNone/>
            </a:pPr>
            <a:endParaRPr lang="en-US">
              <a:solidFill>
                <a:schemeClr val="tx1"/>
              </a:solidFill>
              <a:latin typeface="Avenir Book"/>
            </a:endParaRPr>
          </a:p>
          <a:p>
            <a:pPr marL="0" indent="0" algn="l">
              <a:buNone/>
            </a:pPr>
            <a:r>
              <a:rPr lang="en-US" sz="2400">
                <a:solidFill>
                  <a:schemeClr val="tx1"/>
                </a:solidFill>
                <a:latin typeface="Avenir Book"/>
              </a:rPr>
              <a:t>Improve site cybersecurity infrastructure</a:t>
            </a:r>
          </a:p>
          <a:p>
            <a:pPr marL="0" lvl="0" indent="0" algn="l">
              <a:buNone/>
            </a:pPr>
            <a:endParaRPr lang="en-US" sz="2400">
              <a:solidFill>
                <a:schemeClr val="tx1"/>
              </a:solidFill>
              <a:latin typeface="Avenir Book"/>
            </a:endParaRPr>
          </a:p>
          <a:p>
            <a:pPr marL="0" indent="0" algn="l">
              <a:buNone/>
            </a:pPr>
            <a:r>
              <a:rPr lang="en-US" sz="2400">
                <a:solidFill>
                  <a:schemeClr val="tx1"/>
                </a:solidFill>
                <a:latin typeface="Avenir Book"/>
              </a:rPr>
              <a:t>Improve site productivity</a:t>
            </a:r>
          </a:p>
          <a:p>
            <a:pPr marL="0" lvl="0" indent="0" algn="l">
              <a:buNone/>
            </a:pPr>
            <a:endParaRPr lang="en-US">
              <a:solidFill>
                <a:schemeClr val="tx1"/>
              </a:solidFill>
              <a:latin typeface="Avenir Book"/>
            </a:endParaRPr>
          </a:p>
          <a:p>
            <a:pPr marL="0" indent="0" algn="l">
              <a:buNone/>
            </a:pPr>
            <a:r>
              <a:rPr lang="en-US" sz="2400">
                <a:solidFill>
                  <a:schemeClr val="tx1"/>
                </a:solidFill>
                <a:latin typeface="Avenir Book"/>
              </a:rPr>
              <a:t>Reduce site waste production</a:t>
            </a:r>
          </a:p>
          <a:p>
            <a:pPr marL="0" indent="0" algn="l">
              <a:buNone/>
            </a:pPr>
            <a:endParaRPr lang="en-US">
              <a:solidFill>
                <a:schemeClr val="tx1"/>
              </a:solidFill>
              <a:latin typeface="Avenir Book"/>
            </a:endParaRPr>
          </a:p>
          <a:p>
            <a:pPr marL="0" indent="0" algn="l">
              <a:buNone/>
            </a:pPr>
            <a:r>
              <a:rPr lang="en-US" sz="2400">
                <a:solidFill>
                  <a:schemeClr val="tx1"/>
                </a:solidFill>
                <a:latin typeface="Avenir Book"/>
              </a:rPr>
              <a:t>Reduce site greenhouse gas emissions and/or </a:t>
            </a:r>
            <a:r>
              <a:rPr lang="en-US" sz="2400" err="1">
                <a:solidFill>
                  <a:schemeClr val="tx1"/>
                </a:solidFill>
                <a:latin typeface="Avenir Book"/>
              </a:rPr>
              <a:t>nongreenhouse</a:t>
            </a:r>
            <a:r>
              <a:rPr lang="en-US" sz="2400">
                <a:solidFill>
                  <a:schemeClr val="tx1"/>
                </a:solidFill>
                <a:latin typeface="Avenir Book"/>
              </a:rPr>
              <a:t> gas pollution  </a:t>
            </a:r>
          </a:p>
        </p:txBody>
      </p:sp>
      <p:sp>
        <p:nvSpPr>
          <p:cNvPr id="10" name="Text Placeholder 9">
            <a:extLst>
              <a:ext uri="{FF2B5EF4-FFF2-40B4-BE49-F238E27FC236}">
                <a16:creationId xmlns:a16="http://schemas.microsoft.com/office/drawing/2014/main" id="{17CBC2BF-F881-9AF6-E39A-9614333877C5}"/>
              </a:ext>
            </a:extLst>
          </p:cNvPr>
          <p:cNvSpPr>
            <a:spLocks noGrp="1"/>
          </p:cNvSpPr>
          <p:nvPr>
            <p:ph type="body" idx="17"/>
          </p:nvPr>
        </p:nvSpPr>
        <p:spPr>
          <a:xfrm>
            <a:off x="4471005" y="301592"/>
            <a:ext cx="7558808" cy="908292"/>
          </a:xfrm>
        </p:spPr>
        <p:txBody>
          <a:bodyPr>
            <a:normAutofit/>
          </a:bodyPr>
          <a:lstStyle/>
          <a:p>
            <a:pPr algn="l"/>
            <a:r>
              <a:rPr lang="en-US" sz="2400">
                <a:latin typeface="Avenir Book" panose="02000503020000020003"/>
              </a:rPr>
              <a:t>Covered projects include energy assessment report  </a:t>
            </a:r>
            <a:r>
              <a:rPr lang="en-US" sz="2400">
                <a:solidFill>
                  <a:srgbClr val="205FAB"/>
                </a:solidFill>
                <a:latin typeface="Avenir Book" panose="02000503020000020003"/>
              </a:rPr>
              <a:t>recommendations that:</a:t>
            </a:r>
          </a:p>
        </p:txBody>
      </p:sp>
      <p:sp>
        <p:nvSpPr>
          <p:cNvPr id="3" name="Slide Number Placeholder 2">
            <a:extLst>
              <a:ext uri="{FF2B5EF4-FFF2-40B4-BE49-F238E27FC236}">
                <a16:creationId xmlns:a16="http://schemas.microsoft.com/office/drawing/2014/main" id="{9B99613B-53F9-801C-11ED-3BF1C5575195}"/>
              </a:ext>
            </a:extLst>
          </p:cNvPr>
          <p:cNvSpPr>
            <a:spLocks noGrp="1"/>
          </p:cNvSpPr>
          <p:nvPr>
            <p:ph type="sldNum" sz="quarter" idx="4"/>
          </p:nvPr>
        </p:nvSpPr>
        <p:spPr>
          <a:xfrm>
            <a:off x="201168" y="6530975"/>
            <a:ext cx="508000" cy="1539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B5F485-982A-41B4-B657-C5770F0E9220}" type="slidenum">
              <a:rPr kumimoji="0" lang="en-US" sz="1000" b="0"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4" name="Rectangle: Rounded Corners 13">
            <a:extLst>
              <a:ext uri="{FF2B5EF4-FFF2-40B4-BE49-F238E27FC236}">
                <a16:creationId xmlns:a16="http://schemas.microsoft.com/office/drawing/2014/main" id="{3E36B08D-3364-2189-49CC-63C9BD907EE9}"/>
              </a:ext>
            </a:extLst>
          </p:cNvPr>
          <p:cNvSpPr/>
          <p:nvPr/>
        </p:nvSpPr>
        <p:spPr>
          <a:xfrm>
            <a:off x="4093501" y="6076987"/>
            <a:ext cx="6124290" cy="69374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defTabSz="914400" rtl="0" eaLnBrk="1" fontAlgn="auto" latinLnBrk="0" hangingPunct="1">
              <a:lnSpc>
                <a:spcPct val="100000"/>
              </a:lnSpc>
              <a:spcBef>
                <a:spcPts val="0"/>
              </a:spcBef>
              <a:spcAft>
                <a:spcPts val="0"/>
              </a:spcAft>
              <a:buClrTx/>
              <a:buSzTx/>
              <a:tabLst/>
              <a:defRPr/>
            </a:pPr>
            <a:r>
              <a:rPr kumimoji="0" lang="en-US" sz="1400" i="1" u="none" strike="noStrike" kern="1200" cap="none" spc="0" normalizeH="0" baseline="0" noProof="0">
                <a:ln>
                  <a:noFill/>
                </a:ln>
                <a:solidFill>
                  <a:schemeClr val="tx1"/>
                </a:solidFill>
                <a:effectLst/>
                <a:uLnTx/>
                <a:uFillTx/>
                <a:latin typeface="Avenir Book" panose="02000503020000020003"/>
              </a:rPr>
              <a:t>1. Ten energy assessment providers have been selected for qualification as “IAC-equivalent;” see the list at the bottom of the page </a:t>
            </a:r>
            <a:r>
              <a:rPr kumimoji="0" lang="en-US" sz="1400" i="1" u="none" strike="noStrike" kern="1200" cap="none" spc="0" normalizeH="0" baseline="0" noProof="0">
                <a:ln>
                  <a:noFill/>
                </a:ln>
                <a:solidFill>
                  <a:schemeClr val="tx1"/>
                </a:solidFill>
                <a:effectLst/>
                <a:uLnTx/>
                <a:uFillTx/>
                <a:latin typeface="Avenir Book" panose="02000503020000020003"/>
                <a:hlinkClick r:id="rId2"/>
              </a:rPr>
              <a:t>here</a:t>
            </a:r>
            <a:r>
              <a:rPr kumimoji="0" lang="en-US" sz="1400" i="1" u="none" strike="noStrike" kern="1200" cap="none" spc="0" normalizeH="0" baseline="0" noProof="0">
                <a:ln>
                  <a:noFill/>
                </a:ln>
                <a:solidFill>
                  <a:schemeClr val="tx1"/>
                </a:solidFill>
                <a:effectLst/>
                <a:uLnTx/>
                <a:uFillTx/>
                <a:latin typeface="Avenir Book" panose="02000503020000020003"/>
              </a:rPr>
              <a:t>.</a:t>
            </a:r>
            <a:endParaRPr kumimoji="0" lang="en-US" sz="1400" b="1" i="1" u="none" strike="noStrike" kern="1200" cap="none" spc="0" normalizeH="0" baseline="0" noProof="0">
              <a:ln>
                <a:noFill/>
              </a:ln>
              <a:solidFill>
                <a:schemeClr val="tx1"/>
              </a:solidFill>
              <a:effectLst/>
              <a:uLnTx/>
              <a:uFillTx/>
              <a:latin typeface="Avenir Book" panose="02000503020000020003"/>
            </a:endParaRPr>
          </a:p>
        </p:txBody>
      </p:sp>
      <p:sp>
        <p:nvSpPr>
          <p:cNvPr id="15" name="Content Placeholder 7">
            <a:extLst>
              <a:ext uri="{FF2B5EF4-FFF2-40B4-BE49-F238E27FC236}">
                <a16:creationId xmlns:a16="http://schemas.microsoft.com/office/drawing/2014/main" id="{D05F98C7-7CC6-BAA7-C499-105F0EA6B2B1}"/>
              </a:ext>
            </a:extLst>
          </p:cNvPr>
          <p:cNvSpPr>
            <a:spLocks noGrp="1"/>
          </p:cNvSpPr>
          <p:nvPr>
            <p:ph sz="half" idx="1"/>
          </p:nvPr>
        </p:nvSpPr>
        <p:spPr>
          <a:xfrm>
            <a:off x="380301" y="2620998"/>
            <a:ext cx="3235353" cy="3242906"/>
          </a:xfrm>
        </p:spPr>
        <p:txBody>
          <a:bodyPr>
            <a:normAutofit lnSpcReduction="10000"/>
          </a:bodyPr>
          <a:lstStyle/>
          <a:p>
            <a:pPr marL="0" indent="0">
              <a:buNone/>
            </a:pPr>
            <a:r>
              <a:rPr lang="en-US" sz="2000">
                <a:latin typeface="Avenir Book" panose="02000503020000020003"/>
              </a:rPr>
              <a:t>Provide federal funding to eligible SMMs to implement recommendations made in:</a:t>
            </a:r>
          </a:p>
          <a:p>
            <a:pPr marL="0" indent="0">
              <a:buNone/>
            </a:pPr>
            <a:endParaRPr lang="en-US" sz="2000">
              <a:latin typeface="Avenir Book" panose="02000503020000020003"/>
            </a:endParaRPr>
          </a:p>
          <a:p>
            <a:r>
              <a:rPr lang="en-US" sz="2000">
                <a:solidFill>
                  <a:srgbClr val="FFCA03"/>
                </a:solidFill>
                <a:latin typeface="Avenir Book" panose="02000503020000020003"/>
              </a:rPr>
              <a:t>IAC or CHP/Onsite Energy TAP assessments</a:t>
            </a:r>
            <a:r>
              <a:rPr lang="en-US" sz="2000">
                <a:latin typeface="Avenir Book" panose="02000503020000020003"/>
              </a:rPr>
              <a:t> starting in 2018, or</a:t>
            </a:r>
          </a:p>
          <a:p>
            <a:r>
              <a:rPr lang="en-US" sz="2000">
                <a:solidFill>
                  <a:srgbClr val="FFCA03"/>
                </a:solidFill>
                <a:latin typeface="Avenir Book" panose="02000503020000020003"/>
              </a:rPr>
              <a:t>Qualified third-party assessments</a:t>
            </a:r>
            <a:r>
              <a:rPr lang="en-US" sz="2000" baseline="30000">
                <a:solidFill>
                  <a:srgbClr val="FFCA03"/>
                </a:solidFill>
                <a:latin typeface="Avenir Book" panose="02000503020000020003"/>
              </a:rPr>
              <a:t>1</a:t>
            </a:r>
            <a:r>
              <a:rPr lang="en-US" sz="2000">
                <a:solidFill>
                  <a:srgbClr val="FFCA03"/>
                </a:solidFill>
                <a:latin typeface="Avenir Book" panose="02000503020000020003"/>
              </a:rPr>
              <a:t> </a:t>
            </a:r>
            <a:r>
              <a:rPr lang="en-US" sz="2000">
                <a:latin typeface="Avenir Book" panose="02000503020000020003"/>
              </a:rPr>
              <a:t>starting in 2021</a:t>
            </a:r>
            <a:br>
              <a:rPr lang="en-US" sz="2000"/>
            </a:br>
            <a:endParaRPr lang="en-US" sz="2000"/>
          </a:p>
        </p:txBody>
      </p:sp>
      <p:sp>
        <p:nvSpPr>
          <p:cNvPr id="18" name="Title 6">
            <a:extLst>
              <a:ext uri="{FF2B5EF4-FFF2-40B4-BE49-F238E27FC236}">
                <a16:creationId xmlns:a16="http://schemas.microsoft.com/office/drawing/2014/main" id="{C4B97301-43B1-6511-8397-95CE2FD40190}"/>
              </a:ext>
            </a:extLst>
          </p:cNvPr>
          <p:cNvSpPr txBox="1">
            <a:spLocks/>
          </p:cNvSpPr>
          <p:nvPr/>
        </p:nvSpPr>
        <p:spPr>
          <a:xfrm>
            <a:off x="329968" y="941368"/>
            <a:ext cx="3336021" cy="1384995"/>
          </a:xfrm>
          <a:prstGeom prst="rect">
            <a:avLst/>
          </a:prstGeom>
        </p:spPr>
        <p:txBody>
          <a:bodyPr vert="horz" wrap="square" lIns="91440" tIns="0" rIns="91440" bIns="0" rtlCol="0" anchor="b" anchorCtr="0">
            <a:spAutoFit/>
          </a:bodyPr>
          <a:lstStyle>
            <a:lvl1pPr algn="l" eaLnBrk="1" hangingPunct="1">
              <a:defRPr sz="3000" b="1" i="0" baseline="0">
                <a:solidFill>
                  <a:schemeClr val="bg1"/>
                </a:solidFill>
                <a:latin typeface="Avenir Black" panose="02000503020000020003" pitchFamily="2" charset="0"/>
                <a:ea typeface="+mj-ea"/>
                <a:cs typeface="Avenir Black" panose="02000503020000020003" pitchFamily="2" charset="0"/>
              </a:defRPr>
            </a:lvl1pPr>
          </a:lstStyle>
          <a:p>
            <a:r>
              <a:rPr lang="en-US" kern="0"/>
              <a:t>Workstream 1: </a:t>
            </a:r>
            <a:r>
              <a:rPr lang="en-US" b="0" kern="0"/>
              <a:t>Implementation Grants Funding</a:t>
            </a:r>
            <a:endParaRPr lang="en-US" kern="0"/>
          </a:p>
        </p:txBody>
      </p:sp>
      <p:grpSp>
        <p:nvGrpSpPr>
          <p:cNvPr id="19" name="Graphic 4">
            <a:extLst>
              <a:ext uri="{FF2B5EF4-FFF2-40B4-BE49-F238E27FC236}">
                <a16:creationId xmlns:a16="http://schemas.microsoft.com/office/drawing/2014/main" id="{676BD0B2-4C80-101B-B13A-7EE8292CC32C}"/>
              </a:ext>
            </a:extLst>
          </p:cNvPr>
          <p:cNvGrpSpPr/>
          <p:nvPr/>
        </p:nvGrpSpPr>
        <p:grpSpPr>
          <a:xfrm>
            <a:off x="4756260" y="1457029"/>
            <a:ext cx="470877" cy="510011"/>
            <a:chOff x="9993877" y="5706049"/>
            <a:chExt cx="470877" cy="510011"/>
          </a:xfrm>
          <a:noFill/>
        </p:grpSpPr>
        <p:grpSp>
          <p:nvGrpSpPr>
            <p:cNvPr id="20" name="Graphic 4">
              <a:extLst>
                <a:ext uri="{FF2B5EF4-FFF2-40B4-BE49-F238E27FC236}">
                  <a16:creationId xmlns:a16="http://schemas.microsoft.com/office/drawing/2014/main" id="{6353D783-6C66-8406-ECCD-4555FD30DF3D}"/>
                </a:ext>
              </a:extLst>
            </p:cNvPr>
            <p:cNvGrpSpPr/>
            <p:nvPr/>
          </p:nvGrpSpPr>
          <p:grpSpPr>
            <a:xfrm>
              <a:off x="10080983" y="5798796"/>
              <a:ext cx="295402" cy="417265"/>
              <a:chOff x="10080983" y="5798796"/>
              <a:chExt cx="295402" cy="417265"/>
            </a:xfrm>
            <a:noFill/>
          </p:grpSpPr>
          <p:grpSp>
            <p:nvGrpSpPr>
              <p:cNvPr id="52" name="Graphic 4">
                <a:extLst>
                  <a:ext uri="{FF2B5EF4-FFF2-40B4-BE49-F238E27FC236}">
                    <a16:creationId xmlns:a16="http://schemas.microsoft.com/office/drawing/2014/main" id="{70F668F0-7546-D006-7EDE-F1EE1B8A204C}"/>
                  </a:ext>
                </a:extLst>
              </p:cNvPr>
              <p:cNvGrpSpPr/>
              <p:nvPr/>
            </p:nvGrpSpPr>
            <p:grpSpPr>
              <a:xfrm>
                <a:off x="10080983" y="5798796"/>
                <a:ext cx="295402" cy="417265"/>
                <a:chOff x="10080983" y="5798796"/>
                <a:chExt cx="295402" cy="417265"/>
              </a:xfrm>
              <a:noFill/>
            </p:grpSpPr>
            <p:sp>
              <p:nvSpPr>
                <p:cNvPr id="61" name="Freeform 2025">
                  <a:extLst>
                    <a:ext uri="{FF2B5EF4-FFF2-40B4-BE49-F238E27FC236}">
                      <a16:creationId xmlns:a16="http://schemas.microsoft.com/office/drawing/2014/main" id="{C6A8376D-805E-30B5-2104-0DD28D66E9BF}"/>
                    </a:ext>
                  </a:extLst>
                </p:cNvPr>
                <p:cNvSpPr/>
                <p:nvPr/>
              </p:nvSpPr>
              <p:spPr>
                <a:xfrm>
                  <a:off x="10080983" y="5798796"/>
                  <a:ext cx="295402" cy="378761"/>
                </a:xfrm>
                <a:custGeom>
                  <a:avLst/>
                  <a:gdLst>
                    <a:gd name="connsiteX0" fmla="*/ 147701 w 295402"/>
                    <a:gd name="connsiteY0" fmla="*/ 40 h 378761"/>
                    <a:gd name="connsiteX1" fmla="*/ 0 w 295402"/>
                    <a:gd name="connsiteY1" fmla="*/ 144586 h 378761"/>
                    <a:gd name="connsiteX2" fmla="*/ 42921 w 295402"/>
                    <a:gd name="connsiteY2" fmla="*/ 244947 h 378761"/>
                    <a:gd name="connsiteX3" fmla="*/ 88999 w 295402"/>
                    <a:gd name="connsiteY3" fmla="*/ 336471 h 378761"/>
                    <a:gd name="connsiteX4" fmla="*/ 88999 w 295402"/>
                    <a:gd name="connsiteY4" fmla="*/ 358563 h 378761"/>
                    <a:gd name="connsiteX5" fmla="*/ 109198 w 295402"/>
                    <a:gd name="connsiteY5" fmla="*/ 378762 h 378761"/>
                    <a:gd name="connsiteX6" fmla="*/ 147701 w 295402"/>
                    <a:gd name="connsiteY6" fmla="*/ 378762 h 378761"/>
                    <a:gd name="connsiteX7" fmla="*/ 186205 w 295402"/>
                    <a:gd name="connsiteY7" fmla="*/ 378762 h 378761"/>
                    <a:gd name="connsiteX8" fmla="*/ 206403 w 295402"/>
                    <a:gd name="connsiteY8" fmla="*/ 358563 h 378761"/>
                    <a:gd name="connsiteX9" fmla="*/ 206403 w 295402"/>
                    <a:gd name="connsiteY9" fmla="*/ 336471 h 378761"/>
                    <a:gd name="connsiteX10" fmla="*/ 252481 w 295402"/>
                    <a:gd name="connsiteY10" fmla="*/ 244947 h 378761"/>
                    <a:gd name="connsiteX11" fmla="*/ 295402 w 295402"/>
                    <a:gd name="connsiteY11" fmla="*/ 144586 h 378761"/>
                    <a:gd name="connsiteX12" fmla="*/ 147701 w 295402"/>
                    <a:gd name="connsiteY12" fmla="*/ 40 h 378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5402" h="378761">
                      <a:moveTo>
                        <a:pt x="147701" y="40"/>
                      </a:moveTo>
                      <a:cubicBezTo>
                        <a:pt x="66276" y="-1853"/>
                        <a:pt x="0" y="63161"/>
                        <a:pt x="0" y="144586"/>
                      </a:cubicBezTo>
                      <a:cubicBezTo>
                        <a:pt x="0" y="184983"/>
                        <a:pt x="16411" y="215912"/>
                        <a:pt x="42921" y="244947"/>
                      </a:cubicBezTo>
                      <a:cubicBezTo>
                        <a:pt x="66907" y="270195"/>
                        <a:pt x="88999" y="299862"/>
                        <a:pt x="88999" y="336471"/>
                      </a:cubicBezTo>
                      <a:lnTo>
                        <a:pt x="88999" y="358563"/>
                      </a:lnTo>
                      <a:cubicBezTo>
                        <a:pt x="88999" y="369925"/>
                        <a:pt x="97836" y="378762"/>
                        <a:pt x="109198" y="378762"/>
                      </a:cubicBezTo>
                      <a:lnTo>
                        <a:pt x="147701" y="378762"/>
                      </a:lnTo>
                      <a:lnTo>
                        <a:pt x="186205" y="378762"/>
                      </a:lnTo>
                      <a:cubicBezTo>
                        <a:pt x="197566" y="378762"/>
                        <a:pt x="206403" y="369925"/>
                        <a:pt x="206403" y="358563"/>
                      </a:cubicBezTo>
                      <a:lnTo>
                        <a:pt x="206403" y="336471"/>
                      </a:lnTo>
                      <a:cubicBezTo>
                        <a:pt x="206403" y="299862"/>
                        <a:pt x="228495" y="270195"/>
                        <a:pt x="252481" y="244947"/>
                      </a:cubicBezTo>
                      <a:cubicBezTo>
                        <a:pt x="279622" y="216543"/>
                        <a:pt x="295402" y="185614"/>
                        <a:pt x="295402" y="144586"/>
                      </a:cubicBezTo>
                      <a:cubicBezTo>
                        <a:pt x="295402" y="63161"/>
                        <a:pt x="229126" y="-1853"/>
                        <a:pt x="147701" y="40"/>
                      </a:cubicBezTo>
                      <a:close/>
                    </a:path>
                  </a:pathLst>
                </a:custGeom>
                <a:noFill/>
                <a:ln w="22225" cap="rnd">
                  <a:solidFill>
                    <a:schemeClr val="tx2"/>
                  </a:solidFill>
                  <a:prstDash val="solid"/>
                  <a:round/>
                </a:ln>
              </p:spPr>
              <p:txBody>
                <a:bodyPr rtlCol="0" anchor="ctr"/>
                <a:lstStyle/>
                <a:p>
                  <a:endParaRPr lang="en-US"/>
                </a:p>
              </p:txBody>
            </p:sp>
            <p:sp>
              <p:nvSpPr>
                <p:cNvPr id="62" name="Freeform 2026">
                  <a:extLst>
                    <a:ext uri="{FF2B5EF4-FFF2-40B4-BE49-F238E27FC236}">
                      <a16:creationId xmlns:a16="http://schemas.microsoft.com/office/drawing/2014/main" id="{5928755F-E4F4-E8BC-15B5-ADD08A5F80D5}"/>
                    </a:ext>
                  </a:extLst>
                </p:cNvPr>
                <p:cNvSpPr/>
                <p:nvPr/>
              </p:nvSpPr>
              <p:spPr>
                <a:xfrm>
                  <a:off x="10197756" y="6178189"/>
                  <a:ext cx="61857" cy="37872"/>
                </a:xfrm>
                <a:custGeom>
                  <a:avLst/>
                  <a:gdLst>
                    <a:gd name="connsiteX0" fmla="*/ 61857 w 61857"/>
                    <a:gd name="connsiteY0" fmla="*/ 0 h 37872"/>
                    <a:gd name="connsiteX1" fmla="*/ 61857 w 61857"/>
                    <a:gd name="connsiteY1" fmla="*/ 6943 h 37872"/>
                    <a:gd name="connsiteX2" fmla="*/ 30928 w 61857"/>
                    <a:gd name="connsiteY2" fmla="*/ 37872 h 37872"/>
                    <a:gd name="connsiteX3" fmla="*/ 30928 w 61857"/>
                    <a:gd name="connsiteY3" fmla="*/ 37872 h 37872"/>
                    <a:gd name="connsiteX4" fmla="*/ 0 w 61857"/>
                    <a:gd name="connsiteY4" fmla="*/ 6943 h 37872"/>
                    <a:gd name="connsiteX5" fmla="*/ 0 w 61857"/>
                    <a:gd name="connsiteY5" fmla="*/ 0 h 37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857" h="37872">
                      <a:moveTo>
                        <a:pt x="61857" y="0"/>
                      </a:moveTo>
                      <a:lnTo>
                        <a:pt x="61857" y="6943"/>
                      </a:lnTo>
                      <a:cubicBezTo>
                        <a:pt x="61857" y="23986"/>
                        <a:pt x="47971" y="37872"/>
                        <a:pt x="30928" y="37872"/>
                      </a:cubicBezTo>
                      <a:lnTo>
                        <a:pt x="30928" y="37872"/>
                      </a:lnTo>
                      <a:cubicBezTo>
                        <a:pt x="13886" y="37872"/>
                        <a:pt x="0" y="23986"/>
                        <a:pt x="0" y="6943"/>
                      </a:cubicBezTo>
                      <a:lnTo>
                        <a:pt x="0" y="0"/>
                      </a:lnTo>
                    </a:path>
                  </a:pathLst>
                </a:custGeom>
                <a:noFill/>
                <a:ln w="22225" cap="rnd">
                  <a:solidFill>
                    <a:schemeClr val="tx2"/>
                  </a:solidFill>
                  <a:prstDash val="solid"/>
                  <a:round/>
                </a:ln>
              </p:spPr>
              <p:txBody>
                <a:bodyPr rtlCol="0" anchor="ctr"/>
                <a:lstStyle/>
                <a:p>
                  <a:endParaRPr lang="en-US"/>
                </a:p>
              </p:txBody>
            </p:sp>
            <p:sp>
              <p:nvSpPr>
                <p:cNvPr id="63" name="Freeform 2027">
                  <a:extLst>
                    <a:ext uri="{FF2B5EF4-FFF2-40B4-BE49-F238E27FC236}">
                      <a16:creationId xmlns:a16="http://schemas.microsoft.com/office/drawing/2014/main" id="{27344C9F-1D8F-0238-81E4-74E325DFA6C7}"/>
                    </a:ext>
                  </a:extLst>
                </p:cNvPr>
                <p:cNvSpPr/>
                <p:nvPr/>
              </p:nvSpPr>
              <p:spPr>
                <a:xfrm>
                  <a:off x="10166195" y="6106232"/>
                  <a:ext cx="123715" cy="6312"/>
                </a:xfrm>
                <a:custGeom>
                  <a:avLst/>
                  <a:gdLst>
                    <a:gd name="connsiteX0" fmla="*/ 0 w 123715"/>
                    <a:gd name="connsiteY0" fmla="*/ 0 h 6312"/>
                    <a:gd name="connsiteX1" fmla="*/ 123716 w 123715"/>
                    <a:gd name="connsiteY1" fmla="*/ 0 h 6312"/>
                  </a:gdLst>
                  <a:ahLst/>
                  <a:cxnLst>
                    <a:cxn ang="0">
                      <a:pos x="connsiteX0" y="connsiteY0"/>
                    </a:cxn>
                    <a:cxn ang="0">
                      <a:pos x="connsiteX1" y="connsiteY1"/>
                    </a:cxn>
                  </a:cxnLst>
                  <a:rect l="l" t="t" r="r" b="b"/>
                  <a:pathLst>
                    <a:path w="123715" h="6312">
                      <a:moveTo>
                        <a:pt x="0" y="0"/>
                      </a:moveTo>
                      <a:lnTo>
                        <a:pt x="123716" y="0"/>
                      </a:lnTo>
                    </a:path>
                  </a:pathLst>
                </a:custGeom>
                <a:ln w="22225" cap="rnd">
                  <a:solidFill>
                    <a:schemeClr val="tx2"/>
                  </a:solidFill>
                  <a:prstDash val="solid"/>
                  <a:round/>
                </a:ln>
              </p:spPr>
              <p:txBody>
                <a:bodyPr rtlCol="0" anchor="ctr"/>
                <a:lstStyle/>
                <a:p>
                  <a:endParaRPr lang="en-US"/>
                </a:p>
              </p:txBody>
            </p:sp>
          </p:grpSp>
          <p:grpSp>
            <p:nvGrpSpPr>
              <p:cNvPr id="53" name="Graphic 4">
                <a:extLst>
                  <a:ext uri="{FF2B5EF4-FFF2-40B4-BE49-F238E27FC236}">
                    <a16:creationId xmlns:a16="http://schemas.microsoft.com/office/drawing/2014/main" id="{C0D533EB-16AB-BB81-C82D-A01949E10D2B}"/>
                  </a:ext>
                </a:extLst>
              </p:cNvPr>
              <p:cNvGrpSpPr/>
              <p:nvPr/>
            </p:nvGrpSpPr>
            <p:grpSpPr>
              <a:xfrm>
                <a:off x="10180713" y="5987566"/>
                <a:ext cx="102886" cy="118666"/>
                <a:chOff x="10180713" y="5987566"/>
                <a:chExt cx="102886" cy="118666"/>
              </a:xfrm>
              <a:noFill/>
            </p:grpSpPr>
            <p:grpSp>
              <p:nvGrpSpPr>
                <p:cNvPr id="55" name="Graphic 4">
                  <a:extLst>
                    <a:ext uri="{FF2B5EF4-FFF2-40B4-BE49-F238E27FC236}">
                      <a16:creationId xmlns:a16="http://schemas.microsoft.com/office/drawing/2014/main" id="{25DFB555-0A8F-85A2-7AAB-2CD1AC019767}"/>
                    </a:ext>
                  </a:extLst>
                </p:cNvPr>
                <p:cNvGrpSpPr/>
                <p:nvPr/>
              </p:nvGrpSpPr>
              <p:grpSpPr>
                <a:xfrm>
                  <a:off x="10180713" y="5987566"/>
                  <a:ext cx="24617" cy="118666"/>
                  <a:chOff x="10180713" y="5987566"/>
                  <a:chExt cx="24617" cy="118666"/>
                </a:xfrm>
                <a:noFill/>
              </p:grpSpPr>
              <p:sp>
                <p:nvSpPr>
                  <p:cNvPr id="59" name="Freeform 2023">
                    <a:extLst>
                      <a:ext uri="{FF2B5EF4-FFF2-40B4-BE49-F238E27FC236}">
                        <a16:creationId xmlns:a16="http://schemas.microsoft.com/office/drawing/2014/main" id="{F160F708-DDE6-7B59-AE8D-9A34E365A8DA}"/>
                      </a:ext>
                    </a:extLst>
                  </p:cNvPr>
                  <p:cNvSpPr/>
                  <p:nvPr/>
                </p:nvSpPr>
                <p:spPr>
                  <a:xfrm>
                    <a:off x="10205330" y="6053211"/>
                    <a:ext cx="6312" cy="53021"/>
                  </a:xfrm>
                  <a:custGeom>
                    <a:avLst/>
                    <a:gdLst>
                      <a:gd name="connsiteX0" fmla="*/ 0 w 6312"/>
                      <a:gd name="connsiteY0" fmla="*/ 53021 h 53021"/>
                      <a:gd name="connsiteX1" fmla="*/ 0 w 6312"/>
                      <a:gd name="connsiteY1" fmla="*/ 0 h 53021"/>
                    </a:gdLst>
                    <a:ahLst/>
                    <a:cxnLst>
                      <a:cxn ang="0">
                        <a:pos x="connsiteX0" y="connsiteY0"/>
                      </a:cxn>
                      <a:cxn ang="0">
                        <a:pos x="connsiteX1" y="connsiteY1"/>
                      </a:cxn>
                    </a:cxnLst>
                    <a:rect l="l" t="t" r="r" b="b"/>
                    <a:pathLst>
                      <a:path w="6312" h="53021">
                        <a:moveTo>
                          <a:pt x="0" y="53021"/>
                        </a:moveTo>
                        <a:lnTo>
                          <a:pt x="0" y="0"/>
                        </a:lnTo>
                      </a:path>
                    </a:pathLst>
                  </a:custGeom>
                  <a:ln w="22225" cap="rnd">
                    <a:solidFill>
                      <a:schemeClr val="tx2"/>
                    </a:solidFill>
                    <a:prstDash val="solid"/>
                    <a:round/>
                  </a:ln>
                </p:spPr>
                <p:txBody>
                  <a:bodyPr rtlCol="0" anchor="ctr"/>
                  <a:lstStyle/>
                  <a:p>
                    <a:endParaRPr lang="en-US"/>
                  </a:p>
                </p:txBody>
              </p:sp>
              <p:sp>
                <p:nvSpPr>
                  <p:cNvPr id="60" name="Freeform 2024">
                    <a:extLst>
                      <a:ext uri="{FF2B5EF4-FFF2-40B4-BE49-F238E27FC236}">
                        <a16:creationId xmlns:a16="http://schemas.microsoft.com/office/drawing/2014/main" id="{3863868D-565F-8D0D-51CC-A17C91459F3C}"/>
                      </a:ext>
                    </a:extLst>
                  </p:cNvPr>
                  <p:cNvSpPr/>
                  <p:nvPr/>
                </p:nvSpPr>
                <p:spPr>
                  <a:xfrm>
                    <a:off x="10180713" y="5987566"/>
                    <a:ext cx="24617" cy="65644"/>
                  </a:xfrm>
                  <a:custGeom>
                    <a:avLst/>
                    <a:gdLst>
                      <a:gd name="connsiteX0" fmla="*/ 24617 w 24617"/>
                      <a:gd name="connsiteY0" fmla="*/ 65645 h 65644"/>
                      <a:gd name="connsiteX1" fmla="*/ 0 w 24617"/>
                      <a:gd name="connsiteY1" fmla="*/ 42922 h 65644"/>
                      <a:gd name="connsiteX2" fmla="*/ 0 w 24617"/>
                      <a:gd name="connsiteY2" fmla="*/ 0 h 65644"/>
                    </a:gdLst>
                    <a:ahLst/>
                    <a:cxnLst>
                      <a:cxn ang="0">
                        <a:pos x="connsiteX0" y="connsiteY0"/>
                      </a:cxn>
                      <a:cxn ang="0">
                        <a:pos x="connsiteX1" y="connsiteY1"/>
                      </a:cxn>
                      <a:cxn ang="0">
                        <a:pos x="connsiteX2" y="connsiteY2"/>
                      </a:cxn>
                    </a:cxnLst>
                    <a:rect l="l" t="t" r="r" b="b"/>
                    <a:pathLst>
                      <a:path w="24617" h="65644">
                        <a:moveTo>
                          <a:pt x="24617" y="65645"/>
                        </a:moveTo>
                        <a:lnTo>
                          <a:pt x="0" y="42922"/>
                        </a:lnTo>
                        <a:lnTo>
                          <a:pt x="0" y="0"/>
                        </a:lnTo>
                      </a:path>
                    </a:pathLst>
                  </a:custGeom>
                  <a:noFill/>
                  <a:ln w="22225" cap="rnd">
                    <a:solidFill>
                      <a:schemeClr val="tx2"/>
                    </a:solidFill>
                    <a:prstDash val="solid"/>
                    <a:round/>
                  </a:ln>
                </p:spPr>
                <p:txBody>
                  <a:bodyPr rtlCol="0" anchor="ctr"/>
                  <a:lstStyle/>
                  <a:p>
                    <a:endParaRPr lang="en-US"/>
                  </a:p>
                </p:txBody>
              </p:sp>
            </p:grpSp>
            <p:grpSp>
              <p:nvGrpSpPr>
                <p:cNvPr id="56" name="Graphic 4">
                  <a:extLst>
                    <a:ext uri="{FF2B5EF4-FFF2-40B4-BE49-F238E27FC236}">
                      <a16:creationId xmlns:a16="http://schemas.microsoft.com/office/drawing/2014/main" id="{4CE3D328-829A-2BD1-FD32-3DDD0529AFE7}"/>
                    </a:ext>
                  </a:extLst>
                </p:cNvPr>
                <p:cNvGrpSpPr/>
                <p:nvPr/>
              </p:nvGrpSpPr>
              <p:grpSpPr>
                <a:xfrm>
                  <a:off x="10258982" y="5987566"/>
                  <a:ext cx="24617" cy="118666"/>
                  <a:chOff x="10258982" y="5987566"/>
                  <a:chExt cx="24617" cy="118666"/>
                </a:xfrm>
                <a:noFill/>
              </p:grpSpPr>
              <p:sp>
                <p:nvSpPr>
                  <p:cNvPr id="57" name="Freeform 2021">
                    <a:extLst>
                      <a:ext uri="{FF2B5EF4-FFF2-40B4-BE49-F238E27FC236}">
                        <a16:creationId xmlns:a16="http://schemas.microsoft.com/office/drawing/2014/main" id="{F3310797-7CAA-3AB8-F3CA-A9BD5F88CCF3}"/>
                      </a:ext>
                    </a:extLst>
                  </p:cNvPr>
                  <p:cNvSpPr/>
                  <p:nvPr/>
                </p:nvSpPr>
                <p:spPr>
                  <a:xfrm>
                    <a:off x="10258982" y="6053211"/>
                    <a:ext cx="6312" cy="53021"/>
                  </a:xfrm>
                  <a:custGeom>
                    <a:avLst/>
                    <a:gdLst>
                      <a:gd name="connsiteX0" fmla="*/ 0 w 6312"/>
                      <a:gd name="connsiteY0" fmla="*/ 53021 h 53021"/>
                      <a:gd name="connsiteX1" fmla="*/ 0 w 6312"/>
                      <a:gd name="connsiteY1" fmla="*/ 0 h 53021"/>
                    </a:gdLst>
                    <a:ahLst/>
                    <a:cxnLst>
                      <a:cxn ang="0">
                        <a:pos x="connsiteX0" y="connsiteY0"/>
                      </a:cxn>
                      <a:cxn ang="0">
                        <a:pos x="connsiteX1" y="connsiteY1"/>
                      </a:cxn>
                    </a:cxnLst>
                    <a:rect l="l" t="t" r="r" b="b"/>
                    <a:pathLst>
                      <a:path w="6312" h="53021">
                        <a:moveTo>
                          <a:pt x="0" y="53021"/>
                        </a:moveTo>
                        <a:lnTo>
                          <a:pt x="0" y="0"/>
                        </a:lnTo>
                      </a:path>
                    </a:pathLst>
                  </a:custGeom>
                  <a:ln w="22225" cap="rnd">
                    <a:solidFill>
                      <a:schemeClr val="tx2"/>
                    </a:solidFill>
                    <a:prstDash val="solid"/>
                    <a:round/>
                  </a:ln>
                </p:spPr>
                <p:txBody>
                  <a:bodyPr rtlCol="0" anchor="ctr"/>
                  <a:lstStyle/>
                  <a:p>
                    <a:endParaRPr lang="en-US"/>
                  </a:p>
                </p:txBody>
              </p:sp>
              <p:sp>
                <p:nvSpPr>
                  <p:cNvPr id="58" name="Freeform 2022">
                    <a:extLst>
                      <a:ext uri="{FF2B5EF4-FFF2-40B4-BE49-F238E27FC236}">
                        <a16:creationId xmlns:a16="http://schemas.microsoft.com/office/drawing/2014/main" id="{8F4EECEF-8CF1-C935-AAB6-E093D54D56B0}"/>
                      </a:ext>
                    </a:extLst>
                  </p:cNvPr>
                  <p:cNvSpPr/>
                  <p:nvPr/>
                </p:nvSpPr>
                <p:spPr>
                  <a:xfrm>
                    <a:off x="10258982" y="5987566"/>
                    <a:ext cx="24617" cy="65644"/>
                  </a:xfrm>
                  <a:custGeom>
                    <a:avLst/>
                    <a:gdLst>
                      <a:gd name="connsiteX0" fmla="*/ 0 w 24617"/>
                      <a:gd name="connsiteY0" fmla="*/ 65645 h 65644"/>
                      <a:gd name="connsiteX1" fmla="*/ 24617 w 24617"/>
                      <a:gd name="connsiteY1" fmla="*/ 42922 h 65644"/>
                      <a:gd name="connsiteX2" fmla="*/ 24617 w 24617"/>
                      <a:gd name="connsiteY2" fmla="*/ 0 h 65644"/>
                    </a:gdLst>
                    <a:ahLst/>
                    <a:cxnLst>
                      <a:cxn ang="0">
                        <a:pos x="connsiteX0" y="connsiteY0"/>
                      </a:cxn>
                      <a:cxn ang="0">
                        <a:pos x="connsiteX1" y="connsiteY1"/>
                      </a:cxn>
                      <a:cxn ang="0">
                        <a:pos x="connsiteX2" y="connsiteY2"/>
                      </a:cxn>
                    </a:cxnLst>
                    <a:rect l="l" t="t" r="r" b="b"/>
                    <a:pathLst>
                      <a:path w="24617" h="65644">
                        <a:moveTo>
                          <a:pt x="0" y="65645"/>
                        </a:moveTo>
                        <a:lnTo>
                          <a:pt x="24617" y="42922"/>
                        </a:lnTo>
                        <a:lnTo>
                          <a:pt x="24617" y="0"/>
                        </a:lnTo>
                      </a:path>
                    </a:pathLst>
                  </a:custGeom>
                  <a:noFill/>
                  <a:ln w="22225" cap="rnd">
                    <a:solidFill>
                      <a:schemeClr val="tx2"/>
                    </a:solidFill>
                    <a:prstDash val="solid"/>
                    <a:round/>
                  </a:ln>
                </p:spPr>
                <p:txBody>
                  <a:bodyPr rtlCol="0" anchor="ctr"/>
                  <a:lstStyle/>
                  <a:p>
                    <a:endParaRPr lang="en-US"/>
                  </a:p>
                </p:txBody>
              </p:sp>
            </p:grpSp>
          </p:grpSp>
          <p:sp>
            <p:nvSpPr>
              <p:cNvPr id="54" name="Freeform 2018">
                <a:extLst>
                  <a:ext uri="{FF2B5EF4-FFF2-40B4-BE49-F238E27FC236}">
                    <a16:creationId xmlns:a16="http://schemas.microsoft.com/office/drawing/2014/main" id="{8790A8F5-A072-AA68-5C41-B3863E116214}"/>
                  </a:ext>
                </a:extLst>
              </p:cNvPr>
              <p:cNvSpPr/>
              <p:nvPr/>
            </p:nvSpPr>
            <p:spPr>
              <a:xfrm>
                <a:off x="10164933" y="6003346"/>
                <a:ext cx="133814" cy="6312"/>
              </a:xfrm>
              <a:custGeom>
                <a:avLst/>
                <a:gdLst>
                  <a:gd name="connsiteX0" fmla="*/ 0 w 133814"/>
                  <a:gd name="connsiteY0" fmla="*/ 0 h 6312"/>
                  <a:gd name="connsiteX1" fmla="*/ 133815 w 133814"/>
                  <a:gd name="connsiteY1" fmla="*/ 0 h 6312"/>
                </a:gdLst>
                <a:ahLst/>
                <a:cxnLst>
                  <a:cxn ang="0">
                    <a:pos x="connsiteX0" y="connsiteY0"/>
                  </a:cxn>
                  <a:cxn ang="0">
                    <a:pos x="connsiteX1" y="connsiteY1"/>
                  </a:cxn>
                </a:cxnLst>
                <a:rect l="l" t="t" r="r" b="b"/>
                <a:pathLst>
                  <a:path w="133814" h="6312">
                    <a:moveTo>
                      <a:pt x="0" y="0"/>
                    </a:moveTo>
                    <a:lnTo>
                      <a:pt x="133815" y="0"/>
                    </a:lnTo>
                  </a:path>
                </a:pathLst>
              </a:custGeom>
              <a:ln w="22225" cap="rnd">
                <a:solidFill>
                  <a:schemeClr val="tx2"/>
                </a:solidFill>
                <a:prstDash val="solid"/>
                <a:round/>
              </a:ln>
            </p:spPr>
            <p:txBody>
              <a:bodyPr rtlCol="0" anchor="ctr"/>
              <a:lstStyle/>
              <a:p>
                <a:endParaRPr lang="en-US"/>
              </a:p>
            </p:txBody>
          </p:sp>
        </p:grpSp>
        <p:sp>
          <p:nvSpPr>
            <p:cNvPr id="21" name="Freeform 2009">
              <a:extLst>
                <a:ext uri="{FF2B5EF4-FFF2-40B4-BE49-F238E27FC236}">
                  <a16:creationId xmlns:a16="http://schemas.microsoft.com/office/drawing/2014/main" id="{7CD76C3E-7B99-D3C6-2789-C6EF4EBF8B00}"/>
                </a:ext>
              </a:extLst>
            </p:cNvPr>
            <p:cNvSpPr/>
            <p:nvPr/>
          </p:nvSpPr>
          <p:spPr>
            <a:xfrm>
              <a:off x="10228053" y="5706049"/>
              <a:ext cx="6312" cy="49233"/>
            </a:xfrm>
            <a:custGeom>
              <a:avLst/>
              <a:gdLst>
                <a:gd name="connsiteX0" fmla="*/ 0 w 6312"/>
                <a:gd name="connsiteY0" fmla="*/ 49234 h 49233"/>
                <a:gd name="connsiteX1" fmla="*/ 0 w 6312"/>
                <a:gd name="connsiteY1" fmla="*/ 0 h 49233"/>
              </a:gdLst>
              <a:ahLst/>
              <a:cxnLst>
                <a:cxn ang="0">
                  <a:pos x="connsiteX0" y="connsiteY0"/>
                </a:cxn>
                <a:cxn ang="0">
                  <a:pos x="connsiteX1" y="connsiteY1"/>
                </a:cxn>
              </a:cxnLst>
              <a:rect l="l" t="t" r="r" b="b"/>
              <a:pathLst>
                <a:path w="6312" h="49233">
                  <a:moveTo>
                    <a:pt x="0" y="49234"/>
                  </a:moveTo>
                  <a:lnTo>
                    <a:pt x="0" y="0"/>
                  </a:lnTo>
                </a:path>
              </a:pathLst>
            </a:custGeom>
            <a:ln w="22225" cap="rnd">
              <a:solidFill>
                <a:schemeClr val="tx2"/>
              </a:solidFill>
              <a:prstDash val="solid"/>
              <a:round/>
            </a:ln>
          </p:spPr>
          <p:txBody>
            <a:bodyPr rtlCol="0" anchor="ctr"/>
            <a:lstStyle/>
            <a:p>
              <a:endParaRPr lang="en-US"/>
            </a:p>
          </p:txBody>
        </p:sp>
        <p:sp>
          <p:nvSpPr>
            <p:cNvPr id="22" name="Freeform 2010">
              <a:extLst>
                <a:ext uri="{FF2B5EF4-FFF2-40B4-BE49-F238E27FC236}">
                  <a16:creationId xmlns:a16="http://schemas.microsoft.com/office/drawing/2014/main" id="{93FA4973-CDED-7A34-F554-544F5E862468}"/>
                </a:ext>
              </a:extLst>
            </p:cNvPr>
            <p:cNvSpPr/>
            <p:nvPr/>
          </p:nvSpPr>
          <p:spPr>
            <a:xfrm>
              <a:off x="10092344" y="5743290"/>
              <a:ext cx="24616" cy="42290"/>
            </a:xfrm>
            <a:custGeom>
              <a:avLst/>
              <a:gdLst>
                <a:gd name="connsiteX0" fmla="*/ 24617 w 24616"/>
                <a:gd name="connsiteY0" fmla="*/ 42291 h 42290"/>
                <a:gd name="connsiteX1" fmla="*/ 0 w 24616"/>
                <a:gd name="connsiteY1" fmla="*/ 0 h 42290"/>
              </a:gdLst>
              <a:ahLst/>
              <a:cxnLst>
                <a:cxn ang="0">
                  <a:pos x="connsiteX0" y="connsiteY0"/>
                </a:cxn>
                <a:cxn ang="0">
                  <a:pos x="connsiteX1" y="connsiteY1"/>
                </a:cxn>
              </a:cxnLst>
              <a:rect l="l" t="t" r="r" b="b"/>
              <a:pathLst>
                <a:path w="24616" h="42290">
                  <a:moveTo>
                    <a:pt x="24617" y="42291"/>
                  </a:moveTo>
                  <a:lnTo>
                    <a:pt x="0" y="0"/>
                  </a:lnTo>
                </a:path>
              </a:pathLst>
            </a:custGeom>
            <a:ln w="22225" cap="rnd">
              <a:solidFill>
                <a:schemeClr val="tx2"/>
              </a:solidFill>
              <a:prstDash val="solid"/>
              <a:round/>
            </a:ln>
          </p:spPr>
          <p:txBody>
            <a:bodyPr rtlCol="0" anchor="ctr"/>
            <a:lstStyle/>
            <a:p>
              <a:endParaRPr lang="en-US"/>
            </a:p>
          </p:txBody>
        </p:sp>
        <p:sp>
          <p:nvSpPr>
            <p:cNvPr id="23" name="Freeform 2011">
              <a:extLst>
                <a:ext uri="{FF2B5EF4-FFF2-40B4-BE49-F238E27FC236}">
                  <a16:creationId xmlns:a16="http://schemas.microsoft.com/office/drawing/2014/main" id="{F1A1A239-C3BC-2719-AB87-5C18DB86B3D0}"/>
                </a:ext>
              </a:extLst>
            </p:cNvPr>
            <p:cNvSpPr/>
            <p:nvPr/>
          </p:nvSpPr>
          <p:spPr>
            <a:xfrm>
              <a:off x="10092344" y="5743290"/>
              <a:ext cx="24616" cy="42290"/>
            </a:xfrm>
            <a:custGeom>
              <a:avLst/>
              <a:gdLst>
                <a:gd name="connsiteX0" fmla="*/ 24617 w 24616"/>
                <a:gd name="connsiteY0" fmla="*/ 42291 h 42290"/>
                <a:gd name="connsiteX1" fmla="*/ 0 w 24616"/>
                <a:gd name="connsiteY1" fmla="*/ 0 h 42290"/>
              </a:gdLst>
              <a:ahLst/>
              <a:cxnLst>
                <a:cxn ang="0">
                  <a:pos x="connsiteX0" y="connsiteY0"/>
                </a:cxn>
                <a:cxn ang="0">
                  <a:pos x="connsiteX1" y="connsiteY1"/>
                </a:cxn>
              </a:cxnLst>
              <a:rect l="l" t="t" r="r" b="b"/>
              <a:pathLst>
                <a:path w="24616" h="42290">
                  <a:moveTo>
                    <a:pt x="24617" y="42291"/>
                  </a:moveTo>
                  <a:lnTo>
                    <a:pt x="0" y="0"/>
                  </a:lnTo>
                </a:path>
              </a:pathLst>
            </a:custGeom>
            <a:ln w="22225" cap="rnd">
              <a:solidFill>
                <a:schemeClr val="tx2"/>
              </a:solidFill>
              <a:prstDash val="solid"/>
              <a:round/>
            </a:ln>
          </p:spPr>
          <p:txBody>
            <a:bodyPr rtlCol="0" anchor="ctr"/>
            <a:lstStyle/>
            <a:p>
              <a:endParaRPr lang="en-US"/>
            </a:p>
          </p:txBody>
        </p:sp>
        <p:sp>
          <p:nvSpPr>
            <p:cNvPr id="24" name="Freeform 2012">
              <a:extLst>
                <a:ext uri="{FF2B5EF4-FFF2-40B4-BE49-F238E27FC236}">
                  <a16:creationId xmlns:a16="http://schemas.microsoft.com/office/drawing/2014/main" id="{9846804A-68B4-F010-FE3F-B25B6D70711C}"/>
                </a:ext>
              </a:extLst>
            </p:cNvPr>
            <p:cNvSpPr/>
            <p:nvPr/>
          </p:nvSpPr>
          <p:spPr>
            <a:xfrm>
              <a:off x="9993877" y="5843651"/>
              <a:ext cx="42921" cy="24616"/>
            </a:xfrm>
            <a:custGeom>
              <a:avLst/>
              <a:gdLst>
                <a:gd name="connsiteX0" fmla="*/ 42922 w 42921"/>
                <a:gd name="connsiteY0" fmla="*/ 24617 h 24616"/>
                <a:gd name="connsiteX1" fmla="*/ 0 w 42921"/>
                <a:gd name="connsiteY1" fmla="*/ 0 h 24616"/>
              </a:gdLst>
              <a:ahLst/>
              <a:cxnLst>
                <a:cxn ang="0">
                  <a:pos x="connsiteX0" y="connsiteY0"/>
                </a:cxn>
                <a:cxn ang="0">
                  <a:pos x="connsiteX1" y="connsiteY1"/>
                </a:cxn>
              </a:cxnLst>
              <a:rect l="l" t="t" r="r" b="b"/>
              <a:pathLst>
                <a:path w="42921" h="24616">
                  <a:moveTo>
                    <a:pt x="42922" y="24617"/>
                  </a:moveTo>
                  <a:lnTo>
                    <a:pt x="0" y="0"/>
                  </a:lnTo>
                </a:path>
              </a:pathLst>
            </a:custGeom>
            <a:ln w="22225" cap="rnd">
              <a:solidFill>
                <a:schemeClr val="tx2"/>
              </a:solidFill>
              <a:prstDash val="solid"/>
              <a:round/>
            </a:ln>
          </p:spPr>
          <p:txBody>
            <a:bodyPr rtlCol="0" anchor="ctr"/>
            <a:lstStyle/>
            <a:p>
              <a:endParaRPr lang="en-US"/>
            </a:p>
          </p:txBody>
        </p:sp>
        <p:sp>
          <p:nvSpPr>
            <p:cNvPr id="25" name="Freeform 2013">
              <a:extLst>
                <a:ext uri="{FF2B5EF4-FFF2-40B4-BE49-F238E27FC236}">
                  <a16:creationId xmlns:a16="http://schemas.microsoft.com/office/drawing/2014/main" id="{FE8C889F-2F1E-2D33-53BC-29C55E49113B}"/>
                </a:ext>
              </a:extLst>
            </p:cNvPr>
            <p:cNvSpPr/>
            <p:nvPr/>
          </p:nvSpPr>
          <p:spPr>
            <a:xfrm>
              <a:off x="9993877" y="5843651"/>
              <a:ext cx="42921" cy="24616"/>
            </a:xfrm>
            <a:custGeom>
              <a:avLst/>
              <a:gdLst>
                <a:gd name="connsiteX0" fmla="*/ 42922 w 42921"/>
                <a:gd name="connsiteY0" fmla="*/ 24617 h 24616"/>
                <a:gd name="connsiteX1" fmla="*/ 0 w 42921"/>
                <a:gd name="connsiteY1" fmla="*/ 0 h 24616"/>
              </a:gdLst>
              <a:ahLst/>
              <a:cxnLst>
                <a:cxn ang="0">
                  <a:pos x="connsiteX0" y="connsiteY0"/>
                </a:cxn>
                <a:cxn ang="0">
                  <a:pos x="connsiteX1" y="connsiteY1"/>
                </a:cxn>
              </a:cxnLst>
              <a:rect l="l" t="t" r="r" b="b"/>
              <a:pathLst>
                <a:path w="42921" h="24616">
                  <a:moveTo>
                    <a:pt x="42922" y="24617"/>
                  </a:moveTo>
                  <a:lnTo>
                    <a:pt x="0" y="0"/>
                  </a:lnTo>
                </a:path>
              </a:pathLst>
            </a:custGeom>
            <a:ln w="22225" cap="rnd">
              <a:solidFill>
                <a:schemeClr val="tx2"/>
              </a:solidFill>
              <a:prstDash val="solid"/>
              <a:round/>
            </a:ln>
          </p:spPr>
          <p:txBody>
            <a:bodyPr rtlCol="0" anchor="ctr"/>
            <a:lstStyle/>
            <a:p>
              <a:endParaRPr lang="en-US"/>
            </a:p>
          </p:txBody>
        </p:sp>
        <p:sp>
          <p:nvSpPr>
            <p:cNvPr id="50" name="Freeform 2014">
              <a:extLst>
                <a:ext uri="{FF2B5EF4-FFF2-40B4-BE49-F238E27FC236}">
                  <a16:creationId xmlns:a16="http://schemas.microsoft.com/office/drawing/2014/main" id="{6D22BEBC-1DDD-9FED-0933-FB6F84A12F25}"/>
                </a:ext>
              </a:extLst>
            </p:cNvPr>
            <p:cNvSpPr/>
            <p:nvPr/>
          </p:nvSpPr>
          <p:spPr>
            <a:xfrm>
              <a:off x="10421832" y="5839864"/>
              <a:ext cx="42921" cy="24616"/>
            </a:xfrm>
            <a:custGeom>
              <a:avLst/>
              <a:gdLst>
                <a:gd name="connsiteX0" fmla="*/ 0 w 42921"/>
                <a:gd name="connsiteY0" fmla="*/ 24617 h 24616"/>
                <a:gd name="connsiteX1" fmla="*/ 42922 w 42921"/>
                <a:gd name="connsiteY1" fmla="*/ 0 h 24616"/>
              </a:gdLst>
              <a:ahLst/>
              <a:cxnLst>
                <a:cxn ang="0">
                  <a:pos x="connsiteX0" y="connsiteY0"/>
                </a:cxn>
                <a:cxn ang="0">
                  <a:pos x="connsiteX1" y="connsiteY1"/>
                </a:cxn>
              </a:cxnLst>
              <a:rect l="l" t="t" r="r" b="b"/>
              <a:pathLst>
                <a:path w="42921" h="24616">
                  <a:moveTo>
                    <a:pt x="0" y="24617"/>
                  </a:moveTo>
                  <a:lnTo>
                    <a:pt x="42922" y="0"/>
                  </a:lnTo>
                </a:path>
              </a:pathLst>
            </a:custGeom>
            <a:ln w="22225" cap="rnd">
              <a:solidFill>
                <a:schemeClr val="tx2"/>
              </a:solidFill>
              <a:prstDash val="solid"/>
              <a:round/>
            </a:ln>
          </p:spPr>
          <p:txBody>
            <a:bodyPr rtlCol="0" anchor="ctr"/>
            <a:lstStyle/>
            <a:p>
              <a:endParaRPr lang="en-US"/>
            </a:p>
          </p:txBody>
        </p:sp>
        <p:sp>
          <p:nvSpPr>
            <p:cNvPr id="51" name="Freeform 2015">
              <a:extLst>
                <a:ext uri="{FF2B5EF4-FFF2-40B4-BE49-F238E27FC236}">
                  <a16:creationId xmlns:a16="http://schemas.microsoft.com/office/drawing/2014/main" id="{5DC739BB-3A4D-F664-98DF-E26AA32C5872}"/>
                </a:ext>
              </a:extLst>
            </p:cNvPr>
            <p:cNvSpPr/>
            <p:nvPr/>
          </p:nvSpPr>
          <p:spPr>
            <a:xfrm>
              <a:off x="10339776" y="5741397"/>
              <a:ext cx="24616" cy="42290"/>
            </a:xfrm>
            <a:custGeom>
              <a:avLst/>
              <a:gdLst>
                <a:gd name="connsiteX0" fmla="*/ 0 w 24616"/>
                <a:gd name="connsiteY0" fmla="*/ 42291 h 42290"/>
                <a:gd name="connsiteX1" fmla="*/ 24617 w 24616"/>
                <a:gd name="connsiteY1" fmla="*/ 0 h 42290"/>
              </a:gdLst>
              <a:ahLst/>
              <a:cxnLst>
                <a:cxn ang="0">
                  <a:pos x="connsiteX0" y="connsiteY0"/>
                </a:cxn>
                <a:cxn ang="0">
                  <a:pos x="connsiteX1" y="connsiteY1"/>
                </a:cxn>
              </a:cxnLst>
              <a:rect l="l" t="t" r="r" b="b"/>
              <a:pathLst>
                <a:path w="24616" h="42290">
                  <a:moveTo>
                    <a:pt x="0" y="42291"/>
                  </a:moveTo>
                  <a:lnTo>
                    <a:pt x="24617" y="0"/>
                  </a:lnTo>
                </a:path>
              </a:pathLst>
            </a:custGeom>
            <a:ln w="22225" cap="rnd">
              <a:solidFill>
                <a:schemeClr val="tx2"/>
              </a:solidFill>
              <a:prstDash val="solid"/>
              <a:round/>
            </a:ln>
          </p:spPr>
          <p:txBody>
            <a:bodyPr rtlCol="0" anchor="ctr"/>
            <a:lstStyle/>
            <a:p>
              <a:endParaRPr lang="en-US"/>
            </a:p>
          </p:txBody>
        </p:sp>
      </p:grpSp>
      <p:pic>
        <p:nvPicPr>
          <p:cNvPr id="65" name="Graphic 64" descr="Shield Tick outline">
            <a:extLst>
              <a:ext uri="{FF2B5EF4-FFF2-40B4-BE49-F238E27FC236}">
                <a16:creationId xmlns:a16="http://schemas.microsoft.com/office/drawing/2014/main" id="{0E74F95C-283C-A5AB-BE58-68F8135507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43764" y="2220533"/>
            <a:ext cx="555201" cy="555201"/>
          </a:xfrm>
          <a:prstGeom prst="rect">
            <a:avLst/>
          </a:prstGeom>
        </p:spPr>
      </p:pic>
      <p:grpSp>
        <p:nvGrpSpPr>
          <p:cNvPr id="66" name="Graphic 4">
            <a:extLst>
              <a:ext uri="{FF2B5EF4-FFF2-40B4-BE49-F238E27FC236}">
                <a16:creationId xmlns:a16="http://schemas.microsoft.com/office/drawing/2014/main" id="{C52108D1-1AE2-127E-2681-105A61DB7F6C}"/>
              </a:ext>
            </a:extLst>
          </p:cNvPr>
          <p:cNvGrpSpPr/>
          <p:nvPr/>
        </p:nvGrpSpPr>
        <p:grpSpPr>
          <a:xfrm>
            <a:off x="4672362" y="3064825"/>
            <a:ext cx="636148" cy="403881"/>
            <a:chOff x="1709342" y="4051667"/>
            <a:chExt cx="728407" cy="471508"/>
          </a:xfrm>
          <a:solidFill>
            <a:schemeClr val="tx2"/>
          </a:solidFill>
        </p:grpSpPr>
        <p:grpSp>
          <p:nvGrpSpPr>
            <p:cNvPr id="67" name="Graphic 4">
              <a:extLst>
                <a:ext uri="{FF2B5EF4-FFF2-40B4-BE49-F238E27FC236}">
                  <a16:creationId xmlns:a16="http://schemas.microsoft.com/office/drawing/2014/main" id="{6EA58F86-A884-7B76-AAA1-6C1B68802B7E}"/>
                </a:ext>
              </a:extLst>
            </p:cNvPr>
            <p:cNvGrpSpPr/>
            <p:nvPr/>
          </p:nvGrpSpPr>
          <p:grpSpPr>
            <a:xfrm>
              <a:off x="1840001" y="4051667"/>
              <a:ext cx="597748" cy="471508"/>
              <a:chOff x="1840001" y="4051667"/>
              <a:chExt cx="597748" cy="471508"/>
            </a:xfrm>
            <a:grpFill/>
          </p:grpSpPr>
          <p:grpSp>
            <p:nvGrpSpPr>
              <p:cNvPr id="75" name="Graphic 4">
                <a:extLst>
                  <a:ext uri="{FF2B5EF4-FFF2-40B4-BE49-F238E27FC236}">
                    <a16:creationId xmlns:a16="http://schemas.microsoft.com/office/drawing/2014/main" id="{926F1C1B-22BB-7CCB-6706-BBC853EE22B1}"/>
                  </a:ext>
                </a:extLst>
              </p:cNvPr>
              <p:cNvGrpSpPr/>
              <p:nvPr/>
            </p:nvGrpSpPr>
            <p:grpSpPr>
              <a:xfrm>
                <a:off x="1840001" y="4051667"/>
                <a:ext cx="597748" cy="471508"/>
                <a:chOff x="1840001" y="4051667"/>
                <a:chExt cx="597748" cy="471508"/>
              </a:xfrm>
              <a:grpFill/>
            </p:grpSpPr>
            <p:sp>
              <p:nvSpPr>
                <p:cNvPr id="87" name="Freeform 1364">
                  <a:extLst>
                    <a:ext uri="{FF2B5EF4-FFF2-40B4-BE49-F238E27FC236}">
                      <a16:creationId xmlns:a16="http://schemas.microsoft.com/office/drawing/2014/main" id="{7ACED2A9-9C2C-3AF3-18C5-B6C4164FC0F3}"/>
                    </a:ext>
                  </a:extLst>
                </p:cNvPr>
                <p:cNvSpPr/>
                <p:nvPr/>
              </p:nvSpPr>
              <p:spPr>
                <a:xfrm>
                  <a:off x="1840001" y="4051667"/>
                  <a:ext cx="597748" cy="403969"/>
                </a:xfrm>
                <a:custGeom>
                  <a:avLst/>
                  <a:gdLst>
                    <a:gd name="connsiteX0" fmla="*/ 545990 w 597748"/>
                    <a:gd name="connsiteY0" fmla="*/ 403970 h 403969"/>
                    <a:gd name="connsiteX1" fmla="*/ 123716 w 597748"/>
                    <a:gd name="connsiteY1" fmla="*/ 403970 h 403969"/>
                    <a:gd name="connsiteX2" fmla="*/ 116141 w 597748"/>
                    <a:gd name="connsiteY2" fmla="*/ 396395 h 403969"/>
                    <a:gd name="connsiteX3" fmla="*/ 123716 w 597748"/>
                    <a:gd name="connsiteY3" fmla="*/ 388821 h 403969"/>
                    <a:gd name="connsiteX4" fmla="*/ 545990 w 597748"/>
                    <a:gd name="connsiteY4" fmla="*/ 388821 h 403969"/>
                    <a:gd name="connsiteX5" fmla="*/ 582600 w 597748"/>
                    <a:gd name="connsiteY5" fmla="*/ 352211 h 403969"/>
                    <a:gd name="connsiteX6" fmla="*/ 582600 w 597748"/>
                    <a:gd name="connsiteY6" fmla="*/ 51759 h 403969"/>
                    <a:gd name="connsiteX7" fmla="*/ 545990 w 597748"/>
                    <a:gd name="connsiteY7" fmla="*/ 15149 h 403969"/>
                    <a:gd name="connsiteX8" fmla="*/ 51759 w 597748"/>
                    <a:gd name="connsiteY8" fmla="*/ 15149 h 403969"/>
                    <a:gd name="connsiteX9" fmla="*/ 15149 w 597748"/>
                    <a:gd name="connsiteY9" fmla="*/ 51759 h 403969"/>
                    <a:gd name="connsiteX10" fmla="*/ 15149 w 597748"/>
                    <a:gd name="connsiteY10" fmla="*/ 200722 h 403969"/>
                    <a:gd name="connsiteX11" fmla="*/ 7574 w 597748"/>
                    <a:gd name="connsiteY11" fmla="*/ 208297 h 403969"/>
                    <a:gd name="connsiteX12" fmla="*/ 0 w 597748"/>
                    <a:gd name="connsiteY12" fmla="*/ 200722 h 403969"/>
                    <a:gd name="connsiteX13" fmla="*/ 0 w 597748"/>
                    <a:gd name="connsiteY13" fmla="*/ 51759 h 403969"/>
                    <a:gd name="connsiteX14" fmla="*/ 51759 w 597748"/>
                    <a:gd name="connsiteY14" fmla="*/ 0 h 403969"/>
                    <a:gd name="connsiteX15" fmla="*/ 545990 w 597748"/>
                    <a:gd name="connsiteY15" fmla="*/ 0 h 403969"/>
                    <a:gd name="connsiteX16" fmla="*/ 597749 w 597748"/>
                    <a:gd name="connsiteY16" fmla="*/ 51759 h 403969"/>
                    <a:gd name="connsiteX17" fmla="*/ 597749 w 597748"/>
                    <a:gd name="connsiteY17" fmla="*/ 352211 h 403969"/>
                    <a:gd name="connsiteX18" fmla="*/ 545990 w 597748"/>
                    <a:gd name="connsiteY18" fmla="*/ 403970 h 40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7748" h="403969">
                      <a:moveTo>
                        <a:pt x="545990" y="403970"/>
                      </a:moveTo>
                      <a:lnTo>
                        <a:pt x="123716" y="403970"/>
                      </a:lnTo>
                      <a:cubicBezTo>
                        <a:pt x="119297" y="403970"/>
                        <a:pt x="116141" y="400814"/>
                        <a:pt x="116141" y="396395"/>
                      </a:cubicBezTo>
                      <a:cubicBezTo>
                        <a:pt x="116141" y="391977"/>
                        <a:pt x="119297" y="388821"/>
                        <a:pt x="123716" y="388821"/>
                      </a:cubicBezTo>
                      <a:lnTo>
                        <a:pt x="545990" y="388821"/>
                      </a:lnTo>
                      <a:cubicBezTo>
                        <a:pt x="566189" y="388821"/>
                        <a:pt x="582600" y="372410"/>
                        <a:pt x="582600" y="352211"/>
                      </a:cubicBezTo>
                      <a:lnTo>
                        <a:pt x="582600" y="51759"/>
                      </a:lnTo>
                      <a:cubicBezTo>
                        <a:pt x="582600" y="31560"/>
                        <a:pt x="566189" y="15149"/>
                        <a:pt x="545990" y="15149"/>
                      </a:cubicBezTo>
                      <a:lnTo>
                        <a:pt x="51759" y="15149"/>
                      </a:lnTo>
                      <a:cubicBezTo>
                        <a:pt x="31560" y="15149"/>
                        <a:pt x="15149" y="31560"/>
                        <a:pt x="15149" y="51759"/>
                      </a:cubicBezTo>
                      <a:lnTo>
                        <a:pt x="15149" y="200722"/>
                      </a:lnTo>
                      <a:cubicBezTo>
                        <a:pt x="15149" y="205141"/>
                        <a:pt x="11993" y="208297"/>
                        <a:pt x="7574" y="208297"/>
                      </a:cubicBezTo>
                      <a:cubicBezTo>
                        <a:pt x="3156" y="208297"/>
                        <a:pt x="0" y="205141"/>
                        <a:pt x="0" y="200722"/>
                      </a:cubicBezTo>
                      <a:lnTo>
                        <a:pt x="0" y="51759"/>
                      </a:lnTo>
                      <a:cubicBezTo>
                        <a:pt x="0" y="23355"/>
                        <a:pt x="23354" y="0"/>
                        <a:pt x="51759" y="0"/>
                      </a:cubicBezTo>
                      <a:lnTo>
                        <a:pt x="545990" y="0"/>
                      </a:lnTo>
                      <a:cubicBezTo>
                        <a:pt x="574394" y="0"/>
                        <a:pt x="597749" y="23355"/>
                        <a:pt x="597749" y="51759"/>
                      </a:cubicBezTo>
                      <a:lnTo>
                        <a:pt x="597749" y="352211"/>
                      </a:lnTo>
                      <a:cubicBezTo>
                        <a:pt x="597749" y="381247"/>
                        <a:pt x="575025" y="403970"/>
                        <a:pt x="545990" y="403970"/>
                      </a:cubicBezTo>
                      <a:close/>
                    </a:path>
                  </a:pathLst>
                </a:custGeom>
                <a:grpFill/>
                <a:ln w="3175" cap="flat">
                  <a:solidFill>
                    <a:schemeClr val="tx2"/>
                  </a:solidFill>
                  <a:prstDash val="solid"/>
                  <a:miter/>
                </a:ln>
              </p:spPr>
              <p:txBody>
                <a:bodyPr rtlCol="0" anchor="ctr"/>
                <a:lstStyle/>
                <a:p>
                  <a:endParaRPr lang="en-US"/>
                </a:p>
              </p:txBody>
            </p:sp>
            <p:sp>
              <p:nvSpPr>
                <p:cNvPr id="88" name="Freeform 1365">
                  <a:extLst>
                    <a:ext uri="{FF2B5EF4-FFF2-40B4-BE49-F238E27FC236}">
                      <a16:creationId xmlns:a16="http://schemas.microsoft.com/office/drawing/2014/main" id="{3892B77D-F368-0384-0005-00B290CFC284}"/>
                    </a:ext>
                  </a:extLst>
                </p:cNvPr>
                <p:cNvSpPr/>
                <p:nvPr/>
              </p:nvSpPr>
              <p:spPr>
                <a:xfrm>
                  <a:off x="2100056" y="4440488"/>
                  <a:ext cx="78269" cy="82687"/>
                </a:xfrm>
                <a:custGeom>
                  <a:avLst/>
                  <a:gdLst>
                    <a:gd name="connsiteX0" fmla="*/ 70695 w 78269"/>
                    <a:gd name="connsiteY0" fmla="*/ 82688 h 82687"/>
                    <a:gd name="connsiteX1" fmla="*/ 7575 w 78269"/>
                    <a:gd name="connsiteY1" fmla="*/ 82688 h 82687"/>
                    <a:gd name="connsiteX2" fmla="*/ 0 w 78269"/>
                    <a:gd name="connsiteY2" fmla="*/ 75113 h 82687"/>
                    <a:gd name="connsiteX3" fmla="*/ 0 w 78269"/>
                    <a:gd name="connsiteY3" fmla="*/ 7575 h 82687"/>
                    <a:gd name="connsiteX4" fmla="*/ 7575 w 78269"/>
                    <a:gd name="connsiteY4" fmla="*/ 0 h 82687"/>
                    <a:gd name="connsiteX5" fmla="*/ 70695 w 78269"/>
                    <a:gd name="connsiteY5" fmla="*/ 0 h 82687"/>
                    <a:gd name="connsiteX6" fmla="*/ 78269 w 78269"/>
                    <a:gd name="connsiteY6" fmla="*/ 7575 h 82687"/>
                    <a:gd name="connsiteX7" fmla="*/ 78269 w 78269"/>
                    <a:gd name="connsiteY7" fmla="*/ 75113 h 82687"/>
                    <a:gd name="connsiteX8" fmla="*/ 70695 w 78269"/>
                    <a:gd name="connsiteY8" fmla="*/ 82688 h 82687"/>
                    <a:gd name="connsiteX9" fmla="*/ 15149 w 78269"/>
                    <a:gd name="connsiteY9" fmla="*/ 67539 h 82687"/>
                    <a:gd name="connsiteX10" fmla="*/ 62489 w 78269"/>
                    <a:gd name="connsiteY10" fmla="*/ 67539 h 82687"/>
                    <a:gd name="connsiteX11" fmla="*/ 62489 w 78269"/>
                    <a:gd name="connsiteY11" fmla="*/ 15780 h 82687"/>
                    <a:gd name="connsiteX12" fmla="*/ 15149 w 78269"/>
                    <a:gd name="connsiteY12" fmla="*/ 15780 h 82687"/>
                    <a:gd name="connsiteX13" fmla="*/ 15149 w 78269"/>
                    <a:gd name="connsiteY13" fmla="*/ 67539 h 82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269" h="82687">
                      <a:moveTo>
                        <a:pt x="70695" y="82688"/>
                      </a:moveTo>
                      <a:lnTo>
                        <a:pt x="7575" y="82688"/>
                      </a:lnTo>
                      <a:cubicBezTo>
                        <a:pt x="3156" y="82688"/>
                        <a:pt x="0" y="79532"/>
                        <a:pt x="0" y="75113"/>
                      </a:cubicBezTo>
                      <a:lnTo>
                        <a:pt x="0" y="7575"/>
                      </a:lnTo>
                      <a:cubicBezTo>
                        <a:pt x="0" y="3156"/>
                        <a:pt x="3156" y="0"/>
                        <a:pt x="7575" y="0"/>
                      </a:cubicBezTo>
                      <a:lnTo>
                        <a:pt x="70695" y="0"/>
                      </a:lnTo>
                      <a:cubicBezTo>
                        <a:pt x="75113" y="0"/>
                        <a:pt x="78269" y="3156"/>
                        <a:pt x="78269" y="7575"/>
                      </a:cubicBezTo>
                      <a:lnTo>
                        <a:pt x="78269" y="75113"/>
                      </a:lnTo>
                      <a:cubicBezTo>
                        <a:pt x="78269" y="79532"/>
                        <a:pt x="74482" y="82688"/>
                        <a:pt x="70695" y="82688"/>
                      </a:cubicBezTo>
                      <a:close/>
                      <a:moveTo>
                        <a:pt x="15149" y="67539"/>
                      </a:moveTo>
                      <a:lnTo>
                        <a:pt x="62489" y="67539"/>
                      </a:lnTo>
                      <a:lnTo>
                        <a:pt x="62489" y="15780"/>
                      </a:lnTo>
                      <a:lnTo>
                        <a:pt x="15149" y="15780"/>
                      </a:lnTo>
                      <a:lnTo>
                        <a:pt x="15149" y="67539"/>
                      </a:lnTo>
                      <a:close/>
                    </a:path>
                  </a:pathLst>
                </a:custGeom>
                <a:grpFill/>
                <a:ln w="3175" cap="flat">
                  <a:solidFill>
                    <a:schemeClr val="tx2"/>
                  </a:solidFill>
                  <a:prstDash val="solid"/>
                  <a:miter/>
                </a:ln>
              </p:spPr>
              <p:txBody>
                <a:bodyPr rtlCol="0" anchor="ctr"/>
                <a:lstStyle/>
                <a:p>
                  <a:endParaRPr lang="en-US"/>
                </a:p>
              </p:txBody>
            </p:sp>
            <p:sp>
              <p:nvSpPr>
                <p:cNvPr id="117" name="Freeform 1366">
                  <a:extLst>
                    <a:ext uri="{FF2B5EF4-FFF2-40B4-BE49-F238E27FC236}">
                      <a16:creationId xmlns:a16="http://schemas.microsoft.com/office/drawing/2014/main" id="{80087857-522C-5CDE-4E5E-CF660532E0CB}"/>
                    </a:ext>
                  </a:extLst>
                </p:cNvPr>
                <p:cNvSpPr/>
                <p:nvPr/>
              </p:nvSpPr>
              <p:spPr>
                <a:xfrm>
                  <a:off x="2040092" y="4508026"/>
                  <a:ext cx="198197" cy="15149"/>
                </a:xfrm>
                <a:custGeom>
                  <a:avLst/>
                  <a:gdLst>
                    <a:gd name="connsiteX0" fmla="*/ 190623 w 198197"/>
                    <a:gd name="connsiteY0" fmla="*/ 15149 h 15149"/>
                    <a:gd name="connsiteX1" fmla="*/ 7575 w 198197"/>
                    <a:gd name="connsiteY1" fmla="*/ 15149 h 15149"/>
                    <a:gd name="connsiteX2" fmla="*/ 0 w 198197"/>
                    <a:gd name="connsiteY2" fmla="*/ 7575 h 15149"/>
                    <a:gd name="connsiteX3" fmla="*/ 7575 w 198197"/>
                    <a:gd name="connsiteY3" fmla="*/ 0 h 15149"/>
                    <a:gd name="connsiteX4" fmla="*/ 190623 w 198197"/>
                    <a:gd name="connsiteY4" fmla="*/ 0 h 15149"/>
                    <a:gd name="connsiteX5" fmla="*/ 198198 w 198197"/>
                    <a:gd name="connsiteY5" fmla="*/ 7575 h 15149"/>
                    <a:gd name="connsiteX6" fmla="*/ 190623 w 198197"/>
                    <a:gd name="connsiteY6" fmla="*/ 15149 h 1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8197" h="15149">
                      <a:moveTo>
                        <a:pt x="190623" y="15149"/>
                      </a:moveTo>
                      <a:lnTo>
                        <a:pt x="7575" y="15149"/>
                      </a:lnTo>
                      <a:cubicBezTo>
                        <a:pt x="3156" y="15149"/>
                        <a:pt x="0" y="11993"/>
                        <a:pt x="0" y="7575"/>
                      </a:cubicBezTo>
                      <a:cubicBezTo>
                        <a:pt x="0" y="3156"/>
                        <a:pt x="3156" y="0"/>
                        <a:pt x="7575" y="0"/>
                      </a:cubicBezTo>
                      <a:lnTo>
                        <a:pt x="190623" y="0"/>
                      </a:lnTo>
                      <a:cubicBezTo>
                        <a:pt x="195042" y="0"/>
                        <a:pt x="198198" y="3156"/>
                        <a:pt x="198198" y="7575"/>
                      </a:cubicBezTo>
                      <a:cubicBezTo>
                        <a:pt x="198198" y="11993"/>
                        <a:pt x="194411" y="15149"/>
                        <a:pt x="190623" y="15149"/>
                      </a:cubicBezTo>
                      <a:close/>
                    </a:path>
                  </a:pathLst>
                </a:custGeom>
                <a:grpFill/>
                <a:ln w="3175" cap="flat">
                  <a:solidFill>
                    <a:schemeClr val="tx2"/>
                  </a:solidFill>
                  <a:prstDash val="solid"/>
                  <a:miter/>
                </a:ln>
              </p:spPr>
              <p:txBody>
                <a:bodyPr rtlCol="0" anchor="ctr"/>
                <a:lstStyle/>
                <a:p>
                  <a:endParaRPr lang="en-US"/>
                </a:p>
              </p:txBody>
            </p:sp>
          </p:grpSp>
          <p:grpSp>
            <p:nvGrpSpPr>
              <p:cNvPr id="76" name="Graphic 4">
                <a:extLst>
                  <a:ext uri="{FF2B5EF4-FFF2-40B4-BE49-F238E27FC236}">
                    <a16:creationId xmlns:a16="http://schemas.microsoft.com/office/drawing/2014/main" id="{052321C1-DB80-B54B-B47A-96F0F8B80F6A}"/>
                  </a:ext>
                </a:extLst>
              </p:cNvPr>
              <p:cNvGrpSpPr/>
              <p:nvPr/>
            </p:nvGrpSpPr>
            <p:grpSpPr>
              <a:xfrm>
                <a:off x="1958825" y="4133250"/>
                <a:ext cx="360258" cy="260529"/>
                <a:chOff x="1958825" y="4133250"/>
                <a:chExt cx="360258" cy="260529"/>
              </a:xfrm>
              <a:grpFill/>
            </p:grpSpPr>
            <p:sp>
              <p:nvSpPr>
                <p:cNvPr id="77" name="Freeform 1354">
                  <a:extLst>
                    <a:ext uri="{FF2B5EF4-FFF2-40B4-BE49-F238E27FC236}">
                      <a16:creationId xmlns:a16="http://schemas.microsoft.com/office/drawing/2014/main" id="{4A37404B-EDC9-83B7-3CFB-6830C3ABC343}"/>
                    </a:ext>
                  </a:extLst>
                </p:cNvPr>
                <p:cNvSpPr/>
                <p:nvPr/>
              </p:nvSpPr>
              <p:spPr>
                <a:xfrm>
                  <a:off x="2181554" y="4178611"/>
                  <a:ext cx="83174" cy="88927"/>
                </a:xfrm>
                <a:custGeom>
                  <a:avLst/>
                  <a:gdLst>
                    <a:gd name="connsiteX0" fmla="*/ 7502 w 83174"/>
                    <a:gd name="connsiteY0" fmla="*/ 88927 h 88927"/>
                    <a:gd name="connsiteX1" fmla="*/ 2453 w 83174"/>
                    <a:gd name="connsiteY1" fmla="*/ 87034 h 88927"/>
                    <a:gd name="connsiteX2" fmla="*/ 1821 w 83174"/>
                    <a:gd name="connsiteY2" fmla="*/ 76303 h 88927"/>
                    <a:gd name="connsiteX3" fmla="*/ 69991 w 83174"/>
                    <a:gd name="connsiteY3" fmla="*/ 2452 h 88927"/>
                    <a:gd name="connsiteX4" fmla="*/ 80722 w 83174"/>
                    <a:gd name="connsiteY4" fmla="*/ 1821 h 88927"/>
                    <a:gd name="connsiteX5" fmla="*/ 81353 w 83174"/>
                    <a:gd name="connsiteY5" fmla="*/ 12552 h 88927"/>
                    <a:gd name="connsiteX6" fmla="*/ 13183 w 83174"/>
                    <a:gd name="connsiteY6" fmla="*/ 86402 h 88927"/>
                    <a:gd name="connsiteX7" fmla="*/ 7502 w 83174"/>
                    <a:gd name="connsiteY7" fmla="*/ 88927 h 88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174" h="88927">
                      <a:moveTo>
                        <a:pt x="7502" y="88927"/>
                      </a:moveTo>
                      <a:cubicBezTo>
                        <a:pt x="5609" y="88927"/>
                        <a:pt x="3715" y="88296"/>
                        <a:pt x="2453" y="87034"/>
                      </a:cubicBezTo>
                      <a:cubicBezTo>
                        <a:pt x="-704" y="83878"/>
                        <a:pt x="-704" y="79459"/>
                        <a:pt x="1821" y="76303"/>
                      </a:cubicBezTo>
                      <a:lnTo>
                        <a:pt x="69991" y="2452"/>
                      </a:lnTo>
                      <a:cubicBezTo>
                        <a:pt x="73147" y="-704"/>
                        <a:pt x="77566" y="-704"/>
                        <a:pt x="80722" y="1821"/>
                      </a:cubicBezTo>
                      <a:cubicBezTo>
                        <a:pt x="83878" y="4977"/>
                        <a:pt x="83878" y="9396"/>
                        <a:pt x="81353" y="12552"/>
                      </a:cubicBezTo>
                      <a:lnTo>
                        <a:pt x="13183" y="86402"/>
                      </a:lnTo>
                      <a:cubicBezTo>
                        <a:pt x="11289" y="88296"/>
                        <a:pt x="9396" y="88927"/>
                        <a:pt x="7502" y="88927"/>
                      </a:cubicBezTo>
                      <a:close/>
                    </a:path>
                  </a:pathLst>
                </a:custGeom>
                <a:grpFill/>
                <a:ln w="3175" cap="flat">
                  <a:solidFill>
                    <a:schemeClr val="tx2"/>
                  </a:solidFill>
                  <a:prstDash val="solid"/>
                  <a:miter/>
                </a:ln>
              </p:spPr>
              <p:txBody>
                <a:bodyPr rtlCol="0" anchor="ctr"/>
                <a:lstStyle/>
                <a:p>
                  <a:endParaRPr lang="en-US"/>
                </a:p>
              </p:txBody>
            </p:sp>
            <p:sp>
              <p:nvSpPr>
                <p:cNvPr id="78" name="Freeform 1355">
                  <a:extLst>
                    <a:ext uri="{FF2B5EF4-FFF2-40B4-BE49-F238E27FC236}">
                      <a16:creationId xmlns:a16="http://schemas.microsoft.com/office/drawing/2014/main" id="{839CF2C1-F5AB-9A39-A180-6836D2575F6A}"/>
                    </a:ext>
                  </a:extLst>
                </p:cNvPr>
                <p:cNvSpPr/>
                <p:nvPr/>
              </p:nvSpPr>
              <p:spPr>
                <a:xfrm>
                  <a:off x="2100005" y="4229615"/>
                  <a:ext cx="63222" cy="43603"/>
                </a:xfrm>
                <a:custGeom>
                  <a:avLst/>
                  <a:gdLst>
                    <a:gd name="connsiteX0" fmla="*/ 54966 w 63222"/>
                    <a:gd name="connsiteY0" fmla="*/ 43604 h 43603"/>
                    <a:gd name="connsiteX1" fmla="*/ 51179 w 63222"/>
                    <a:gd name="connsiteY1" fmla="*/ 42342 h 43603"/>
                    <a:gd name="connsiteX2" fmla="*/ 3838 w 63222"/>
                    <a:gd name="connsiteY2" fmla="*/ 14569 h 43603"/>
                    <a:gd name="connsiteX3" fmla="*/ 1314 w 63222"/>
                    <a:gd name="connsiteY3" fmla="*/ 3838 h 43603"/>
                    <a:gd name="connsiteX4" fmla="*/ 12044 w 63222"/>
                    <a:gd name="connsiteY4" fmla="*/ 1314 h 43603"/>
                    <a:gd name="connsiteX5" fmla="*/ 59384 w 63222"/>
                    <a:gd name="connsiteY5" fmla="*/ 29086 h 43603"/>
                    <a:gd name="connsiteX6" fmla="*/ 61909 w 63222"/>
                    <a:gd name="connsiteY6" fmla="*/ 39817 h 43603"/>
                    <a:gd name="connsiteX7" fmla="*/ 54966 w 63222"/>
                    <a:gd name="connsiteY7" fmla="*/ 43604 h 4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222" h="43603">
                      <a:moveTo>
                        <a:pt x="54966" y="43604"/>
                      </a:moveTo>
                      <a:cubicBezTo>
                        <a:pt x="53703" y="43604"/>
                        <a:pt x="52441" y="42973"/>
                        <a:pt x="51179" y="42342"/>
                      </a:cubicBezTo>
                      <a:lnTo>
                        <a:pt x="3838" y="14569"/>
                      </a:lnTo>
                      <a:cubicBezTo>
                        <a:pt x="51" y="12675"/>
                        <a:pt x="-1211" y="7626"/>
                        <a:pt x="1314" y="3838"/>
                      </a:cubicBezTo>
                      <a:cubicBezTo>
                        <a:pt x="3207" y="51"/>
                        <a:pt x="8257" y="-1211"/>
                        <a:pt x="12044" y="1314"/>
                      </a:cubicBezTo>
                      <a:lnTo>
                        <a:pt x="59384" y="29086"/>
                      </a:lnTo>
                      <a:cubicBezTo>
                        <a:pt x="63171" y="30980"/>
                        <a:pt x="64434" y="36030"/>
                        <a:pt x="61909" y="39817"/>
                      </a:cubicBezTo>
                      <a:cubicBezTo>
                        <a:pt x="60647" y="42342"/>
                        <a:pt x="58122" y="43604"/>
                        <a:pt x="54966" y="43604"/>
                      </a:cubicBezTo>
                      <a:close/>
                    </a:path>
                  </a:pathLst>
                </a:custGeom>
                <a:grpFill/>
                <a:ln w="3175" cap="flat">
                  <a:solidFill>
                    <a:schemeClr val="tx2"/>
                  </a:solidFill>
                  <a:prstDash val="solid"/>
                  <a:miter/>
                </a:ln>
              </p:spPr>
              <p:txBody>
                <a:bodyPr rtlCol="0" anchor="ctr"/>
                <a:lstStyle/>
                <a:p>
                  <a:endParaRPr lang="en-US"/>
                </a:p>
              </p:txBody>
            </p:sp>
            <p:sp>
              <p:nvSpPr>
                <p:cNvPr id="79" name="Freeform 1356">
                  <a:extLst>
                    <a:ext uri="{FF2B5EF4-FFF2-40B4-BE49-F238E27FC236}">
                      <a16:creationId xmlns:a16="http://schemas.microsoft.com/office/drawing/2014/main" id="{D6C2414A-6AF5-65D8-95EF-11B4CA9E5194}"/>
                    </a:ext>
                  </a:extLst>
                </p:cNvPr>
                <p:cNvSpPr/>
                <p:nvPr/>
              </p:nvSpPr>
              <p:spPr>
                <a:xfrm>
                  <a:off x="1983672" y="4234473"/>
                  <a:ext cx="95798" cy="91767"/>
                </a:xfrm>
                <a:custGeom>
                  <a:avLst/>
                  <a:gdLst>
                    <a:gd name="connsiteX0" fmla="*/ 7818 w 95798"/>
                    <a:gd name="connsiteY0" fmla="*/ 91768 h 91767"/>
                    <a:gd name="connsiteX1" fmla="*/ 2137 w 95798"/>
                    <a:gd name="connsiteY1" fmla="*/ 89243 h 91767"/>
                    <a:gd name="connsiteX2" fmla="*/ 2137 w 95798"/>
                    <a:gd name="connsiteY2" fmla="*/ 78513 h 91767"/>
                    <a:gd name="connsiteX3" fmla="*/ 82931 w 95798"/>
                    <a:gd name="connsiteY3" fmla="*/ 2137 h 91767"/>
                    <a:gd name="connsiteX4" fmla="*/ 93661 w 95798"/>
                    <a:gd name="connsiteY4" fmla="*/ 2137 h 91767"/>
                    <a:gd name="connsiteX5" fmla="*/ 93661 w 95798"/>
                    <a:gd name="connsiteY5" fmla="*/ 12867 h 91767"/>
                    <a:gd name="connsiteX6" fmla="*/ 12867 w 95798"/>
                    <a:gd name="connsiteY6" fmla="*/ 89243 h 91767"/>
                    <a:gd name="connsiteX7" fmla="*/ 7818 w 95798"/>
                    <a:gd name="connsiteY7" fmla="*/ 91768 h 91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798" h="91767">
                      <a:moveTo>
                        <a:pt x="7818" y="91768"/>
                      </a:moveTo>
                      <a:cubicBezTo>
                        <a:pt x="5924" y="91768"/>
                        <a:pt x="4031" y="91137"/>
                        <a:pt x="2137" y="89243"/>
                      </a:cubicBezTo>
                      <a:cubicBezTo>
                        <a:pt x="-1019" y="86087"/>
                        <a:pt x="-388" y="81037"/>
                        <a:pt x="2137" y="78513"/>
                      </a:cubicBezTo>
                      <a:lnTo>
                        <a:pt x="82931" y="2137"/>
                      </a:lnTo>
                      <a:cubicBezTo>
                        <a:pt x="86087" y="-1019"/>
                        <a:pt x="91136" y="-388"/>
                        <a:pt x="93661" y="2137"/>
                      </a:cubicBezTo>
                      <a:cubicBezTo>
                        <a:pt x="96817" y="5293"/>
                        <a:pt x="96186" y="10342"/>
                        <a:pt x="93661" y="12867"/>
                      </a:cubicBezTo>
                      <a:lnTo>
                        <a:pt x="12867" y="89243"/>
                      </a:lnTo>
                      <a:cubicBezTo>
                        <a:pt x="11605" y="91137"/>
                        <a:pt x="9711" y="91768"/>
                        <a:pt x="7818" y="91768"/>
                      </a:cubicBezTo>
                      <a:close/>
                    </a:path>
                  </a:pathLst>
                </a:custGeom>
                <a:grpFill/>
                <a:ln w="3175" cap="flat">
                  <a:solidFill>
                    <a:schemeClr val="tx2"/>
                  </a:solidFill>
                  <a:prstDash val="solid"/>
                  <a:miter/>
                </a:ln>
              </p:spPr>
              <p:txBody>
                <a:bodyPr rtlCol="0" anchor="ctr"/>
                <a:lstStyle/>
                <a:p>
                  <a:endParaRPr lang="en-US"/>
                </a:p>
              </p:txBody>
            </p:sp>
            <p:sp>
              <p:nvSpPr>
                <p:cNvPr id="80" name="Freeform 1357">
                  <a:extLst>
                    <a:ext uri="{FF2B5EF4-FFF2-40B4-BE49-F238E27FC236}">
                      <a16:creationId xmlns:a16="http://schemas.microsoft.com/office/drawing/2014/main" id="{C6B647ED-4E84-2DCE-CF97-3D680AFB3B40}"/>
                    </a:ext>
                  </a:extLst>
                </p:cNvPr>
                <p:cNvSpPr/>
                <p:nvPr/>
              </p:nvSpPr>
              <p:spPr>
                <a:xfrm>
                  <a:off x="2060291" y="4198737"/>
                  <a:ext cx="56808" cy="56808"/>
                </a:xfrm>
                <a:custGeom>
                  <a:avLst/>
                  <a:gdLst>
                    <a:gd name="connsiteX0" fmla="*/ 28404 w 56808"/>
                    <a:gd name="connsiteY0" fmla="*/ 56808 h 56808"/>
                    <a:gd name="connsiteX1" fmla="*/ 0 w 56808"/>
                    <a:gd name="connsiteY1" fmla="*/ 28404 h 56808"/>
                    <a:gd name="connsiteX2" fmla="*/ 28404 w 56808"/>
                    <a:gd name="connsiteY2" fmla="*/ 0 h 56808"/>
                    <a:gd name="connsiteX3" fmla="*/ 56808 w 56808"/>
                    <a:gd name="connsiteY3" fmla="*/ 28404 h 56808"/>
                    <a:gd name="connsiteX4" fmla="*/ 28404 w 56808"/>
                    <a:gd name="connsiteY4" fmla="*/ 56808 h 56808"/>
                    <a:gd name="connsiteX5" fmla="*/ 28404 w 56808"/>
                    <a:gd name="connsiteY5" fmla="*/ 15780 h 56808"/>
                    <a:gd name="connsiteX6" fmla="*/ 15780 w 56808"/>
                    <a:gd name="connsiteY6" fmla="*/ 28404 h 56808"/>
                    <a:gd name="connsiteX7" fmla="*/ 28404 w 56808"/>
                    <a:gd name="connsiteY7" fmla="*/ 41028 h 56808"/>
                    <a:gd name="connsiteX8" fmla="*/ 41028 w 56808"/>
                    <a:gd name="connsiteY8" fmla="*/ 28404 h 56808"/>
                    <a:gd name="connsiteX9" fmla="*/ 28404 w 56808"/>
                    <a:gd name="connsiteY9" fmla="*/ 15780 h 5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08" h="56808">
                      <a:moveTo>
                        <a:pt x="28404" y="56808"/>
                      </a:moveTo>
                      <a:cubicBezTo>
                        <a:pt x="12624" y="56808"/>
                        <a:pt x="0" y="44184"/>
                        <a:pt x="0" y="28404"/>
                      </a:cubicBezTo>
                      <a:cubicBezTo>
                        <a:pt x="0" y="12624"/>
                        <a:pt x="12624" y="0"/>
                        <a:pt x="28404" y="0"/>
                      </a:cubicBezTo>
                      <a:cubicBezTo>
                        <a:pt x="44184" y="0"/>
                        <a:pt x="56808" y="12624"/>
                        <a:pt x="56808" y="28404"/>
                      </a:cubicBezTo>
                      <a:cubicBezTo>
                        <a:pt x="56808" y="44184"/>
                        <a:pt x="43553" y="56808"/>
                        <a:pt x="28404" y="56808"/>
                      </a:cubicBezTo>
                      <a:close/>
                      <a:moveTo>
                        <a:pt x="28404" y="15780"/>
                      </a:moveTo>
                      <a:cubicBezTo>
                        <a:pt x="21461" y="15780"/>
                        <a:pt x="15780" y="21461"/>
                        <a:pt x="15780" y="28404"/>
                      </a:cubicBezTo>
                      <a:cubicBezTo>
                        <a:pt x="15780" y="35348"/>
                        <a:pt x="21461" y="41028"/>
                        <a:pt x="28404" y="41028"/>
                      </a:cubicBezTo>
                      <a:cubicBezTo>
                        <a:pt x="35347" y="41028"/>
                        <a:pt x="41028" y="35348"/>
                        <a:pt x="41028" y="28404"/>
                      </a:cubicBezTo>
                      <a:cubicBezTo>
                        <a:pt x="41028" y="21461"/>
                        <a:pt x="35347" y="15780"/>
                        <a:pt x="28404" y="15780"/>
                      </a:cubicBezTo>
                      <a:close/>
                    </a:path>
                  </a:pathLst>
                </a:custGeom>
                <a:grpFill/>
                <a:ln w="3175" cap="flat">
                  <a:solidFill>
                    <a:schemeClr val="tx2"/>
                  </a:solidFill>
                  <a:prstDash val="solid"/>
                  <a:miter/>
                </a:ln>
              </p:spPr>
              <p:txBody>
                <a:bodyPr rtlCol="0" anchor="ctr"/>
                <a:lstStyle/>
                <a:p>
                  <a:endParaRPr lang="en-US"/>
                </a:p>
              </p:txBody>
            </p:sp>
            <p:sp>
              <p:nvSpPr>
                <p:cNvPr id="81" name="Freeform 1358">
                  <a:extLst>
                    <a:ext uri="{FF2B5EF4-FFF2-40B4-BE49-F238E27FC236}">
                      <a16:creationId xmlns:a16="http://schemas.microsoft.com/office/drawing/2014/main" id="{3ABB9F29-A70C-53AC-915C-85CE619A85EC}"/>
                    </a:ext>
                  </a:extLst>
                </p:cNvPr>
                <p:cNvSpPr/>
                <p:nvPr/>
              </p:nvSpPr>
              <p:spPr>
                <a:xfrm>
                  <a:off x="2145503" y="4247971"/>
                  <a:ext cx="56808" cy="56808"/>
                </a:xfrm>
                <a:custGeom>
                  <a:avLst/>
                  <a:gdLst>
                    <a:gd name="connsiteX0" fmla="*/ 28404 w 56808"/>
                    <a:gd name="connsiteY0" fmla="*/ 56808 h 56808"/>
                    <a:gd name="connsiteX1" fmla="*/ 0 w 56808"/>
                    <a:gd name="connsiteY1" fmla="*/ 28404 h 56808"/>
                    <a:gd name="connsiteX2" fmla="*/ 28404 w 56808"/>
                    <a:gd name="connsiteY2" fmla="*/ 0 h 56808"/>
                    <a:gd name="connsiteX3" fmla="*/ 56808 w 56808"/>
                    <a:gd name="connsiteY3" fmla="*/ 28404 h 56808"/>
                    <a:gd name="connsiteX4" fmla="*/ 28404 w 56808"/>
                    <a:gd name="connsiteY4" fmla="*/ 56808 h 56808"/>
                    <a:gd name="connsiteX5" fmla="*/ 28404 w 56808"/>
                    <a:gd name="connsiteY5" fmla="*/ 15780 h 56808"/>
                    <a:gd name="connsiteX6" fmla="*/ 15780 w 56808"/>
                    <a:gd name="connsiteY6" fmla="*/ 28404 h 56808"/>
                    <a:gd name="connsiteX7" fmla="*/ 28404 w 56808"/>
                    <a:gd name="connsiteY7" fmla="*/ 41028 h 56808"/>
                    <a:gd name="connsiteX8" fmla="*/ 41028 w 56808"/>
                    <a:gd name="connsiteY8" fmla="*/ 28404 h 56808"/>
                    <a:gd name="connsiteX9" fmla="*/ 28404 w 56808"/>
                    <a:gd name="connsiteY9" fmla="*/ 15780 h 5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08" h="56808">
                      <a:moveTo>
                        <a:pt x="28404" y="56808"/>
                      </a:moveTo>
                      <a:cubicBezTo>
                        <a:pt x="12624" y="56808"/>
                        <a:pt x="0" y="44184"/>
                        <a:pt x="0" y="28404"/>
                      </a:cubicBezTo>
                      <a:cubicBezTo>
                        <a:pt x="0" y="12624"/>
                        <a:pt x="12624" y="0"/>
                        <a:pt x="28404" y="0"/>
                      </a:cubicBezTo>
                      <a:cubicBezTo>
                        <a:pt x="44184" y="0"/>
                        <a:pt x="56808" y="12624"/>
                        <a:pt x="56808" y="28404"/>
                      </a:cubicBezTo>
                      <a:cubicBezTo>
                        <a:pt x="56808" y="44184"/>
                        <a:pt x="44184" y="56808"/>
                        <a:pt x="28404" y="56808"/>
                      </a:cubicBezTo>
                      <a:close/>
                      <a:moveTo>
                        <a:pt x="28404" y="15780"/>
                      </a:moveTo>
                      <a:cubicBezTo>
                        <a:pt x="21461" y="15780"/>
                        <a:pt x="15780" y="21461"/>
                        <a:pt x="15780" y="28404"/>
                      </a:cubicBezTo>
                      <a:cubicBezTo>
                        <a:pt x="15780" y="35348"/>
                        <a:pt x="21461" y="41028"/>
                        <a:pt x="28404" y="41028"/>
                      </a:cubicBezTo>
                      <a:cubicBezTo>
                        <a:pt x="35347" y="41028"/>
                        <a:pt x="41028" y="35348"/>
                        <a:pt x="41028" y="28404"/>
                      </a:cubicBezTo>
                      <a:cubicBezTo>
                        <a:pt x="41028" y="21461"/>
                        <a:pt x="35347" y="15780"/>
                        <a:pt x="28404" y="15780"/>
                      </a:cubicBezTo>
                      <a:close/>
                    </a:path>
                  </a:pathLst>
                </a:custGeom>
                <a:grpFill/>
                <a:ln w="3175" cap="flat">
                  <a:solidFill>
                    <a:schemeClr val="tx2"/>
                  </a:solidFill>
                  <a:prstDash val="solid"/>
                  <a:miter/>
                </a:ln>
              </p:spPr>
              <p:txBody>
                <a:bodyPr rtlCol="0" anchor="ctr"/>
                <a:lstStyle/>
                <a:p>
                  <a:endParaRPr lang="en-US"/>
                </a:p>
              </p:txBody>
            </p:sp>
            <p:sp>
              <p:nvSpPr>
                <p:cNvPr id="82" name="Freeform 1359">
                  <a:extLst>
                    <a:ext uri="{FF2B5EF4-FFF2-40B4-BE49-F238E27FC236}">
                      <a16:creationId xmlns:a16="http://schemas.microsoft.com/office/drawing/2014/main" id="{EAB984C0-03CB-DA2B-EF4D-0EDDC275F21E}"/>
                    </a:ext>
                  </a:extLst>
                </p:cNvPr>
                <p:cNvSpPr/>
                <p:nvPr/>
              </p:nvSpPr>
              <p:spPr>
                <a:xfrm>
                  <a:off x="2243339" y="4141298"/>
                  <a:ext cx="56808" cy="56808"/>
                </a:xfrm>
                <a:custGeom>
                  <a:avLst/>
                  <a:gdLst>
                    <a:gd name="connsiteX0" fmla="*/ 28404 w 56808"/>
                    <a:gd name="connsiteY0" fmla="*/ 56808 h 56808"/>
                    <a:gd name="connsiteX1" fmla="*/ 0 w 56808"/>
                    <a:gd name="connsiteY1" fmla="*/ 28404 h 56808"/>
                    <a:gd name="connsiteX2" fmla="*/ 28404 w 56808"/>
                    <a:gd name="connsiteY2" fmla="*/ 0 h 56808"/>
                    <a:gd name="connsiteX3" fmla="*/ 56808 w 56808"/>
                    <a:gd name="connsiteY3" fmla="*/ 28404 h 56808"/>
                    <a:gd name="connsiteX4" fmla="*/ 28404 w 56808"/>
                    <a:gd name="connsiteY4" fmla="*/ 56808 h 56808"/>
                    <a:gd name="connsiteX5" fmla="*/ 28404 w 56808"/>
                    <a:gd name="connsiteY5" fmla="*/ 15780 h 56808"/>
                    <a:gd name="connsiteX6" fmla="*/ 15780 w 56808"/>
                    <a:gd name="connsiteY6" fmla="*/ 28404 h 56808"/>
                    <a:gd name="connsiteX7" fmla="*/ 28404 w 56808"/>
                    <a:gd name="connsiteY7" fmla="*/ 41028 h 56808"/>
                    <a:gd name="connsiteX8" fmla="*/ 41028 w 56808"/>
                    <a:gd name="connsiteY8" fmla="*/ 28404 h 56808"/>
                    <a:gd name="connsiteX9" fmla="*/ 28404 w 56808"/>
                    <a:gd name="connsiteY9" fmla="*/ 15780 h 5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08" h="56808">
                      <a:moveTo>
                        <a:pt x="28404" y="56808"/>
                      </a:moveTo>
                      <a:cubicBezTo>
                        <a:pt x="12624" y="56808"/>
                        <a:pt x="0" y="44184"/>
                        <a:pt x="0" y="28404"/>
                      </a:cubicBezTo>
                      <a:cubicBezTo>
                        <a:pt x="0" y="12624"/>
                        <a:pt x="12624" y="0"/>
                        <a:pt x="28404" y="0"/>
                      </a:cubicBezTo>
                      <a:cubicBezTo>
                        <a:pt x="44184" y="0"/>
                        <a:pt x="56808" y="12624"/>
                        <a:pt x="56808" y="28404"/>
                      </a:cubicBezTo>
                      <a:cubicBezTo>
                        <a:pt x="56808" y="44184"/>
                        <a:pt x="44184" y="56808"/>
                        <a:pt x="28404" y="56808"/>
                      </a:cubicBezTo>
                      <a:close/>
                      <a:moveTo>
                        <a:pt x="28404" y="15780"/>
                      </a:moveTo>
                      <a:cubicBezTo>
                        <a:pt x="21461" y="15780"/>
                        <a:pt x="15780" y="21461"/>
                        <a:pt x="15780" y="28404"/>
                      </a:cubicBezTo>
                      <a:cubicBezTo>
                        <a:pt x="15780" y="35347"/>
                        <a:pt x="21461" y="41028"/>
                        <a:pt x="28404" y="41028"/>
                      </a:cubicBezTo>
                      <a:cubicBezTo>
                        <a:pt x="35347" y="41028"/>
                        <a:pt x="41028" y="35347"/>
                        <a:pt x="41028" y="28404"/>
                      </a:cubicBezTo>
                      <a:cubicBezTo>
                        <a:pt x="41659" y="21461"/>
                        <a:pt x="35347" y="15780"/>
                        <a:pt x="28404" y="15780"/>
                      </a:cubicBezTo>
                      <a:close/>
                    </a:path>
                  </a:pathLst>
                </a:custGeom>
                <a:grpFill/>
                <a:ln w="3175" cap="flat">
                  <a:solidFill>
                    <a:schemeClr val="tx2"/>
                  </a:solidFill>
                  <a:prstDash val="solid"/>
                  <a:miter/>
                </a:ln>
              </p:spPr>
              <p:txBody>
                <a:bodyPr rtlCol="0" anchor="ctr"/>
                <a:lstStyle/>
                <a:p>
                  <a:endParaRPr lang="en-US"/>
                </a:p>
              </p:txBody>
            </p:sp>
            <p:grpSp>
              <p:nvGrpSpPr>
                <p:cNvPr id="83" name="Graphic 4">
                  <a:extLst>
                    <a:ext uri="{FF2B5EF4-FFF2-40B4-BE49-F238E27FC236}">
                      <a16:creationId xmlns:a16="http://schemas.microsoft.com/office/drawing/2014/main" id="{9AEEBA54-A15F-1F08-4C1B-1A65CC225761}"/>
                    </a:ext>
                  </a:extLst>
                </p:cNvPr>
                <p:cNvGrpSpPr/>
                <p:nvPr/>
              </p:nvGrpSpPr>
              <p:grpSpPr>
                <a:xfrm>
                  <a:off x="1958825" y="4133250"/>
                  <a:ext cx="360258" cy="260529"/>
                  <a:chOff x="1958825" y="4133250"/>
                  <a:chExt cx="360258" cy="260529"/>
                </a:xfrm>
                <a:grpFill/>
              </p:grpSpPr>
              <p:sp>
                <p:nvSpPr>
                  <p:cNvPr id="84" name="Freeform 1361">
                    <a:extLst>
                      <a:ext uri="{FF2B5EF4-FFF2-40B4-BE49-F238E27FC236}">
                        <a16:creationId xmlns:a16="http://schemas.microsoft.com/office/drawing/2014/main" id="{3D9FDF3E-85E5-5D5B-C846-B982ED95424C}"/>
                      </a:ext>
                    </a:extLst>
                  </p:cNvPr>
                  <p:cNvSpPr/>
                  <p:nvPr/>
                </p:nvSpPr>
                <p:spPr>
                  <a:xfrm>
                    <a:off x="1980759" y="4133723"/>
                    <a:ext cx="338324" cy="238594"/>
                  </a:xfrm>
                  <a:custGeom>
                    <a:avLst/>
                    <a:gdLst>
                      <a:gd name="connsiteX0" fmla="*/ 330750 w 338324"/>
                      <a:gd name="connsiteY0" fmla="*/ 238595 h 238594"/>
                      <a:gd name="connsiteX1" fmla="*/ 7575 w 338324"/>
                      <a:gd name="connsiteY1" fmla="*/ 238595 h 238594"/>
                      <a:gd name="connsiteX2" fmla="*/ 0 w 338324"/>
                      <a:gd name="connsiteY2" fmla="*/ 231020 h 238594"/>
                      <a:gd name="connsiteX3" fmla="*/ 0 w 338324"/>
                      <a:gd name="connsiteY3" fmla="*/ 7575 h 238594"/>
                      <a:gd name="connsiteX4" fmla="*/ 7575 w 338324"/>
                      <a:gd name="connsiteY4" fmla="*/ 0 h 238594"/>
                      <a:gd name="connsiteX5" fmla="*/ 15149 w 338324"/>
                      <a:gd name="connsiteY5" fmla="*/ 7575 h 238594"/>
                      <a:gd name="connsiteX6" fmla="*/ 15149 w 338324"/>
                      <a:gd name="connsiteY6" fmla="*/ 222814 h 238594"/>
                      <a:gd name="connsiteX7" fmla="*/ 330750 w 338324"/>
                      <a:gd name="connsiteY7" fmla="*/ 222814 h 238594"/>
                      <a:gd name="connsiteX8" fmla="*/ 338325 w 338324"/>
                      <a:gd name="connsiteY8" fmla="*/ 230389 h 238594"/>
                      <a:gd name="connsiteX9" fmla="*/ 330750 w 338324"/>
                      <a:gd name="connsiteY9" fmla="*/ 238595 h 23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24" h="238594">
                        <a:moveTo>
                          <a:pt x="330750" y="238595"/>
                        </a:moveTo>
                        <a:lnTo>
                          <a:pt x="7575" y="238595"/>
                        </a:lnTo>
                        <a:cubicBezTo>
                          <a:pt x="3156" y="238595"/>
                          <a:pt x="0" y="235439"/>
                          <a:pt x="0" y="231020"/>
                        </a:cubicBezTo>
                        <a:lnTo>
                          <a:pt x="0" y="7575"/>
                        </a:lnTo>
                        <a:cubicBezTo>
                          <a:pt x="0" y="3156"/>
                          <a:pt x="3156" y="0"/>
                          <a:pt x="7575" y="0"/>
                        </a:cubicBezTo>
                        <a:cubicBezTo>
                          <a:pt x="11993" y="0"/>
                          <a:pt x="15149" y="3156"/>
                          <a:pt x="15149" y="7575"/>
                        </a:cubicBezTo>
                        <a:lnTo>
                          <a:pt x="15149" y="222814"/>
                        </a:lnTo>
                        <a:lnTo>
                          <a:pt x="330750" y="222814"/>
                        </a:lnTo>
                        <a:cubicBezTo>
                          <a:pt x="335169" y="222814"/>
                          <a:pt x="338325" y="225970"/>
                          <a:pt x="338325" y="230389"/>
                        </a:cubicBezTo>
                        <a:cubicBezTo>
                          <a:pt x="338325" y="234807"/>
                          <a:pt x="335169" y="238595"/>
                          <a:pt x="330750" y="238595"/>
                        </a:cubicBezTo>
                        <a:close/>
                      </a:path>
                    </a:pathLst>
                  </a:custGeom>
                  <a:grpFill/>
                  <a:ln w="3175" cap="flat">
                    <a:solidFill>
                      <a:schemeClr val="tx2"/>
                    </a:solidFill>
                    <a:prstDash val="solid"/>
                    <a:miter/>
                  </a:ln>
                </p:spPr>
                <p:txBody>
                  <a:bodyPr rtlCol="0" anchor="ctr"/>
                  <a:lstStyle/>
                  <a:p>
                    <a:endParaRPr lang="en-US"/>
                  </a:p>
                </p:txBody>
              </p:sp>
              <p:sp>
                <p:nvSpPr>
                  <p:cNvPr id="85" name="Freeform 1362">
                    <a:extLst>
                      <a:ext uri="{FF2B5EF4-FFF2-40B4-BE49-F238E27FC236}">
                        <a16:creationId xmlns:a16="http://schemas.microsoft.com/office/drawing/2014/main" id="{2B2C7F6E-8A0D-1E6B-53A8-F6FE546CD919}"/>
                      </a:ext>
                    </a:extLst>
                  </p:cNvPr>
                  <p:cNvSpPr/>
                  <p:nvPr/>
                </p:nvSpPr>
                <p:spPr>
                  <a:xfrm>
                    <a:off x="1958825" y="4133250"/>
                    <a:ext cx="59648" cy="37714"/>
                  </a:xfrm>
                  <a:custGeom>
                    <a:avLst/>
                    <a:gdLst>
                      <a:gd name="connsiteX0" fmla="*/ 51601 w 59648"/>
                      <a:gd name="connsiteY0" fmla="*/ 37715 h 37714"/>
                      <a:gd name="connsiteX1" fmla="*/ 45920 w 59648"/>
                      <a:gd name="connsiteY1" fmla="*/ 35190 h 37714"/>
                      <a:gd name="connsiteX2" fmla="*/ 29509 w 59648"/>
                      <a:gd name="connsiteY2" fmla="*/ 18779 h 37714"/>
                      <a:gd name="connsiteX3" fmla="*/ 13098 w 59648"/>
                      <a:gd name="connsiteY3" fmla="*/ 35190 h 37714"/>
                      <a:gd name="connsiteX4" fmla="*/ 2367 w 59648"/>
                      <a:gd name="connsiteY4" fmla="*/ 35190 h 37714"/>
                      <a:gd name="connsiteX5" fmla="*/ 2367 w 59648"/>
                      <a:gd name="connsiteY5" fmla="*/ 24459 h 37714"/>
                      <a:gd name="connsiteX6" fmla="*/ 24459 w 59648"/>
                      <a:gd name="connsiteY6" fmla="*/ 2367 h 37714"/>
                      <a:gd name="connsiteX7" fmla="*/ 35190 w 59648"/>
                      <a:gd name="connsiteY7" fmla="*/ 2367 h 37714"/>
                      <a:gd name="connsiteX8" fmla="*/ 57282 w 59648"/>
                      <a:gd name="connsiteY8" fmla="*/ 24459 h 37714"/>
                      <a:gd name="connsiteX9" fmla="*/ 57282 w 59648"/>
                      <a:gd name="connsiteY9" fmla="*/ 35190 h 37714"/>
                      <a:gd name="connsiteX10" fmla="*/ 51601 w 59648"/>
                      <a:gd name="connsiteY10" fmla="*/ 37715 h 3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648" h="37714">
                        <a:moveTo>
                          <a:pt x="51601" y="37715"/>
                        </a:moveTo>
                        <a:cubicBezTo>
                          <a:pt x="49707" y="37715"/>
                          <a:pt x="47814" y="37083"/>
                          <a:pt x="45920" y="35190"/>
                        </a:cubicBezTo>
                        <a:lnTo>
                          <a:pt x="29509" y="18779"/>
                        </a:lnTo>
                        <a:lnTo>
                          <a:pt x="13098" y="35190"/>
                        </a:lnTo>
                        <a:cubicBezTo>
                          <a:pt x="9942" y="38346"/>
                          <a:pt x="5523" y="38346"/>
                          <a:pt x="2367" y="35190"/>
                        </a:cubicBezTo>
                        <a:cubicBezTo>
                          <a:pt x="-789" y="32034"/>
                          <a:pt x="-789" y="27615"/>
                          <a:pt x="2367" y="24459"/>
                        </a:cubicBezTo>
                        <a:lnTo>
                          <a:pt x="24459" y="2367"/>
                        </a:lnTo>
                        <a:cubicBezTo>
                          <a:pt x="27615" y="-789"/>
                          <a:pt x="32034" y="-789"/>
                          <a:pt x="35190" y="2367"/>
                        </a:cubicBezTo>
                        <a:lnTo>
                          <a:pt x="57282" y="24459"/>
                        </a:lnTo>
                        <a:cubicBezTo>
                          <a:pt x="60438" y="27615"/>
                          <a:pt x="60438" y="32034"/>
                          <a:pt x="57282" y="35190"/>
                        </a:cubicBezTo>
                        <a:cubicBezTo>
                          <a:pt x="55388" y="36452"/>
                          <a:pt x="53494" y="37715"/>
                          <a:pt x="51601" y="37715"/>
                        </a:cubicBezTo>
                        <a:close/>
                      </a:path>
                    </a:pathLst>
                  </a:custGeom>
                  <a:grpFill/>
                  <a:ln w="3175" cap="flat">
                    <a:solidFill>
                      <a:schemeClr val="tx2"/>
                    </a:solidFill>
                    <a:prstDash val="solid"/>
                    <a:miter/>
                  </a:ln>
                </p:spPr>
                <p:txBody>
                  <a:bodyPr rtlCol="0" anchor="ctr"/>
                  <a:lstStyle/>
                  <a:p>
                    <a:endParaRPr lang="en-US"/>
                  </a:p>
                </p:txBody>
              </p:sp>
              <p:sp>
                <p:nvSpPr>
                  <p:cNvPr id="86" name="Freeform 1363">
                    <a:extLst>
                      <a:ext uri="{FF2B5EF4-FFF2-40B4-BE49-F238E27FC236}">
                        <a16:creationId xmlns:a16="http://schemas.microsoft.com/office/drawing/2014/main" id="{CFA6E192-86E9-BB1F-1486-974C541C6357}"/>
                      </a:ext>
                    </a:extLst>
                  </p:cNvPr>
                  <p:cNvSpPr/>
                  <p:nvPr/>
                </p:nvSpPr>
                <p:spPr>
                  <a:xfrm>
                    <a:off x="2281369" y="4334604"/>
                    <a:ext cx="37714" cy="59175"/>
                  </a:xfrm>
                  <a:custGeom>
                    <a:avLst/>
                    <a:gdLst>
                      <a:gd name="connsiteX0" fmla="*/ 8048 w 37714"/>
                      <a:gd name="connsiteY0" fmla="*/ 59175 h 59175"/>
                      <a:gd name="connsiteX1" fmla="*/ 2367 w 37714"/>
                      <a:gd name="connsiteY1" fmla="*/ 56650 h 59175"/>
                      <a:gd name="connsiteX2" fmla="*/ 2367 w 37714"/>
                      <a:gd name="connsiteY2" fmla="*/ 45920 h 59175"/>
                      <a:gd name="connsiteX3" fmla="*/ 18778 w 37714"/>
                      <a:gd name="connsiteY3" fmla="*/ 29509 h 59175"/>
                      <a:gd name="connsiteX4" fmla="*/ 2367 w 37714"/>
                      <a:gd name="connsiteY4" fmla="*/ 13098 h 59175"/>
                      <a:gd name="connsiteX5" fmla="*/ 2367 w 37714"/>
                      <a:gd name="connsiteY5" fmla="*/ 2367 h 59175"/>
                      <a:gd name="connsiteX6" fmla="*/ 13098 w 37714"/>
                      <a:gd name="connsiteY6" fmla="*/ 2367 h 59175"/>
                      <a:gd name="connsiteX7" fmla="*/ 35190 w 37714"/>
                      <a:gd name="connsiteY7" fmla="*/ 24459 h 59175"/>
                      <a:gd name="connsiteX8" fmla="*/ 37714 w 37714"/>
                      <a:gd name="connsiteY8" fmla="*/ 30140 h 59175"/>
                      <a:gd name="connsiteX9" fmla="*/ 35190 w 37714"/>
                      <a:gd name="connsiteY9" fmla="*/ 35821 h 59175"/>
                      <a:gd name="connsiteX10" fmla="*/ 13098 w 37714"/>
                      <a:gd name="connsiteY10" fmla="*/ 57913 h 59175"/>
                      <a:gd name="connsiteX11" fmla="*/ 8048 w 37714"/>
                      <a:gd name="connsiteY11" fmla="*/ 59175 h 5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4" h="59175">
                        <a:moveTo>
                          <a:pt x="8048" y="59175"/>
                        </a:moveTo>
                        <a:cubicBezTo>
                          <a:pt x="6154" y="59175"/>
                          <a:pt x="4261" y="58544"/>
                          <a:pt x="2367" y="56650"/>
                        </a:cubicBezTo>
                        <a:cubicBezTo>
                          <a:pt x="-789" y="53494"/>
                          <a:pt x="-789" y="49076"/>
                          <a:pt x="2367" y="45920"/>
                        </a:cubicBezTo>
                        <a:lnTo>
                          <a:pt x="18778" y="29509"/>
                        </a:lnTo>
                        <a:lnTo>
                          <a:pt x="2367" y="13098"/>
                        </a:lnTo>
                        <a:cubicBezTo>
                          <a:pt x="-789" y="9942"/>
                          <a:pt x="-789" y="5523"/>
                          <a:pt x="2367" y="2367"/>
                        </a:cubicBezTo>
                        <a:cubicBezTo>
                          <a:pt x="5523" y="-789"/>
                          <a:pt x="9942" y="-789"/>
                          <a:pt x="13098" y="2367"/>
                        </a:cubicBezTo>
                        <a:lnTo>
                          <a:pt x="35190" y="24459"/>
                        </a:lnTo>
                        <a:cubicBezTo>
                          <a:pt x="36452" y="25722"/>
                          <a:pt x="37714" y="27615"/>
                          <a:pt x="37714" y="30140"/>
                        </a:cubicBezTo>
                        <a:cubicBezTo>
                          <a:pt x="37714" y="32665"/>
                          <a:pt x="37083" y="33927"/>
                          <a:pt x="35190" y="35821"/>
                        </a:cubicBezTo>
                        <a:lnTo>
                          <a:pt x="13098" y="57913"/>
                        </a:lnTo>
                        <a:cubicBezTo>
                          <a:pt x="12466" y="58544"/>
                          <a:pt x="10573" y="59175"/>
                          <a:pt x="8048" y="59175"/>
                        </a:cubicBezTo>
                        <a:close/>
                      </a:path>
                    </a:pathLst>
                  </a:custGeom>
                  <a:grpFill/>
                  <a:ln w="3175" cap="flat">
                    <a:solidFill>
                      <a:schemeClr val="tx2"/>
                    </a:solidFill>
                    <a:prstDash val="solid"/>
                    <a:miter/>
                  </a:ln>
                </p:spPr>
                <p:txBody>
                  <a:bodyPr rtlCol="0" anchor="ctr"/>
                  <a:lstStyle/>
                  <a:p>
                    <a:endParaRPr lang="en-US"/>
                  </a:p>
                </p:txBody>
              </p:sp>
            </p:grpSp>
          </p:grpSp>
        </p:grpSp>
        <p:grpSp>
          <p:nvGrpSpPr>
            <p:cNvPr id="68" name="Graphic 4">
              <a:extLst>
                <a:ext uri="{FF2B5EF4-FFF2-40B4-BE49-F238E27FC236}">
                  <a16:creationId xmlns:a16="http://schemas.microsoft.com/office/drawing/2014/main" id="{F6D3A942-DB11-6D01-05DE-154EC749AE49}"/>
                </a:ext>
              </a:extLst>
            </p:cNvPr>
            <p:cNvGrpSpPr/>
            <p:nvPr/>
          </p:nvGrpSpPr>
          <p:grpSpPr>
            <a:xfrm>
              <a:off x="1709342" y="4245446"/>
              <a:ext cx="262580" cy="277729"/>
              <a:chOff x="1709342" y="4245446"/>
              <a:chExt cx="262580" cy="277729"/>
            </a:xfrm>
            <a:grpFill/>
          </p:grpSpPr>
          <p:grpSp>
            <p:nvGrpSpPr>
              <p:cNvPr id="69" name="Graphic 4">
                <a:extLst>
                  <a:ext uri="{FF2B5EF4-FFF2-40B4-BE49-F238E27FC236}">
                    <a16:creationId xmlns:a16="http://schemas.microsoft.com/office/drawing/2014/main" id="{8E619161-C6C1-C437-DC62-8B0917DFBBEC}"/>
                  </a:ext>
                </a:extLst>
              </p:cNvPr>
              <p:cNvGrpSpPr/>
              <p:nvPr/>
            </p:nvGrpSpPr>
            <p:grpSpPr>
              <a:xfrm>
                <a:off x="1709342" y="4245446"/>
                <a:ext cx="262580" cy="277729"/>
                <a:chOff x="1709342" y="4245446"/>
                <a:chExt cx="262580" cy="277729"/>
              </a:xfrm>
              <a:grpFill/>
            </p:grpSpPr>
            <p:sp>
              <p:nvSpPr>
                <p:cNvPr id="73" name="Freeform 1350">
                  <a:extLst>
                    <a:ext uri="{FF2B5EF4-FFF2-40B4-BE49-F238E27FC236}">
                      <a16:creationId xmlns:a16="http://schemas.microsoft.com/office/drawing/2014/main" id="{1A69D679-F11F-BEDE-F2F7-ABD28E65C5F6}"/>
                    </a:ext>
                  </a:extLst>
                </p:cNvPr>
                <p:cNvSpPr/>
                <p:nvPr/>
              </p:nvSpPr>
              <p:spPr>
                <a:xfrm>
                  <a:off x="1709342" y="4376105"/>
                  <a:ext cx="262580" cy="147070"/>
                </a:xfrm>
                <a:custGeom>
                  <a:avLst/>
                  <a:gdLst>
                    <a:gd name="connsiteX0" fmla="*/ 255006 w 262580"/>
                    <a:gd name="connsiteY0" fmla="*/ 147070 h 147070"/>
                    <a:gd name="connsiteX1" fmla="*/ 247432 w 262580"/>
                    <a:gd name="connsiteY1" fmla="*/ 139496 h 147070"/>
                    <a:gd name="connsiteX2" fmla="*/ 247432 w 262580"/>
                    <a:gd name="connsiteY2" fmla="*/ 62489 h 147070"/>
                    <a:gd name="connsiteX3" fmla="*/ 200091 w 262580"/>
                    <a:gd name="connsiteY3" fmla="*/ 15149 h 147070"/>
                    <a:gd name="connsiteX4" fmla="*/ 62489 w 262580"/>
                    <a:gd name="connsiteY4" fmla="*/ 15149 h 147070"/>
                    <a:gd name="connsiteX5" fmla="*/ 15149 w 262580"/>
                    <a:gd name="connsiteY5" fmla="*/ 62489 h 147070"/>
                    <a:gd name="connsiteX6" fmla="*/ 15149 w 262580"/>
                    <a:gd name="connsiteY6" fmla="*/ 139496 h 147070"/>
                    <a:gd name="connsiteX7" fmla="*/ 7574 w 262580"/>
                    <a:gd name="connsiteY7" fmla="*/ 147070 h 147070"/>
                    <a:gd name="connsiteX8" fmla="*/ 0 w 262580"/>
                    <a:gd name="connsiteY8" fmla="*/ 139496 h 147070"/>
                    <a:gd name="connsiteX9" fmla="*/ 0 w 262580"/>
                    <a:gd name="connsiteY9" fmla="*/ 62489 h 147070"/>
                    <a:gd name="connsiteX10" fmla="*/ 62489 w 262580"/>
                    <a:gd name="connsiteY10" fmla="*/ 0 h 147070"/>
                    <a:gd name="connsiteX11" fmla="*/ 200091 w 262580"/>
                    <a:gd name="connsiteY11" fmla="*/ 0 h 147070"/>
                    <a:gd name="connsiteX12" fmla="*/ 262580 w 262580"/>
                    <a:gd name="connsiteY12" fmla="*/ 62489 h 147070"/>
                    <a:gd name="connsiteX13" fmla="*/ 262580 w 262580"/>
                    <a:gd name="connsiteY13" fmla="*/ 139496 h 147070"/>
                    <a:gd name="connsiteX14" fmla="*/ 255006 w 262580"/>
                    <a:gd name="connsiteY14" fmla="*/ 147070 h 14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2580" h="147070">
                      <a:moveTo>
                        <a:pt x="255006" y="147070"/>
                      </a:moveTo>
                      <a:cubicBezTo>
                        <a:pt x="250588" y="147070"/>
                        <a:pt x="247432" y="143914"/>
                        <a:pt x="247432" y="139496"/>
                      </a:cubicBezTo>
                      <a:lnTo>
                        <a:pt x="247432" y="62489"/>
                      </a:lnTo>
                      <a:cubicBezTo>
                        <a:pt x="247432" y="36610"/>
                        <a:pt x="226602" y="15149"/>
                        <a:pt x="200091" y="15149"/>
                      </a:cubicBezTo>
                      <a:lnTo>
                        <a:pt x="62489" y="15149"/>
                      </a:lnTo>
                      <a:cubicBezTo>
                        <a:pt x="36610" y="15149"/>
                        <a:pt x="15149" y="35978"/>
                        <a:pt x="15149" y="62489"/>
                      </a:cubicBezTo>
                      <a:lnTo>
                        <a:pt x="15149" y="139496"/>
                      </a:lnTo>
                      <a:cubicBezTo>
                        <a:pt x="15149" y="143914"/>
                        <a:pt x="11993" y="147070"/>
                        <a:pt x="7574" y="147070"/>
                      </a:cubicBezTo>
                      <a:cubicBezTo>
                        <a:pt x="3156" y="147070"/>
                        <a:pt x="0" y="143914"/>
                        <a:pt x="0" y="139496"/>
                      </a:cubicBezTo>
                      <a:lnTo>
                        <a:pt x="0" y="62489"/>
                      </a:lnTo>
                      <a:cubicBezTo>
                        <a:pt x="0" y="27773"/>
                        <a:pt x="27773" y="0"/>
                        <a:pt x="62489" y="0"/>
                      </a:cubicBezTo>
                      <a:lnTo>
                        <a:pt x="200091" y="0"/>
                      </a:lnTo>
                      <a:cubicBezTo>
                        <a:pt x="234807" y="0"/>
                        <a:pt x="262580" y="27773"/>
                        <a:pt x="262580" y="62489"/>
                      </a:cubicBezTo>
                      <a:lnTo>
                        <a:pt x="262580" y="139496"/>
                      </a:lnTo>
                      <a:cubicBezTo>
                        <a:pt x="262580" y="143914"/>
                        <a:pt x="258793" y="147070"/>
                        <a:pt x="255006" y="147070"/>
                      </a:cubicBezTo>
                      <a:close/>
                    </a:path>
                  </a:pathLst>
                </a:custGeom>
                <a:grpFill/>
                <a:ln w="3175" cap="flat">
                  <a:solidFill>
                    <a:schemeClr val="tx2"/>
                  </a:solidFill>
                  <a:prstDash val="solid"/>
                  <a:miter/>
                </a:ln>
              </p:spPr>
              <p:txBody>
                <a:bodyPr rtlCol="0" anchor="ctr"/>
                <a:lstStyle/>
                <a:p>
                  <a:endParaRPr lang="en-US"/>
                </a:p>
              </p:txBody>
            </p:sp>
            <p:sp>
              <p:nvSpPr>
                <p:cNvPr id="74" name="Freeform 1351">
                  <a:extLst>
                    <a:ext uri="{FF2B5EF4-FFF2-40B4-BE49-F238E27FC236}">
                      <a16:creationId xmlns:a16="http://schemas.microsoft.com/office/drawing/2014/main" id="{D7AB9BCF-B0BB-9148-8C28-15288267E17D}"/>
                    </a:ext>
                  </a:extLst>
                </p:cNvPr>
                <p:cNvSpPr/>
                <p:nvPr/>
              </p:nvSpPr>
              <p:spPr>
                <a:xfrm>
                  <a:off x="1786349" y="4245446"/>
                  <a:ext cx="108566" cy="108566"/>
                </a:xfrm>
                <a:custGeom>
                  <a:avLst/>
                  <a:gdLst>
                    <a:gd name="connsiteX0" fmla="*/ 54283 w 108566"/>
                    <a:gd name="connsiteY0" fmla="*/ 108567 h 108566"/>
                    <a:gd name="connsiteX1" fmla="*/ 0 w 108566"/>
                    <a:gd name="connsiteY1" fmla="*/ 54283 h 108566"/>
                    <a:gd name="connsiteX2" fmla="*/ 54283 w 108566"/>
                    <a:gd name="connsiteY2" fmla="*/ 0 h 108566"/>
                    <a:gd name="connsiteX3" fmla="*/ 108567 w 108566"/>
                    <a:gd name="connsiteY3" fmla="*/ 54283 h 108566"/>
                    <a:gd name="connsiteX4" fmla="*/ 54283 w 108566"/>
                    <a:gd name="connsiteY4" fmla="*/ 108567 h 108566"/>
                    <a:gd name="connsiteX5" fmla="*/ 54283 w 108566"/>
                    <a:gd name="connsiteY5" fmla="*/ 15780 h 108566"/>
                    <a:gd name="connsiteX6" fmla="*/ 15780 w 108566"/>
                    <a:gd name="connsiteY6" fmla="*/ 54283 h 108566"/>
                    <a:gd name="connsiteX7" fmla="*/ 54283 w 108566"/>
                    <a:gd name="connsiteY7" fmla="*/ 92787 h 108566"/>
                    <a:gd name="connsiteX8" fmla="*/ 92787 w 108566"/>
                    <a:gd name="connsiteY8" fmla="*/ 54283 h 108566"/>
                    <a:gd name="connsiteX9" fmla="*/ 54283 w 108566"/>
                    <a:gd name="connsiteY9" fmla="*/ 15780 h 10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566" h="108566">
                      <a:moveTo>
                        <a:pt x="54283" y="108567"/>
                      </a:moveTo>
                      <a:cubicBezTo>
                        <a:pt x="24617" y="108567"/>
                        <a:pt x="0" y="84581"/>
                        <a:pt x="0" y="54283"/>
                      </a:cubicBezTo>
                      <a:cubicBezTo>
                        <a:pt x="0" y="24617"/>
                        <a:pt x="23986" y="0"/>
                        <a:pt x="54283" y="0"/>
                      </a:cubicBezTo>
                      <a:cubicBezTo>
                        <a:pt x="83950" y="0"/>
                        <a:pt x="108567" y="23986"/>
                        <a:pt x="108567" y="54283"/>
                      </a:cubicBezTo>
                      <a:cubicBezTo>
                        <a:pt x="107936" y="84581"/>
                        <a:pt x="83950" y="108567"/>
                        <a:pt x="54283" y="108567"/>
                      </a:cubicBezTo>
                      <a:close/>
                      <a:moveTo>
                        <a:pt x="54283" y="15780"/>
                      </a:moveTo>
                      <a:cubicBezTo>
                        <a:pt x="32823" y="15780"/>
                        <a:pt x="15780" y="32823"/>
                        <a:pt x="15780" y="54283"/>
                      </a:cubicBezTo>
                      <a:cubicBezTo>
                        <a:pt x="15780" y="75744"/>
                        <a:pt x="32823" y="92787"/>
                        <a:pt x="54283" y="92787"/>
                      </a:cubicBezTo>
                      <a:cubicBezTo>
                        <a:pt x="75744" y="92787"/>
                        <a:pt x="92787" y="75744"/>
                        <a:pt x="92787" y="54283"/>
                      </a:cubicBezTo>
                      <a:cubicBezTo>
                        <a:pt x="92787" y="33454"/>
                        <a:pt x="75113" y="15780"/>
                        <a:pt x="54283" y="15780"/>
                      </a:cubicBezTo>
                      <a:close/>
                    </a:path>
                  </a:pathLst>
                </a:custGeom>
                <a:grpFill/>
                <a:ln w="3175" cap="flat">
                  <a:solidFill>
                    <a:schemeClr val="tx2"/>
                  </a:solidFill>
                  <a:prstDash val="solid"/>
                  <a:miter/>
                </a:ln>
              </p:spPr>
              <p:txBody>
                <a:bodyPr rtlCol="0" anchor="ctr"/>
                <a:lstStyle/>
                <a:p>
                  <a:endParaRPr lang="en-US"/>
                </a:p>
              </p:txBody>
            </p:sp>
          </p:grpSp>
          <p:grpSp>
            <p:nvGrpSpPr>
              <p:cNvPr id="70" name="Graphic 4">
                <a:extLst>
                  <a:ext uri="{FF2B5EF4-FFF2-40B4-BE49-F238E27FC236}">
                    <a16:creationId xmlns:a16="http://schemas.microsoft.com/office/drawing/2014/main" id="{6687632A-3713-488E-6E02-6F202A53571F}"/>
                  </a:ext>
                </a:extLst>
              </p:cNvPr>
              <p:cNvGrpSpPr/>
              <p:nvPr/>
            </p:nvGrpSpPr>
            <p:grpSpPr>
              <a:xfrm>
                <a:off x="1760469" y="4439226"/>
                <a:ext cx="159763" cy="83949"/>
                <a:chOff x="1760469" y="4439226"/>
                <a:chExt cx="159763" cy="83949"/>
              </a:xfrm>
              <a:grpFill/>
            </p:grpSpPr>
            <p:sp>
              <p:nvSpPr>
                <p:cNvPr id="71" name="Freeform 1348">
                  <a:extLst>
                    <a:ext uri="{FF2B5EF4-FFF2-40B4-BE49-F238E27FC236}">
                      <a16:creationId xmlns:a16="http://schemas.microsoft.com/office/drawing/2014/main" id="{A6DC6E3D-0FDB-0CB2-1134-02E6862219B9}"/>
                    </a:ext>
                  </a:extLst>
                </p:cNvPr>
                <p:cNvSpPr/>
                <p:nvPr/>
              </p:nvSpPr>
              <p:spPr>
                <a:xfrm>
                  <a:off x="1760469" y="4439226"/>
                  <a:ext cx="15148" cy="83949"/>
                </a:xfrm>
                <a:custGeom>
                  <a:avLst/>
                  <a:gdLst>
                    <a:gd name="connsiteX0" fmla="*/ 7574 w 15148"/>
                    <a:gd name="connsiteY0" fmla="*/ 83950 h 83949"/>
                    <a:gd name="connsiteX1" fmla="*/ 0 w 15148"/>
                    <a:gd name="connsiteY1" fmla="*/ 76375 h 83949"/>
                    <a:gd name="connsiteX2" fmla="*/ 0 w 15148"/>
                    <a:gd name="connsiteY2" fmla="*/ 7574 h 83949"/>
                    <a:gd name="connsiteX3" fmla="*/ 7574 w 15148"/>
                    <a:gd name="connsiteY3" fmla="*/ 0 h 83949"/>
                    <a:gd name="connsiteX4" fmla="*/ 15149 w 15148"/>
                    <a:gd name="connsiteY4" fmla="*/ 7574 h 83949"/>
                    <a:gd name="connsiteX5" fmla="*/ 15149 w 15148"/>
                    <a:gd name="connsiteY5" fmla="*/ 76375 h 83949"/>
                    <a:gd name="connsiteX6" fmla="*/ 7574 w 15148"/>
                    <a:gd name="connsiteY6" fmla="*/ 83950 h 8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48" h="83949">
                      <a:moveTo>
                        <a:pt x="7574" y="83950"/>
                      </a:moveTo>
                      <a:cubicBezTo>
                        <a:pt x="3156" y="83950"/>
                        <a:pt x="0" y="80794"/>
                        <a:pt x="0" y="76375"/>
                      </a:cubicBezTo>
                      <a:lnTo>
                        <a:pt x="0" y="7574"/>
                      </a:lnTo>
                      <a:cubicBezTo>
                        <a:pt x="0" y="3156"/>
                        <a:pt x="3156" y="0"/>
                        <a:pt x="7574" y="0"/>
                      </a:cubicBezTo>
                      <a:cubicBezTo>
                        <a:pt x="11993" y="0"/>
                        <a:pt x="15149" y="3156"/>
                        <a:pt x="15149" y="7574"/>
                      </a:cubicBezTo>
                      <a:lnTo>
                        <a:pt x="15149" y="76375"/>
                      </a:lnTo>
                      <a:cubicBezTo>
                        <a:pt x="15149" y="80794"/>
                        <a:pt x="11362" y="83950"/>
                        <a:pt x="7574" y="83950"/>
                      </a:cubicBezTo>
                      <a:close/>
                    </a:path>
                  </a:pathLst>
                </a:custGeom>
                <a:grpFill/>
                <a:ln w="3175" cap="flat">
                  <a:solidFill>
                    <a:schemeClr val="tx2"/>
                  </a:solidFill>
                  <a:prstDash val="solid"/>
                  <a:miter/>
                </a:ln>
              </p:spPr>
              <p:txBody>
                <a:bodyPr rtlCol="0" anchor="ctr"/>
                <a:lstStyle/>
                <a:p>
                  <a:endParaRPr lang="en-US"/>
                </a:p>
              </p:txBody>
            </p:sp>
            <p:sp>
              <p:nvSpPr>
                <p:cNvPr id="72" name="Freeform 1349">
                  <a:extLst>
                    <a:ext uri="{FF2B5EF4-FFF2-40B4-BE49-F238E27FC236}">
                      <a16:creationId xmlns:a16="http://schemas.microsoft.com/office/drawing/2014/main" id="{87C2FC48-F77C-6E80-8136-612DC3297BE9}"/>
                    </a:ext>
                  </a:extLst>
                </p:cNvPr>
                <p:cNvSpPr/>
                <p:nvPr/>
              </p:nvSpPr>
              <p:spPr>
                <a:xfrm>
                  <a:off x="1905015" y="4439226"/>
                  <a:ext cx="15217" cy="83949"/>
                </a:xfrm>
                <a:custGeom>
                  <a:avLst/>
                  <a:gdLst>
                    <a:gd name="connsiteX0" fmla="*/ 7575 w 15217"/>
                    <a:gd name="connsiteY0" fmla="*/ 83950 h 83949"/>
                    <a:gd name="connsiteX1" fmla="*/ 0 w 15217"/>
                    <a:gd name="connsiteY1" fmla="*/ 76375 h 83949"/>
                    <a:gd name="connsiteX2" fmla="*/ 0 w 15217"/>
                    <a:gd name="connsiteY2" fmla="*/ 7574 h 83949"/>
                    <a:gd name="connsiteX3" fmla="*/ 7575 w 15217"/>
                    <a:gd name="connsiteY3" fmla="*/ 0 h 83949"/>
                    <a:gd name="connsiteX4" fmla="*/ 15149 w 15217"/>
                    <a:gd name="connsiteY4" fmla="*/ 7574 h 83949"/>
                    <a:gd name="connsiteX5" fmla="*/ 15149 w 15217"/>
                    <a:gd name="connsiteY5" fmla="*/ 76375 h 83949"/>
                    <a:gd name="connsiteX6" fmla="*/ 7575 w 15217"/>
                    <a:gd name="connsiteY6" fmla="*/ 83950 h 8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17" h="83949">
                      <a:moveTo>
                        <a:pt x="7575" y="83950"/>
                      </a:moveTo>
                      <a:cubicBezTo>
                        <a:pt x="3156" y="83950"/>
                        <a:pt x="0" y="80794"/>
                        <a:pt x="0" y="76375"/>
                      </a:cubicBezTo>
                      <a:lnTo>
                        <a:pt x="0" y="7574"/>
                      </a:lnTo>
                      <a:cubicBezTo>
                        <a:pt x="0" y="3156"/>
                        <a:pt x="3156" y="0"/>
                        <a:pt x="7575" y="0"/>
                      </a:cubicBezTo>
                      <a:cubicBezTo>
                        <a:pt x="11993" y="0"/>
                        <a:pt x="15149" y="3156"/>
                        <a:pt x="15149" y="7574"/>
                      </a:cubicBezTo>
                      <a:lnTo>
                        <a:pt x="15149" y="76375"/>
                      </a:lnTo>
                      <a:cubicBezTo>
                        <a:pt x="15780" y="80794"/>
                        <a:pt x="11993" y="83950"/>
                        <a:pt x="7575" y="83950"/>
                      </a:cubicBezTo>
                      <a:close/>
                    </a:path>
                  </a:pathLst>
                </a:custGeom>
                <a:grpFill/>
                <a:ln w="3175" cap="flat">
                  <a:solidFill>
                    <a:schemeClr val="tx2"/>
                  </a:solidFill>
                  <a:prstDash val="solid"/>
                  <a:miter/>
                </a:ln>
              </p:spPr>
              <p:txBody>
                <a:bodyPr rtlCol="0" anchor="ctr"/>
                <a:lstStyle/>
                <a:p>
                  <a:endParaRPr lang="en-US"/>
                </a:p>
              </p:txBody>
            </p:sp>
          </p:grpSp>
        </p:grpSp>
      </p:grpSp>
      <p:pic>
        <p:nvPicPr>
          <p:cNvPr id="126" name="Graphic 125" descr="Recycle outline">
            <a:extLst>
              <a:ext uri="{FF2B5EF4-FFF2-40B4-BE49-F238E27FC236}">
                <a16:creationId xmlns:a16="http://schemas.microsoft.com/office/drawing/2014/main" id="{6B57ABBA-EB6C-013A-C833-3AD673229A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53616" y="3759183"/>
            <a:ext cx="541810" cy="541810"/>
          </a:xfrm>
          <a:prstGeom prst="rect">
            <a:avLst/>
          </a:prstGeom>
        </p:spPr>
      </p:pic>
      <p:grpSp>
        <p:nvGrpSpPr>
          <p:cNvPr id="127" name="Graphic 4">
            <a:extLst>
              <a:ext uri="{FF2B5EF4-FFF2-40B4-BE49-F238E27FC236}">
                <a16:creationId xmlns:a16="http://schemas.microsoft.com/office/drawing/2014/main" id="{91F8EEA4-7556-1B87-D0A2-BC0A86977BA6}"/>
              </a:ext>
            </a:extLst>
          </p:cNvPr>
          <p:cNvGrpSpPr/>
          <p:nvPr/>
        </p:nvGrpSpPr>
        <p:grpSpPr>
          <a:xfrm>
            <a:off x="4785377" y="4631088"/>
            <a:ext cx="513582" cy="493600"/>
            <a:chOff x="2642891" y="1801429"/>
            <a:chExt cx="513582" cy="493600"/>
          </a:xfrm>
          <a:solidFill>
            <a:schemeClr val="tx2"/>
          </a:solidFill>
        </p:grpSpPr>
        <p:grpSp>
          <p:nvGrpSpPr>
            <p:cNvPr id="128" name="Graphic 4">
              <a:extLst>
                <a:ext uri="{FF2B5EF4-FFF2-40B4-BE49-F238E27FC236}">
                  <a16:creationId xmlns:a16="http://schemas.microsoft.com/office/drawing/2014/main" id="{266A2D7A-9D22-2889-4821-10550048754A}"/>
                </a:ext>
              </a:extLst>
            </p:cNvPr>
            <p:cNvGrpSpPr/>
            <p:nvPr/>
          </p:nvGrpSpPr>
          <p:grpSpPr>
            <a:xfrm>
              <a:off x="2642891" y="1801429"/>
              <a:ext cx="434038" cy="446891"/>
              <a:chOff x="2642891" y="1801429"/>
              <a:chExt cx="434038" cy="446891"/>
            </a:xfrm>
            <a:grpFill/>
          </p:grpSpPr>
          <p:sp>
            <p:nvSpPr>
              <p:cNvPr id="132" name="Freeform 1481">
                <a:extLst>
                  <a:ext uri="{FF2B5EF4-FFF2-40B4-BE49-F238E27FC236}">
                    <a16:creationId xmlns:a16="http://schemas.microsoft.com/office/drawing/2014/main" id="{7D243DEF-BE1A-DD6E-0B55-E154B8D9D0F6}"/>
                  </a:ext>
                </a:extLst>
              </p:cNvPr>
              <p:cNvSpPr/>
              <p:nvPr/>
            </p:nvSpPr>
            <p:spPr>
              <a:xfrm>
                <a:off x="2642891" y="1801429"/>
                <a:ext cx="434038" cy="446891"/>
              </a:xfrm>
              <a:custGeom>
                <a:avLst/>
                <a:gdLst>
                  <a:gd name="connsiteX0" fmla="*/ 220921 w 434038"/>
                  <a:gd name="connsiteY0" fmla="*/ 446891 h 446891"/>
                  <a:gd name="connsiteX1" fmla="*/ 220921 w 434038"/>
                  <a:gd name="connsiteY1" fmla="*/ 446891 h 446891"/>
                  <a:gd name="connsiteX2" fmla="*/ 0 w 434038"/>
                  <a:gd name="connsiteY2" fmla="*/ 223446 h 446891"/>
                  <a:gd name="connsiteX3" fmla="*/ 221552 w 434038"/>
                  <a:gd name="connsiteY3" fmla="*/ 0 h 446891"/>
                  <a:gd name="connsiteX4" fmla="*/ 225339 w 434038"/>
                  <a:gd name="connsiteY4" fmla="*/ 0 h 446891"/>
                  <a:gd name="connsiteX5" fmla="*/ 421012 w 434038"/>
                  <a:gd name="connsiteY5" fmla="*/ 118666 h 446891"/>
                  <a:gd name="connsiteX6" fmla="*/ 433636 w 434038"/>
                  <a:gd name="connsiteY6" fmla="*/ 147070 h 446891"/>
                  <a:gd name="connsiteX7" fmla="*/ 430480 w 434038"/>
                  <a:gd name="connsiteY7" fmla="*/ 154013 h 446891"/>
                  <a:gd name="connsiteX8" fmla="*/ 423537 w 434038"/>
                  <a:gd name="connsiteY8" fmla="*/ 150857 h 446891"/>
                  <a:gd name="connsiteX9" fmla="*/ 411544 w 434038"/>
                  <a:gd name="connsiteY9" fmla="*/ 123716 h 446891"/>
                  <a:gd name="connsiteX10" fmla="*/ 224708 w 434038"/>
                  <a:gd name="connsiteY10" fmla="*/ 10099 h 446891"/>
                  <a:gd name="connsiteX11" fmla="*/ 222815 w 434038"/>
                  <a:gd name="connsiteY11" fmla="*/ 10099 h 446891"/>
                  <a:gd name="connsiteX12" fmla="*/ 221552 w 434038"/>
                  <a:gd name="connsiteY12" fmla="*/ 10099 h 446891"/>
                  <a:gd name="connsiteX13" fmla="*/ 10099 w 434038"/>
                  <a:gd name="connsiteY13" fmla="*/ 223446 h 446891"/>
                  <a:gd name="connsiteX14" fmla="*/ 220921 w 434038"/>
                  <a:gd name="connsiteY14" fmla="*/ 436792 h 446891"/>
                  <a:gd name="connsiteX15" fmla="*/ 225971 w 434038"/>
                  <a:gd name="connsiteY15" fmla="*/ 441842 h 446891"/>
                  <a:gd name="connsiteX16" fmla="*/ 220921 w 434038"/>
                  <a:gd name="connsiteY16" fmla="*/ 446891 h 44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4038" h="446891">
                    <a:moveTo>
                      <a:pt x="220921" y="446891"/>
                    </a:moveTo>
                    <a:cubicBezTo>
                      <a:pt x="220921" y="446891"/>
                      <a:pt x="220921" y="446891"/>
                      <a:pt x="220921" y="446891"/>
                    </a:cubicBezTo>
                    <a:cubicBezTo>
                      <a:pt x="99099" y="445629"/>
                      <a:pt x="0" y="345268"/>
                      <a:pt x="0" y="223446"/>
                    </a:cubicBezTo>
                    <a:cubicBezTo>
                      <a:pt x="0" y="100992"/>
                      <a:pt x="99730" y="631"/>
                      <a:pt x="221552" y="0"/>
                    </a:cubicBezTo>
                    <a:cubicBezTo>
                      <a:pt x="222183" y="0"/>
                      <a:pt x="224077" y="0"/>
                      <a:pt x="225339" y="0"/>
                    </a:cubicBezTo>
                    <a:cubicBezTo>
                      <a:pt x="307396" y="631"/>
                      <a:pt x="382509" y="46078"/>
                      <a:pt x="421012" y="118666"/>
                    </a:cubicBezTo>
                    <a:cubicBezTo>
                      <a:pt x="426062" y="127503"/>
                      <a:pt x="429849" y="136971"/>
                      <a:pt x="433636" y="147070"/>
                    </a:cubicBezTo>
                    <a:cubicBezTo>
                      <a:pt x="434899" y="149595"/>
                      <a:pt x="433005" y="152751"/>
                      <a:pt x="430480" y="154013"/>
                    </a:cubicBezTo>
                    <a:cubicBezTo>
                      <a:pt x="427956" y="155276"/>
                      <a:pt x="424800" y="153382"/>
                      <a:pt x="423537" y="150857"/>
                    </a:cubicBezTo>
                    <a:cubicBezTo>
                      <a:pt x="420381" y="141389"/>
                      <a:pt x="415963" y="132553"/>
                      <a:pt x="411544" y="123716"/>
                    </a:cubicBezTo>
                    <a:cubicBezTo>
                      <a:pt x="374934" y="54283"/>
                      <a:pt x="302977" y="10731"/>
                      <a:pt x="224708" y="10099"/>
                    </a:cubicBezTo>
                    <a:cubicBezTo>
                      <a:pt x="224077" y="10099"/>
                      <a:pt x="223446" y="10099"/>
                      <a:pt x="222815" y="10099"/>
                    </a:cubicBezTo>
                    <a:cubicBezTo>
                      <a:pt x="222183" y="10099"/>
                      <a:pt x="221552" y="10099"/>
                      <a:pt x="221552" y="10099"/>
                    </a:cubicBezTo>
                    <a:cubicBezTo>
                      <a:pt x="104780" y="10731"/>
                      <a:pt x="10099" y="106673"/>
                      <a:pt x="10099" y="223446"/>
                    </a:cubicBezTo>
                    <a:cubicBezTo>
                      <a:pt x="10099" y="339587"/>
                      <a:pt x="104780" y="435530"/>
                      <a:pt x="220921" y="436792"/>
                    </a:cubicBezTo>
                    <a:cubicBezTo>
                      <a:pt x="224077" y="436792"/>
                      <a:pt x="225971" y="439317"/>
                      <a:pt x="225971" y="441842"/>
                    </a:cubicBezTo>
                    <a:cubicBezTo>
                      <a:pt x="225971" y="444998"/>
                      <a:pt x="224077" y="446891"/>
                      <a:pt x="220921" y="446891"/>
                    </a:cubicBezTo>
                    <a:close/>
                  </a:path>
                </a:pathLst>
              </a:custGeom>
              <a:grpFill/>
              <a:ln w="6350" cap="flat">
                <a:solidFill>
                  <a:schemeClr val="tx2"/>
                </a:solidFill>
                <a:prstDash val="solid"/>
                <a:miter/>
              </a:ln>
            </p:spPr>
            <p:txBody>
              <a:bodyPr rtlCol="0" anchor="ctr"/>
              <a:lstStyle/>
              <a:p>
                <a:endParaRPr lang="en-US"/>
              </a:p>
            </p:txBody>
          </p:sp>
          <p:sp>
            <p:nvSpPr>
              <p:cNvPr id="133" name="Freeform 1482">
                <a:extLst>
                  <a:ext uri="{FF2B5EF4-FFF2-40B4-BE49-F238E27FC236}">
                    <a16:creationId xmlns:a16="http://schemas.microsoft.com/office/drawing/2014/main" id="{DDB97553-5679-6C4B-7532-308B6DC94C36}"/>
                  </a:ext>
                </a:extLst>
              </p:cNvPr>
              <p:cNvSpPr/>
              <p:nvPr/>
            </p:nvSpPr>
            <p:spPr>
              <a:xfrm>
                <a:off x="2771025" y="1801429"/>
                <a:ext cx="185694" cy="446891"/>
              </a:xfrm>
              <a:custGeom>
                <a:avLst/>
                <a:gdLst>
                  <a:gd name="connsiteX0" fmla="*/ 92787 w 185694"/>
                  <a:gd name="connsiteY0" fmla="*/ 446891 h 446891"/>
                  <a:gd name="connsiteX1" fmla="*/ 92787 w 185694"/>
                  <a:gd name="connsiteY1" fmla="*/ 446891 h 446891"/>
                  <a:gd name="connsiteX2" fmla="*/ 5681 w 185694"/>
                  <a:gd name="connsiteY2" fmla="*/ 300453 h 446891"/>
                  <a:gd name="connsiteX3" fmla="*/ 0 w 185694"/>
                  <a:gd name="connsiteY3" fmla="*/ 223446 h 446891"/>
                  <a:gd name="connsiteX4" fmla="*/ 5681 w 185694"/>
                  <a:gd name="connsiteY4" fmla="*/ 146439 h 446891"/>
                  <a:gd name="connsiteX5" fmla="*/ 93418 w 185694"/>
                  <a:gd name="connsiteY5" fmla="*/ 0 h 446891"/>
                  <a:gd name="connsiteX6" fmla="*/ 97836 w 185694"/>
                  <a:gd name="connsiteY6" fmla="*/ 0 h 446891"/>
                  <a:gd name="connsiteX7" fmla="*/ 185574 w 185694"/>
                  <a:gd name="connsiteY7" fmla="*/ 146439 h 446891"/>
                  <a:gd name="connsiteX8" fmla="*/ 181155 w 185694"/>
                  <a:gd name="connsiteY8" fmla="*/ 152120 h 446891"/>
                  <a:gd name="connsiteX9" fmla="*/ 175474 w 185694"/>
                  <a:gd name="connsiteY9" fmla="*/ 147701 h 446891"/>
                  <a:gd name="connsiteX10" fmla="*/ 97836 w 185694"/>
                  <a:gd name="connsiteY10" fmla="*/ 10099 h 446891"/>
                  <a:gd name="connsiteX11" fmla="*/ 96574 w 185694"/>
                  <a:gd name="connsiteY11" fmla="*/ 10099 h 446891"/>
                  <a:gd name="connsiteX12" fmla="*/ 95311 w 185694"/>
                  <a:gd name="connsiteY12" fmla="*/ 10099 h 446891"/>
                  <a:gd name="connsiteX13" fmla="*/ 17042 w 185694"/>
                  <a:gd name="connsiteY13" fmla="*/ 147701 h 446891"/>
                  <a:gd name="connsiteX14" fmla="*/ 11362 w 185694"/>
                  <a:gd name="connsiteY14" fmla="*/ 223446 h 446891"/>
                  <a:gd name="connsiteX15" fmla="*/ 17042 w 185694"/>
                  <a:gd name="connsiteY15" fmla="*/ 299190 h 446891"/>
                  <a:gd name="connsiteX16" fmla="*/ 94049 w 185694"/>
                  <a:gd name="connsiteY16" fmla="*/ 436792 h 446891"/>
                  <a:gd name="connsiteX17" fmla="*/ 99099 w 185694"/>
                  <a:gd name="connsiteY17" fmla="*/ 442473 h 446891"/>
                  <a:gd name="connsiteX18" fmla="*/ 92787 w 185694"/>
                  <a:gd name="connsiteY18" fmla="*/ 446891 h 44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5694" h="446891">
                    <a:moveTo>
                      <a:pt x="92787" y="446891"/>
                    </a:moveTo>
                    <a:cubicBezTo>
                      <a:pt x="92787" y="446891"/>
                      <a:pt x="92787" y="446891"/>
                      <a:pt x="92787" y="446891"/>
                    </a:cubicBezTo>
                    <a:cubicBezTo>
                      <a:pt x="53021" y="444367"/>
                      <a:pt x="18936" y="386927"/>
                      <a:pt x="5681" y="300453"/>
                    </a:cubicBezTo>
                    <a:cubicBezTo>
                      <a:pt x="1894" y="275836"/>
                      <a:pt x="0" y="249956"/>
                      <a:pt x="0" y="223446"/>
                    </a:cubicBezTo>
                    <a:cubicBezTo>
                      <a:pt x="0" y="196935"/>
                      <a:pt x="1894" y="171056"/>
                      <a:pt x="5681" y="146439"/>
                    </a:cubicBezTo>
                    <a:cubicBezTo>
                      <a:pt x="18936" y="59333"/>
                      <a:pt x="53652" y="1894"/>
                      <a:pt x="93418" y="0"/>
                    </a:cubicBezTo>
                    <a:cubicBezTo>
                      <a:pt x="94680" y="0"/>
                      <a:pt x="95943" y="0"/>
                      <a:pt x="97836" y="0"/>
                    </a:cubicBezTo>
                    <a:cubicBezTo>
                      <a:pt x="137602" y="1894"/>
                      <a:pt x="172318" y="59333"/>
                      <a:pt x="185574" y="146439"/>
                    </a:cubicBezTo>
                    <a:cubicBezTo>
                      <a:pt x="186205" y="149595"/>
                      <a:pt x="184311" y="152120"/>
                      <a:pt x="181155" y="152120"/>
                    </a:cubicBezTo>
                    <a:cubicBezTo>
                      <a:pt x="177999" y="152751"/>
                      <a:pt x="175474" y="150857"/>
                      <a:pt x="175474" y="147701"/>
                    </a:cubicBezTo>
                    <a:cubicBezTo>
                      <a:pt x="162850" y="66908"/>
                      <a:pt x="131921" y="11993"/>
                      <a:pt x="97836" y="10099"/>
                    </a:cubicBezTo>
                    <a:cubicBezTo>
                      <a:pt x="97205" y="10099"/>
                      <a:pt x="96574" y="10099"/>
                      <a:pt x="96574" y="10099"/>
                    </a:cubicBezTo>
                    <a:cubicBezTo>
                      <a:pt x="95943" y="10099"/>
                      <a:pt x="95311" y="10099"/>
                      <a:pt x="95311" y="10099"/>
                    </a:cubicBezTo>
                    <a:cubicBezTo>
                      <a:pt x="61227" y="11993"/>
                      <a:pt x="29666" y="66908"/>
                      <a:pt x="17042" y="147701"/>
                    </a:cubicBezTo>
                    <a:cubicBezTo>
                      <a:pt x="13255" y="171687"/>
                      <a:pt x="11362" y="196935"/>
                      <a:pt x="11362" y="223446"/>
                    </a:cubicBezTo>
                    <a:cubicBezTo>
                      <a:pt x="11362" y="249325"/>
                      <a:pt x="13255" y="275204"/>
                      <a:pt x="17042" y="299190"/>
                    </a:cubicBezTo>
                    <a:cubicBezTo>
                      <a:pt x="29666" y="379353"/>
                      <a:pt x="60595" y="434267"/>
                      <a:pt x="94049" y="436792"/>
                    </a:cubicBezTo>
                    <a:cubicBezTo>
                      <a:pt x="97205" y="436792"/>
                      <a:pt x="99099" y="439317"/>
                      <a:pt x="99099" y="442473"/>
                    </a:cubicBezTo>
                    <a:cubicBezTo>
                      <a:pt x="97836" y="444998"/>
                      <a:pt x="95943" y="446891"/>
                      <a:pt x="92787" y="446891"/>
                    </a:cubicBezTo>
                    <a:close/>
                  </a:path>
                </a:pathLst>
              </a:custGeom>
              <a:grpFill/>
              <a:ln w="6350" cap="flat">
                <a:solidFill>
                  <a:schemeClr val="tx2"/>
                </a:solidFill>
                <a:prstDash val="solid"/>
                <a:miter/>
              </a:ln>
            </p:spPr>
            <p:txBody>
              <a:bodyPr rtlCol="0" anchor="ctr"/>
              <a:lstStyle/>
              <a:p>
                <a:endParaRPr lang="en-US"/>
              </a:p>
            </p:txBody>
          </p:sp>
          <p:sp>
            <p:nvSpPr>
              <p:cNvPr id="134" name="Freeform 1483">
                <a:extLst>
                  <a:ext uri="{FF2B5EF4-FFF2-40B4-BE49-F238E27FC236}">
                    <a16:creationId xmlns:a16="http://schemas.microsoft.com/office/drawing/2014/main" id="{981532AD-269C-EDF2-F53E-1323AEE60875}"/>
                  </a:ext>
                </a:extLst>
              </p:cNvPr>
              <p:cNvSpPr/>
              <p:nvPr/>
            </p:nvSpPr>
            <p:spPr>
              <a:xfrm>
                <a:off x="2668368" y="1917169"/>
                <a:ext cx="397198" cy="42061"/>
              </a:xfrm>
              <a:custGeom>
                <a:avLst/>
                <a:gdLst>
                  <a:gd name="connsiteX0" fmla="*/ 197968 w 397198"/>
                  <a:gd name="connsiteY0" fmla="*/ 42061 h 42061"/>
                  <a:gd name="connsiteX1" fmla="*/ 112756 w 397198"/>
                  <a:gd name="connsiteY1" fmla="*/ 36380 h 42061"/>
                  <a:gd name="connsiteX2" fmla="*/ 3558 w 397198"/>
                  <a:gd name="connsiteY2" fmla="*/ 10501 h 42061"/>
                  <a:gd name="connsiteX3" fmla="*/ 402 w 397198"/>
                  <a:gd name="connsiteY3" fmla="*/ 3558 h 42061"/>
                  <a:gd name="connsiteX4" fmla="*/ 7345 w 397198"/>
                  <a:gd name="connsiteY4" fmla="*/ 402 h 42061"/>
                  <a:gd name="connsiteX5" fmla="*/ 114650 w 397198"/>
                  <a:gd name="connsiteY5" fmla="*/ 26281 h 42061"/>
                  <a:gd name="connsiteX6" fmla="*/ 282550 w 397198"/>
                  <a:gd name="connsiteY6" fmla="*/ 26281 h 42061"/>
                  <a:gd name="connsiteX7" fmla="*/ 389854 w 397198"/>
                  <a:gd name="connsiteY7" fmla="*/ 1033 h 42061"/>
                  <a:gd name="connsiteX8" fmla="*/ 396797 w 397198"/>
                  <a:gd name="connsiteY8" fmla="*/ 4189 h 42061"/>
                  <a:gd name="connsiteX9" fmla="*/ 393641 w 397198"/>
                  <a:gd name="connsiteY9" fmla="*/ 11132 h 42061"/>
                  <a:gd name="connsiteX10" fmla="*/ 284443 w 397198"/>
                  <a:gd name="connsiteY10" fmla="*/ 37012 h 42061"/>
                  <a:gd name="connsiteX11" fmla="*/ 197968 w 397198"/>
                  <a:gd name="connsiteY11" fmla="*/ 42061 h 4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7198" h="42061">
                    <a:moveTo>
                      <a:pt x="197968" y="42061"/>
                    </a:moveTo>
                    <a:cubicBezTo>
                      <a:pt x="168933" y="42061"/>
                      <a:pt x="140529" y="40168"/>
                      <a:pt x="112756" y="36380"/>
                    </a:cubicBezTo>
                    <a:cubicBezTo>
                      <a:pt x="73621" y="31331"/>
                      <a:pt x="37012" y="22494"/>
                      <a:pt x="3558" y="10501"/>
                    </a:cubicBezTo>
                    <a:cubicBezTo>
                      <a:pt x="1033" y="9239"/>
                      <a:pt x="-861" y="6714"/>
                      <a:pt x="402" y="3558"/>
                    </a:cubicBezTo>
                    <a:cubicBezTo>
                      <a:pt x="1664" y="1033"/>
                      <a:pt x="4189" y="-861"/>
                      <a:pt x="7345" y="402"/>
                    </a:cubicBezTo>
                    <a:cubicBezTo>
                      <a:pt x="40168" y="12395"/>
                      <a:pt x="76777" y="20600"/>
                      <a:pt x="114650" y="26281"/>
                    </a:cubicBezTo>
                    <a:cubicBezTo>
                      <a:pt x="169564" y="33856"/>
                      <a:pt x="228266" y="33856"/>
                      <a:pt x="282550" y="26281"/>
                    </a:cubicBezTo>
                    <a:cubicBezTo>
                      <a:pt x="320422" y="21232"/>
                      <a:pt x="357031" y="12395"/>
                      <a:pt x="389854" y="1033"/>
                    </a:cubicBezTo>
                    <a:cubicBezTo>
                      <a:pt x="392379" y="-229"/>
                      <a:pt x="395535" y="1664"/>
                      <a:pt x="396797" y="4189"/>
                    </a:cubicBezTo>
                    <a:cubicBezTo>
                      <a:pt x="398060" y="6714"/>
                      <a:pt x="396166" y="9870"/>
                      <a:pt x="393641" y="11132"/>
                    </a:cubicBezTo>
                    <a:cubicBezTo>
                      <a:pt x="359556" y="23125"/>
                      <a:pt x="322946" y="31962"/>
                      <a:pt x="284443" y="37012"/>
                    </a:cubicBezTo>
                    <a:cubicBezTo>
                      <a:pt x="255408" y="40168"/>
                      <a:pt x="227004" y="42061"/>
                      <a:pt x="197968" y="42061"/>
                    </a:cubicBezTo>
                    <a:close/>
                  </a:path>
                </a:pathLst>
              </a:custGeom>
              <a:grpFill/>
              <a:ln w="6350" cap="flat">
                <a:solidFill>
                  <a:schemeClr val="tx2"/>
                </a:solidFill>
                <a:prstDash val="solid"/>
                <a:miter/>
              </a:ln>
            </p:spPr>
            <p:txBody>
              <a:bodyPr rtlCol="0" anchor="ctr"/>
              <a:lstStyle/>
              <a:p>
                <a:endParaRPr lang="en-US"/>
              </a:p>
            </p:txBody>
          </p:sp>
          <p:sp>
            <p:nvSpPr>
              <p:cNvPr id="135" name="Freeform 1484">
                <a:extLst>
                  <a:ext uri="{FF2B5EF4-FFF2-40B4-BE49-F238E27FC236}">
                    <a16:creationId xmlns:a16="http://schemas.microsoft.com/office/drawing/2014/main" id="{D55D290F-1388-E32B-4EA8-E01A58C371CA}"/>
                  </a:ext>
                </a:extLst>
              </p:cNvPr>
              <p:cNvSpPr/>
              <p:nvPr/>
            </p:nvSpPr>
            <p:spPr>
              <a:xfrm>
                <a:off x="2667737" y="2090520"/>
                <a:ext cx="224478" cy="42290"/>
              </a:xfrm>
              <a:custGeom>
                <a:avLst/>
                <a:gdLst>
                  <a:gd name="connsiteX0" fmla="*/ 5452 w 224478"/>
                  <a:gd name="connsiteY0" fmla="*/ 41659 h 42290"/>
                  <a:gd name="connsiteX1" fmla="*/ 402 w 224478"/>
                  <a:gd name="connsiteY1" fmla="*/ 38503 h 42290"/>
                  <a:gd name="connsiteX2" fmla="*/ 3558 w 224478"/>
                  <a:gd name="connsiteY2" fmla="*/ 31560 h 42290"/>
                  <a:gd name="connsiteX3" fmla="*/ 112756 w 224478"/>
                  <a:gd name="connsiteY3" fmla="*/ 5681 h 42290"/>
                  <a:gd name="connsiteX4" fmla="*/ 197968 w 224478"/>
                  <a:gd name="connsiteY4" fmla="*/ 0 h 42290"/>
                  <a:gd name="connsiteX5" fmla="*/ 219429 w 224478"/>
                  <a:gd name="connsiteY5" fmla="*/ 631 h 42290"/>
                  <a:gd name="connsiteX6" fmla="*/ 224479 w 224478"/>
                  <a:gd name="connsiteY6" fmla="*/ 6312 h 42290"/>
                  <a:gd name="connsiteX7" fmla="*/ 218798 w 224478"/>
                  <a:gd name="connsiteY7" fmla="*/ 11362 h 42290"/>
                  <a:gd name="connsiteX8" fmla="*/ 197337 w 224478"/>
                  <a:gd name="connsiteY8" fmla="*/ 10731 h 42290"/>
                  <a:gd name="connsiteX9" fmla="*/ 113387 w 224478"/>
                  <a:gd name="connsiteY9" fmla="*/ 16411 h 42290"/>
                  <a:gd name="connsiteX10" fmla="*/ 6083 w 224478"/>
                  <a:gd name="connsiteY10" fmla="*/ 42291 h 42290"/>
                  <a:gd name="connsiteX11" fmla="*/ 5452 w 224478"/>
                  <a:gd name="connsiteY11" fmla="*/ 41659 h 4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478" h="42290">
                    <a:moveTo>
                      <a:pt x="5452" y="41659"/>
                    </a:moveTo>
                    <a:cubicBezTo>
                      <a:pt x="3558" y="41659"/>
                      <a:pt x="1033" y="40397"/>
                      <a:pt x="402" y="38503"/>
                    </a:cubicBezTo>
                    <a:cubicBezTo>
                      <a:pt x="-861" y="35979"/>
                      <a:pt x="1033" y="32823"/>
                      <a:pt x="3558" y="31560"/>
                    </a:cubicBezTo>
                    <a:cubicBezTo>
                      <a:pt x="37012" y="19567"/>
                      <a:pt x="74253" y="10731"/>
                      <a:pt x="112756" y="5681"/>
                    </a:cubicBezTo>
                    <a:cubicBezTo>
                      <a:pt x="140529" y="1894"/>
                      <a:pt x="169564" y="0"/>
                      <a:pt x="197968" y="0"/>
                    </a:cubicBezTo>
                    <a:cubicBezTo>
                      <a:pt x="205543" y="0"/>
                      <a:pt x="212486" y="0"/>
                      <a:pt x="219429" y="631"/>
                    </a:cubicBezTo>
                    <a:cubicBezTo>
                      <a:pt x="222585" y="631"/>
                      <a:pt x="224479" y="3156"/>
                      <a:pt x="224479" y="6312"/>
                    </a:cubicBezTo>
                    <a:cubicBezTo>
                      <a:pt x="224479" y="9468"/>
                      <a:pt x="221954" y="11362"/>
                      <a:pt x="218798" y="11362"/>
                    </a:cubicBezTo>
                    <a:cubicBezTo>
                      <a:pt x="211855" y="11362"/>
                      <a:pt x="204911" y="10731"/>
                      <a:pt x="197337" y="10731"/>
                    </a:cubicBezTo>
                    <a:cubicBezTo>
                      <a:pt x="168933" y="10731"/>
                      <a:pt x="140529" y="12624"/>
                      <a:pt x="113387" y="16411"/>
                    </a:cubicBezTo>
                    <a:cubicBezTo>
                      <a:pt x="75515" y="21461"/>
                      <a:pt x="38905" y="30298"/>
                      <a:pt x="6083" y="42291"/>
                    </a:cubicBezTo>
                    <a:cubicBezTo>
                      <a:pt x="6714" y="41659"/>
                      <a:pt x="6083" y="41659"/>
                      <a:pt x="5452" y="41659"/>
                    </a:cubicBezTo>
                    <a:close/>
                  </a:path>
                </a:pathLst>
              </a:custGeom>
              <a:grpFill/>
              <a:ln w="6350" cap="flat">
                <a:solidFill>
                  <a:schemeClr val="tx2"/>
                </a:solidFill>
                <a:prstDash val="solid"/>
                <a:miter/>
              </a:ln>
            </p:spPr>
            <p:txBody>
              <a:bodyPr rtlCol="0" anchor="ctr"/>
              <a:lstStyle/>
              <a:p>
                <a:endParaRPr lang="en-US"/>
              </a:p>
            </p:txBody>
          </p:sp>
        </p:grpSp>
        <p:grpSp>
          <p:nvGrpSpPr>
            <p:cNvPr id="129" name="Graphic 4">
              <a:extLst>
                <a:ext uri="{FF2B5EF4-FFF2-40B4-BE49-F238E27FC236}">
                  <a16:creationId xmlns:a16="http://schemas.microsoft.com/office/drawing/2014/main" id="{AC6B1D7C-60F3-D073-B4F6-8468BA872B09}"/>
                </a:ext>
              </a:extLst>
            </p:cNvPr>
            <p:cNvGrpSpPr/>
            <p:nvPr/>
          </p:nvGrpSpPr>
          <p:grpSpPr>
            <a:xfrm>
              <a:off x="2882333" y="1981322"/>
              <a:ext cx="274139" cy="313707"/>
              <a:chOff x="2882333" y="1981322"/>
              <a:chExt cx="274139" cy="313707"/>
            </a:xfrm>
            <a:grpFill/>
          </p:grpSpPr>
          <p:sp>
            <p:nvSpPr>
              <p:cNvPr id="130" name="Freeform 1478">
                <a:extLst>
                  <a:ext uri="{FF2B5EF4-FFF2-40B4-BE49-F238E27FC236}">
                    <a16:creationId xmlns:a16="http://schemas.microsoft.com/office/drawing/2014/main" id="{81C35F3A-CAF7-FAD7-EC24-A8C35B39FCA0}"/>
                  </a:ext>
                </a:extLst>
              </p:cNvPr>
              <p:cNvSpPr/>
              <p:nvPr/>
            </p:nvSpPr>
            <p:spPr>
              <a:xfrm>
                <a:off x="2882333" y="1981322"/>
                <a:ext cx="274139" cy="313707"/>
              </a:xfrm>
              <a:custGeom>
                <a:avLst/>
                <a:gdLst>
                  <a:gd name="connsiteX0" fmla="*/ 269307 w 274139"/>
                  <a:gd name="connsiteY0" fmla="*/ 313708 h 313707"/>
                  <a:gd name="connsiteX1" fmla="*/ 5464 w 274139"/>
                  <a:gd name="connsiteY1" fmla="*/ 313708 h 313707"/>
                  <a:gd name="connsiteX2" fmla="*/ 1046 w 274139"/>
                  <a:gd name="connsiteY2" fmla="*/ 311183 h 313707"/>
                  <a:gd name="connsiteX3" fmla="*/ 415 w 274139"/>
                  <a:gd name="connsiteY3" fmla="*/ 306133 h 313707"/>
                  <a:gd name="connsiteX4" fmla="*/ 37656 w 274139"/>
                  <a:gd name="connsiteY4" fmla="*/ 5681 h 313707"/>
                  <a:gd name="connsiteX5" fmla="*/ 38918 w 274139"/>
                  <a:gd name="connsiteY5" fmla="*/ 1894 h 313707"/>
                  <a:gd name="connsiteX6" fmla="*/ 42705 w 274139"/>
                  <a:gd name="connsiteY6" fmla="*/ 0 h 313707"/>
                  <a:gd name="connsiteX7" fmla="*/ 231435 w 274139"/>
                  <a:gd name="connsiteY7" fmla="*/ 0 h 313707"/>
                  <a:gd name="connsiteX8" fmla="*/ 235222 w 274139"/>
                  <a:gd name="connsiteY8" fmla="*/ 1894 h 313707"/>
                  <a:gd name="connsiteX9" fmla="*/ 236484 w 274139"/>
                  <a:gd name="connsiteY9" fmla="*/ 5681 h 313707"/>
                  <a:gd name="connsiteX10" fmla="*/ 273726 w 274139"/>
                  <a:gd name="connsiteY10" fmla="*/ 306133 h 313707"/>
                  <a:gd name="connsiteX11" fmla="*/ 273094 w 274139"/>
                  <a:gd name="connsiteY11" fmla="*/ 311183 h 313707"/>
                  <a:gd name="connsiteX12" fmla="*/ 269307 w 274139"/>
                  <a:gd name="connsiteY12" fmla="*/ 313708 h 313707"/>
                  <a:gd name="connsiteX13" fmla="*/ 13039 w 274139"/>
                  <a:gd name="connsiteY13" fmla="*/ 302977 h 313707"/>
                  <a:gd name="connsiteX14" fmla="*/ 261733 w 274139"/>
                  <a:gd name="connsiteY14" fmla="*/ 302977 h 313707"/>
                  <a:gd name="connsiteX15" fmla="*/ 225754 w 274139"/>
                  <a:gd name="connsiteY15" fmla="*/ 11362 h 313707"/>
                  <a:gd name="connsiteX16" fmla="*/ 48386 w 274139"/>
                  <a:gd name="connsiteY16" fmla="*/ 11362 h 313707"/>
                  <a:gd name="connsiteX17" fmla="*/ 13039 w 274139"/>
                  <a:gd name="connsiteY17" fmla="*/ 302977 h 31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4139" h="313707">
                    <a:moveTo>
                      <a:pt x="269307" y="313708"/>
                    </a:moveTo>
                    <a:lnTo>
                      <a:pt x="5464" y="313708"/>
                    </a:lnTo>
                    <a:cubicBezTo>
                      <a:pt x="3571" y="313708"/>
                      <a:pt x="2308" y="313077"/>
                      <a:pt x="1046" y="311183"/>
                    </a:cubicBezTo>
                    <a:cubicBezTo>
                      <a:pt x="-217" y="309921"/>
                      <a:pt x="-217" y="308027"/>
                      <a:pt x="415" y="306133"/>
                    </a:cubicBezTo>
                    <a:cubicBezTo>
                      <a:pt x="30712" y="221552"/>
                      <a:pt x="42074" y="126241"/>
                      <a:pt x="37656" y="5681"/>
                    </a:cubicBezTo>
                    <a:cubicBezTo>
                      <a:pt x="37656" y="4418"/>
                      <a:pt x="38287" y="3156"/>
                      <a:pt x="38918" y="1894"/>
                    </a:cubicBezTo>
                    <a:cubicBezTo>
                      <a:pt x="40181" y="631"/>
                      <a:pt x="41443" y="0"/>
                      <a:pt x="42705" y="0"/>
                    </a:cubicBezTo>
                    <a:lnTo>
                      <a:pt x="231435" y="0"/>
                    </a:lnTo>
                    <a:cubicBezTo>
                      <a:pt x="232697" y="0"/>
                      <a:pt x="233960" y="631"/>
                      <a:pt x="235222" y="1894"/>
                    </a:cubicBezTo>
                    <a:cubicBezTo>
                      <a:pt x="236484" y="3156"/>
                      <a:pt x="236484" y="4418"/>
                      <a:pt x="236484" y="5681"/>
                    </a:cubicBezTo>
                    <a:cubicBezTo>
                      <a:pt x="232066" y="126241"/>
                      <a:pt x="243428" y="221552"/>
                      <a:pt x="273726" y="306133"/>
                    </a:cubicBezTo>
                    <a:cubicBezTo>
                      <a:pt x="274357" y="308027"/>
                      <a:pt x="274357" y="309289"/>
                      <a:pt x="273094" y="311183"/>
                    </a:cubicBezTo>
                    <a:cubicBezTo>
                      <a:pt x="272463" y="312445"/>
                      <a:pt x="270570" y="313708"/>
                      <a:pt x="269307" y="313708"/>
                    </a:cubicBezTo>
                    <a:close/>
                    <a:moveTo>
                      <a:pt x="13039" y="302977"/>
                    </a:moveTo>
                    <a:lnTo>
                      <a:pt x="261733" y="302977"/>
                    </a:lnTo>
                    <a:cubicBezTo>
                      <a:pt x="233328" y="220290"/>
                      <a:pt x="221967" y="126872"/>
                      <a:pt x="225754" y="11362"/>
                    </a:cubicBezTo>
                    <a:lnTo>
                      <a:pt x="48386" y="11362"/>
                    </a:lnTo>
                    <a:cubicBezTo>
                      <a:pt x="52805" y="126872"/>
                      <a:pt x="41443" y="220290"/>
                      <a:pt x="13039" y="302977"/>
                    </a:cubicBezTo>
                    <a:close/>
                  </a:path>
                </a:pathLst>
              </a:custGeom>
              <a:grpFill/>
              <a:ln w="6350" cap="flat">
                <a:solidFill>
                  <a:schemeClr val="tx2"/>
                </a:solidFill>
                <a:prstDash val="solid"/>
                <a:miter/>
              </a:ln>
            </p:spPr>
            <p:txBody>
              <a:bodyPr rtlCol="0" anchor="ctr"/>
              <a:lstStyle/>
              <a:p>
                <a:endParaRPr lang="en-US"/>
              </a:p>
            </p:txBody>
          </p:sp>
          <p:sp>
            <p:nvSpPr>
              <p:cNvPr id="131" name="Freeform 1479">
                <a:extLst>
                  <a:ext uri="{FF2B5EF4-FFF2-40B4-BE49-F238E27FC236}">
                    <a16:creationId xmlns:a16="http://schemas.microsoft.com/office/drawing/2014/main" id="{A759C6D6-51FE-4797-B7C6-DF9C4AED805D}"/>
                  </a:ext>
                </a:extLst>
              </p:cNvPr>
              <p:cNvSpPr/>
              <p:nvPr/>
            </p:nvSpPr>
            <p:spPr>
              <a:xfrm>
                <a:off x="2992892" y="2083082"/>
                <a:ext cx="53021" cy="110324"/>
              </a:xfrm>
              <a:custGeom>
                <a:avLst/>
                <a:gdLst>
                  <a:gd name="connsiteX0" fmla="*/ 22408 w 53021"/>
                  <a:gd name="connsiteY0" fmla="*/ 110325 h 110324"/>
                  <a:gd name="connsiteX1" fmla="*/ 19883 w 53021"/>
                  <a:gd name="connsiteY1" fmla="*/ 109693 h 110324"/>
                  <a:gd name="connsiteX2" fmla="*/ 17358 w 53021"/>
                  <a:gd name="connsiteY2" fmla="*/ 102750 h 110324"/>
                  <a:gd name="connsiteX3" fmla="*/ 38819 w 53021"/>
                  <a:gd name="connsiteY3" fmla="*/ 60460 h 110324"/>
                  <a:gd name="connsiteX4" fmla="*/ 5365 w 53021"/>
                  <a:gd name="connsiteY4" fmla="*/ 60460 h 110324"/>
                  <a:gd name="connsiteX5" fmla="*/ 947 w 53021"/>
                  <a:gd name="connsiteY5" fmla="*/ 57935 h 110324"/>
                  <a:gd name="connsiteX6" fmla="*/ 947 w 53021"/>
                  <a:gd name="connsiteY6" fmla="*/ 52885 h 110324"/>
                  <a:gd name="connsiteX7" fmla="*/ 26195 w 53021"/>
                  <a:gd name="connsiteY7" fmla="*/ 3020 h 110324"/>
                  <a:gd name="connsiteX8" fmla="*/ 33138 w 53021"/>
                  <a:gd name="connsiteY8" fmla="*/ 495 h 110324"/>
                  <a:gd name="connsiteX9" fmla="*/ 35663 w 53021"/>
                  <a:gd name="connsiteY9" fmla="*/ 7438 h 110324"/>
                  <a:gd name="connsiteX10" fmla="*/ 14202 w 53021"/>
                  <a:gd name="connsiteY10" fmla="*/ 49729 h 110324"/>
                  <a:gd name="connsiteX11" fmla="*/ 47656 w 53021"/>
                  <a:gd name="connsiteY11" fmla="*/ 49729 h 110324"/>
                  <a:gd name="connsiteX12" fmla="*/ 52074 w 53021"/>
                  <a:gd name="connsiteY12" fmla="*/ 52254 h 110324"/>
                  <a:gd name="connsiteX13" fmla="*/ 52074 w 53021"/>
                  <a:gd name="connsiteY13" fmla="*/ 57304 h 110324"/>
                  <a:gd name="connsiteX14" fmla="*/ 26826 w 53021"/>
                  <a:gd name="connsiteY14" fmla="*/ 107169 h 110324"/>
                  <a:gd name="connsiteX15" fmla="*/ 22408 w 53021"/>
                  <a:gd name="connsiteY15" fmla="*/ 110325 h 11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021" h="110324">
                    <a:moveTo>
                      <a:pt x="22408" y="110325"/>
                    </a:moveTo>
                    <a:cubicBezTo>
                      <a:pt x="21776" y="110325"/>
                      <a:pt x="20514" y="110325"/>
                      <a:pt x="19883" y="109693"/>
                    </a:cubicBezTo>
                    <a:cubicBezTo>
                      <a:pt x="17358" y="108431"/>
                      <a:pt x="16096" y="105275"/>
                      <a:pt x="17358" y="102750"/>
                    </a:cubicBezTo>
                    <a:lnTo>
                      <a:pt x="38819" y="60460"/>
                    </a:lnTo>
                    <a:lnTo>
                      <a:pt x="5365" y="60460"/>
                    </a:lnTo>
                    <a:cubicBezTo>
                      <a:pt x="3472" y="60460"/>
                      <a:pt x="1578" y="59828"/>
                      <a:pt x="947" y="57935"/>
                    </a:cubicBezTo>
                    <a:cubicBezTo>
                      <a:pt x="-316" y="56672"/>
                      <a:pt x="-316" y="54148"/>
                      <a:pt x="947" y="52885"/>
                    </a:cubicBezTo>
                    <a:lnTo>
                      <a:pt x="26195" y="3020"/>
                    </a:lnTo>
                    <a:cubicBezTo>
                      <a:pt x="27457" y="495"/>
                      <a:pt x="30613" y="-767"/>
                      <a:pt x="33138" y="495"/>
                    </a:cubicBezTo>
                    <a:cubicBezTo>
                      <a:pt x="35663" y="1758"/>
                      <a:pt x="36925" y="4914"/>
                      <a:pt x="35663" y="7438"/>
                    </a:cubicBezTo>
                    <a:lnTo>
                      <a:pt x="14202" y="49729"/>
                    </a:lnTo>
                    <a:lnTo>
                      <a:pt x="47656" y="49729"/>
                    </a:lnTo>
                    <a:cubicBezTo>
                      <a:pt x="49550" y="49729"/>
                      <a:pt x="51443" y="50360"/>
                      <a:pt x="52074" y="52254"/>
                    </a:cubicBezTo>
                    <a:cubicBezTo>
                      <a:pt x="53337" y="53516"/>
                      <a:pt x="53337" y="56041"/>
                      <a:pt x="52074" y="57304"/>
                    </a:cubicBezTo>
                    <a:lnTo>
                      <a:pt x="26826" y="107169"/>
                    </a:lnTo>
                    <a:cubicBezTo>
                      <a:pt x="26195" y="109062"/>
                      <a:pt x="24301" y="110325"/>
                      <a:pt x="22408" y="110325"/>
                    </a:cubicBezTo>
                    <a:close/>
                  </a:path>
                </a:pathLst>
              </a:custGeom>
              <a:grpFill/>
              <a:ln w="6350" cap="flat">
                <a:solidFill>
                  <a:schemeClr val="tx2"/>
                </a:solidFill>
                <a:prstDash val="solid"/>
                <a:miter/>
              </a:ln>
            </p:spPr>
            <p:txBody>
              <a:bodyPr rtlCol="0" anchor="ctr"/>
              <a:lstStyle/>
              <a:p>
                <a:endParaRPr lang="en-US"/>
              </a:p>
            </p:txBody>
          </p:sp>
        </p:grpSp>
      </p:grpSp>
    </p:spTree>
    <p:extLst>
      <p:ext uri="{BB962C8B-B14F-4D97-AF65-F5344CB8AC3E}">
        <p14:creationId xmlns:p14="http://schemas.microsoft.com/office/powerpoint/2010/main" val="29048575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A45BE67-FD69-FA48-13D9-7539EF299813}"/>
              </a:ext>
            </a:extLst>
          </p:cNvPr>
          <p:cNvSpPr>
            <a:spLocks noGrp="1"/>
          </p:cNvSpPr>
          <p:nvPr>
            <p:ph type="title"/>
          </p:nvPr>
        </p:nvSpPr>
        <p:spPr/>
        <p:txBody>
          <a:bodyPr/>
          <a:lstStyle/>
          <a:p>
            <a:r>
              <a:rPr lang="en-US"/>
              <a:t>IAC Implementation Grants Program Process</a:t>
            </a:r>
          </a:p>
        </p:txBody>
      </p:sp>
      <p:sp>
        <p:nvSpPr>
          <p:cNvPr id="2" name="Slide Number Placeholder 1">
            <a:extLst>
              <a:ext uri="{FF2B5EF4-FFF2-40B4-BE49-F238E27FC236}">
                <a16:creationId xmlns:a16="http://schemas.microsoft.com/office/drawing/2014/main" id="{72300088-2626-D129-7DC9-2918239347D7}"/>
              </a:ext>
            </a:extLst>
          </p:cNvPr>
          <p:cNvSpPr>
            <a:spLocks noGrp="1"/>
          </p:cNvSpPr>
          <p:nvPr>
            <p:ph type="sldNum" sz="quarter" idx="4"/>
          </p:nvPr>
        </p:nvSpPr>
        <p:spPr/>
        <p:txBody>
          <a:bodyPr/>
          <a:lstStyle/>
          <a:p>
            <a:fld id="{02B5F485-982A-41B4-B657-C5770F0E9220}" type="slidenum">
              <a:rPr lang="en-US" smtClean="0"/>
              <a:t>9</a:t>
            </a:fld>
            <a:endParaRPr lang="en-US"/>
          </a:p>
        </p:txBody>
      </p:sp>
      <p:sp>
        <p:nvSpPr>
          <p:cNvPr id="177" name="TextBox 176">
            <a:extLst>
              <a:ext uri="{FF2B5EF4-FFF2-40B4-BE49-F238E27FC236}">
                <a16:creationId xmlns:a16="http://schemas.microsoft.com/office/drawing/2014/main" id="{54988584-968F-89D8-36CF-01F9256726F9}"/>
              </a:ext>
            </a:extLst>
          </p:cNvPr>
          <p:cNvSpPr txBox="1"/>
          <p:nvPr/>
        </p:nvSpPr>
        <p:spPr>
          <a:xfrm>
            <a:off x="493212" y="6380394"/>
            <a:ext cx="2113720" cy="400110"/>
          </a:xfrm>
          <a:prstGeom prst="rect">
            <a:avLst/>
          </a:prstGeom>
          <a:noFill/>
        </p:spPr>
        <p:txBody>
          <a:bodyPr wrap="square" rtlCol="0">
            <a:spAutoFit/>
          </a:bodyPr>
          <a:lstStyle/>
          <a:p>
            <a:r>
              <a:rPr lang="en-US" sz="1000">
                <a:latin typeface="Calibri" panose="020F0502020204030204" pitchFamily="34" charset="0"/>
                <a:cs typeface="Calibri" panose="020F0502020204030204" pitchFamily="34" charset="0"/>
              </a:rPr>
              <a:t>*DOE cannot guarantee that third-party assessments will be free</a:t>
            </a:r>
          </a:p>
        </p:txBody>
      </p:sp>
      <p:sp>
        <p:nvSpPr>
          <p:cNvPr id="328" name="Rectangle 327">
            <a:extLst>
              <a:ext uri="{FF2B5EF4-FFF2-40B4-BE49-F238E27FC236}">
                <a16:creationId xmlns:a16="http://schemas.microsoft.com/office/drawing/2014/main" id="{5B1F2060-A3D9-7BD1-0941-E5E4D31AC8EA}"/>
              </a:ext>
            </a:extLst>
          </p:cNvPr>
          <p:cNvSpPr/>
          <p:nvPr/>
        </p:nvSpPr>
        <p:spPr>
          <a:xfrm>
            <a:off x="6145730" y="1534783"/>
            <a:ext cx="2655237" cy="1890400"/>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Rectangle 328">
            <a:extLst>
              <a:ext uri="{FF2B5EF4-FFF2-40B4-BE49-F238E27FC236}">
                <a16:creationId xmlns:a16="http://schemas.microsoft.com/office/drawing/2014/main" id="{05A8ED43-4CC1-2B96-1557-5C285AD45C77}"/>
              </a:ext>
            </a:extLst>
          </p:cNvPr>
          <p:cNvSpPr/>
          <p:nvPr/>
        </p:nvSpPr>
        <p:spPr>
          <a:xfrm>
            <a:off x="3109567" y="1490060"/>
            <a:ext cx="2655241" cy="1928175"/>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Rectangle 329">
            <a:extLst>
              <a:ext uri="{FF2B5EF4-FFF2-40B4-BE49-F238E27FC236}">
                <a16:creationId xmlns:a16="http://schemas.microsoft.com/office/drawing/2014/main" id="{05A99D70-E969-79AA-C4C9-F64700475696}"/>
              </a:ext>
            </a:extLst>
          </p:cNvPr>
          <p:cNvSpPr/>
          <p:nvPr/>
        </p:nvSpPr>
        <p:spPr>
          <a:xfrm>
            <a:off x="3206148" y="1416727"/>
            <a:ext cx="2681820" cy="189515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Rectangle 330">
            <a:extLst>
              <a:ext uri="{FF2B5EF4-FFF2-40B4-BE49-F238E27FC236}">
                <a16:creationId xmlns:a16="http://schemas.microsoft.com/office/drawing/2014/main" id="{69701D3F-4274-6F0A-CA67-F503C88142ED}"/>
              </a:ext>
            </a:extLst>
          </p:cNvPr>
          <p:cNvSpPr/>
          <p:nvPr/>
        </p:nvSpPr>
        <p:spPr>
          <a:xfrm>
            <a:off x="6253876" y="1409163"/>
            <a:ext cx="2681820" cy="1895154"/>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2" name="Straight Connector 331">
            <a:extLst>
              <a:ext uri="{FF2B5EF4-FFF2-40B4-BE49-F238E27FC236}">
                <a16:creationId xmlns:a16="http://schemas.microsoft.com/office/drawing/2014/main" id="{B14423B0-6EB9-A11E-1DC1-1A520EA3009F}"/>
              </a:ext>
            </a:extLst>
          </p:cNvPr>
          <p:cNvCxnSpPr>
            <a:cxnSpLocks/>
          </p:cNvCxnSpPr>
          <p:nvPr/>
        </p:nvCxnSpPr>
        <p:spPr>
          <a:xfrm>
            <a:off x="2803168" y="1685215"/>
            <a:ext cx="6512644" cy="0"/>
          </a:xfrm>
          <a:prstGeom prst="line">
            <a:avLst/>
          </a:prstGeom>
          <a:ln w="19050">
            <a:solidFill>
              <a:schemeClr val="accent2"/>
            </a:solidFill>
            <a:prstDash val="sysDot"/>
            <a:headEnd type="ova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D73E8B25-600E-AC0A-2AFD-076E764633C1}"/>
              </a:ext>
            </a:extLst>
          </p:cNvPr>
          <p:cNvCxnSpPr>
            <a:cxnSpLocks/>
          </p:cNvCxnSpPr>
          <p:nvPr/>
        </p:nvCxnSpPr>
        <p:spPr>
          <a:xfrm>
            <a:off x="1718617" y="3574897"/>
            <a:ext cx="7597195" cy="0"/>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34" name="Rectangle 333">
            <a:extLst>
              <a:ext uri="{FF2B5EF4-FFF2-40B4-BE49-F238E27FC236}">
                <a16:creationId xmlns:a16="http://schemas.microsoft.com/office/drawing/2014/main" id="{DF07738D-3EB3-4C54-5839-B3B429CB7A6D}"/>
              </a:ext>
            </a:extLst>
          </p:cNvPr>
          <p:cNvSpPr/>
          <p:nvPr/>
        </p:nvSpPr>
        <p:spPr>
          <a:xfrm>
            <a:off x="3310620" y="2026527"/>
            <a:ext cx="2398098" cy="130888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4162"/>
            <a:r>
              <a:rPr lang="en-US" sz="1400">
                <a:solidFill>
                  <a:schemeClr val="accent3"/>
                </a:solidFill>
                <a:latin typeface="Avenir Medium" panose="02000503020000020003" pitchFamily="2" charset="0"/>
                <a:cs typeface="Calibri" panose="020F0502020204030204" pitchFamily="34" charset="0"/>
              </a:rPr>
              <a:t>Receive a Free</a:t>
            </a:r>
            <a:br>
              <a:rPr lang="en-US" sz="1400">
                <a:solidFill>
                  <a:schemeClr val="accent3"/>
                </a:solidFill>
                <a:latin typeface="Avenir Medium" panose="02000503020000020003" pitchFamily="2" charset="0"/>
                <a:cs typeface="Calibri" panose="020F0502020204030204" pitchFamily="34" charset="0"/>
              </a:rPr>
            </a:br>
            <a:r>
              <a:rPr lang="en-US" sz="1400">
                <a:solidFill>
                  <a:schemeClr val="accent3"/>
                </a:solidFill>
                <a:latin typeface="Avenir Medium" panose="02000503020000020003" pitchFamily="2" charset="0"/>
                <a:cs typeface="Calibri" panose="020F0502020204030204" pitchFamily="34" charset="0"/>
              </a:rPr>
              <a:t>Qualified Assessment</a:t>
            </a:r>
          </a:p>
          <a:p>
            <a:pPr indent="-284162"/>
            <a:r>
              <a:rPr lang="en-US" sz="1000">
                <a:solidFill>
                  <a:schemeClr val="bg1"/>
                </a:solidFill>
                <a:latin typeface="Calibri" panose="020F0502020204030204" pitchFamily="34" charset="0"/>
                <a:cs typeface="Calibri" panose="020F0502020204030204" pitchFamily="34" charset="0"/>
              </a:rPr>
              <a:t>Manufacturer reaches out to qualified assessors (e.g., IACs, CHP/Onsite Energy TAPs, or other third-party* qualified assessor) to receive an energy assessment</a:t>
            </a:r>
          </a:p>
        </p:txBody>
      </p:sp>
      <p:sp>
        <p:nvSpPr>
          <p:cNvPr id="335" name="Oval 334">
            <a:extLst>
              <a:ext uri="{FF2B5EF4-FFF2-40B4-BE49-F238E27FC236}">
                <a16:creationId xmlns:a16="http://schemas.microsoft.com/office/drawing/2014/main" id="{28D59A6A-0DA0-C6C0-8472-336C330CCD36}"/>
              </a:ext>
            </a:extLst>
          </p:cNvPr>
          <p:cNvSpPr/>
          <p:nvPr/>
        </p:nvSpPr>
        <p:spPr>
          <a:xfrm>
            <a:off x="4322954" y="1471273"/>
            <a:ext cx="448209" cy="44820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36" name="TextBox 335">
            <a:extLst>
              <a:ext uri="{FF2B5EF4-FFF2-40B4-BE49-F238E27FC236}">
                <a16:creationId xmlns:a16="http://schemas.microsoft.com/office/drawing/2014/main" id="{C35986DF-75A9-B8A8-39D6-8DE2D1BB8B35}"/>
              </a:ext>
            </a:extLst>
          </p:cNvPr>
          <p:cNvSpPr txBox="1"/>
          <p:nvPr/>
        </p:nvSpPr>
        <p:spPr>
          <a:xfrm>
            <a:off x="4396156" y="1524159"/>
            <a:ext cx="301805" cy="369332"/>
          </a:xfrm>
          <a:prstGeom prst="rect">
            <a:avLst/>
          </a:prstGeom>
          <a:noFill/>
        </p:spPr>
        <p:txBody>
          <a:bodyPr wrap="square" rtlCol="0">
            <a:spAutoFit/>
          </a:bodyPr>
          <a:lstStyle/>
          <a:p>
            <a:pPr algn="ctr"/>
            <a:r>
              <a:rPr lang="en-US" b="1">
                <a:solidFill>
                  <a:schemeClr val="bg1"/>
                </a:solidFill>
                <a:latin typeface="Avenir Black" panose="02000503020000020003" pitchFamily="2" charset="0"/>
              </a:rPr>
              <a:t>1</a:t>
            </a:r>
          </a:p>
        </p:txBody>
      </p:sp>
      <p:sp>
        <p:nvSpPr>
          <p:cNvPr id="337" name="Oval 336">
            <a:extLst>
              <a:ext uri="{FF2B5EF4-FFF2-40B4-BE49-F238E27FC236}">
                <a16:creationId xmlns:a16="http://schemas.microsoft.com/office/drawing/2014/main" id="{2B7A8415-C741-560F-D40A-33AA01109DC4}"/>
              </a:ext>
            </a:extLst>
          </p:cNvPr>
          <p:cNvSpPr/>
          <p:nvPr/>
        </p:nvSpPr>
        <p:spPr>
          <a:xfrm>
            <a:off x="7301135" y="1485916"/>
            <a:ext cx="448209" cy="44820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338" name="TextBox 337">
            <a:extLst>
              <a:ext uri="{FF2B5EF4-FFF2-40B4-BE49-F238E27FC236}">
                <a16:creationId xmlns:a16="http://schemas.microsoft.com/office/drawing/2014/main" id="{84768CD7-B146-FBEF-813F-38EDFF805DF1}"/>
              </a:ext>
            </a:extLst>
          </p:cNvPr>
          <p:cNvSpPr txBox="1"/>
          <p:nvPr/>
        </p:nvSpPr>
        <p:spPr>
          <a:xfrm>
            <a:off x="7374337" y="1534781"/>
            <a:ext cx="301805" cy="369332"/>
          </a:xfrm>
          <a:prstGeom prst="rect">
            <a:avLst/>
          </a:prstGeom>
          <a:noFill/>
        </p:spPr>
        <p:txBody>
          <a:bodyPr wrap="square" rtlCol="0">
            <a:spAutoFit/>
          </a:bodyPr>
          <a:lstStyle/>
          <a:p>
            <a:pPr algn="ctr"/>
            <a:r>
              <a:rPr lang="en-US" b="1">
                <a:solidFill>
                  <a:schemeClr val="bg1"/>
                </a:solidFill>
                <a:latin typeface="Avenir Black" panose="02000503020000020003" pitchFamily="2" charset="0"/>
              </a:rPr>
              <a:t>2</a:t>
            </a:r>
          </a:p>
        </p:txBody>
      </p:sp>
      <p:sp>
        <p:nvSpPr>
          <p:cNvPr id="339" name="Rectangle 338">
            <a:extLst>
              <a:ext uri="{FF2B5EF4-FFF2-40B4-BE49-F238E27FC236}">
                <a16:creationId xmlns:a16="http://schemas.microsoft.com/office/drawing/2014/main" id="{625586E1-8F44-849A-2868-5ACDE4ABA70B}"/>
              </a:ext>
            </a:extLst>
          </p:cNvPr>
          <p:cNvSpPr/>
          <p:nvPr/>
        </p:nvSpPr>
        <p:spPr>
          <a:xfrm>
            <a:off x="6363771" y="2026527"/>
            <a:ext cx="2437196" cy="116768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4162"/>
            <a:r>
              <a:rPr lang="en-US" sz="1400">
                <a:solidFill>
                  <a:schemeClr val="accent3"/>
                </a:solidFill>
                <a:latin typeface="Avenir Medium" panose="02000503020000020003" pitchFamily="2" charset="0"/>
                <a:cs typeface="Calibri" panose="020F0502020204030204" pitchFamily="34" charset="0"/>
              </a:rPr>
              <a:t>Apply for </a:t>
            </a:r>
            <a:br>
              <a:rPr lang="en-US" sz="1400">
                <a:solidFill>
                  <a:schemeClr val="accent3"/>
                </a:solidFill>
                <a:latin typeface="Avenir Medium" panose="02000503020000020003" pitchFamily="2" charset="0"/>
                <a:cs typeface="Calibri" panose="020F0502020204030204" pitchFamily="34" charset="0"/>
              </a:rPr>
            </a:br>
            <a:r>
              <a:rPr lang="en-US" sz="1400">
                <a:solidFill>
                  <a:schemeClr val="accent3"/>
                </a:solidFill>
                <a:latin typeface="Avenir Medium" panose="02000503020000020003" pitchFamily="2" charset="0"/>
                <a:cs typeface="Calibri" panose="020F0502020204030204" pitchFamily="34" charset="0"/>
              </a:rPr>
              <a:t>Grant Funding</a:t>
            </a:r>
            <a:br>
              <a:rPr lang="en-US" sz="1400" b="1">
                <a:latin typeface="Avenir Black" panose="02000503020000020003" pitchFamily="2" charset="0"/>
                <a:cs typeface="Calibri" panose="020F0502020204030204" pitchFamily="34" charset="0"/>
              </a:rPr>
            </a:br>
            <a:r>
              <a:rPr lang="en-US" sz="1000">
                <a:solidFill>
                  <a:schemeClr val="bg1"/>
                </a:solidFill>
                <a:latin typeface="Calibri" panose="020F0502020204030204" pitchFamily="34" charset="0"/>
                <a:cs typeface="Calibri" panose="020F0502020204030204" pitchFamily="34" charset="0"/>
              </a:rPr>
              <a:t>Manufacturer applies for IAC Implementation Grant funding to implement project recommendations from qualified assessments</a:t>
            </a:r>
          </a:p>
          <a:p>
            <a:pPr algn="ctr"/>
            <a:endParaRPr lang="en-US" sz="1400">
              <a:latin typeface="Calibri" panose="020F0502020204030204" pitchFamily="34" charset="0"/>
              <a:cs typeface="Calibri" panose="020F0502020204030204" pitchFamily="34" charset="0"/>
            </a:endParaRPr>
          </a:p>
        </p:txBody>
      </p:sp>
      <p:cxnSp>
        <p:nvCxnSpPr>
          <p:cNvPr id="340" name="Straight Connector 339">
            <a:extLst>
              <a:ext uri="{FF2B5EF4-FFF2-40B4-BE49-F238E27FC236}">
                <a16:creationId xmlns:a16="http://schemas.microsoft.com/office/drawing/2014/main" id="{ED1CD816-6ADA-AC81-E25D-F53F06271489}"/>
              </a:ext>
            </a:extLst>
          </p:cNvPr>
          <p:cNvCxnSpPr>
            <a:cxnSpLocks/>
          </p:cNvCxnSpPr>
          <p:nvPr/>
        </p:nvCxnSpPr>
        <p:spPr>
          <a:xfrm flipV="1">
            <a:off x="9315812" y="1685215"/>
            <a:ext cx="0" cy="1889682"/>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nvGrpSpPr>
          <p:cNvPr id="341" name="Content Placeholder 5">
            <a:extLst>
              <a:ext uri="{FF2B5EF4-FFF2-40B4-BE49-F238E27FC236}">
                <a16:creationId xmlns:a16="http://schemas.microsoft.com/office/drawing/2014/main" id="{E30844E2-17FA-E664-14C2-669E1699A11F}"/>
              </a:ext>
            </a:extLst>
          </p:cNvPr>
          <p:cNvGrpSpPr/>
          <p:nvPr/>
        </p:nvGrpSpPr>
        <p:grpSpPr>
          <a:xfrm>
            <a:off x="5236621" y="1796955"/>
            <a:ext cx="472097" cy="498712"/>
            <a:chOff x="8339974" y="3691291"/>
            <a:chExt cx="300161" cy="317083"/>
          </a:xfrm>
          <a:noFill/>
        </p:grpSpPr>
        <p:grpSp>
          <p:nvGrpSpPr>
            <p:cNvPr id="342" name="Content Placeholder 5">
              <a:extLst>
                <a:ext uri="{FF2B5EF4-FFF2-40B4-BE49-F238E27FC236}">
                  <a16:creationId xmlns:a16="http://schemas.microsoft.com/office/drawing/2014/main" id="{F8AA6788-8DE1-E88F-755F-302DAAADBE7A}"/>
                </a:ext>
              </a:extLst>
            </p:cNvPr>
            <p:cNvGrpSpPr/>
            <p:nvPr/>
          </p:nvGrpSpPr>
          <p:grpSpPr>
            <a:xfrm>
              <a:off x="8419748" y="3691291"/>
              <a:ext cx="220387" cy="317083"/>
              <a:chOff x="8419748" y="3691291"/>
              <a:chExt cx="220387" cy="317083"/>
            </a:xfrm>
            <a:noFill/>
          </p:grpSpPr>
          <p:sp>
            <p:nvSpPr>
              <p:cNvPr id="345" name="Freeform 131">
                <a:extLst>
                  <a:ext uri="{FF2B5EF4-FFF2-40B4-BE49-F238E27FC236}">
                    <a16:creationId xmlns:a16="http://schemas.microsoft.com/office/drawing/2014/main" id="{73C53F00-2578-0128-3714-C0F316BE1FDF}"/>
                  </a:ext>
                </a:extLst>
              </p:cNvPr>
              <p:cNvSpPr/>
              <p:nvPr/>
            </p:nvSpPr>
            <p:spPr>
              <a:xfrm>
                <a:off x="8419748" y="3996691"/>
                <a:ext cx="220387" cy="11684"/>
              </a:xfrm>
              <a:custGeom>
                <a:avLst/>
                <a:gdLst>
                  <a:gd name="connsiteX0" fmla="*/ 220388 w 220387"/>
                  <a:gd name="connsiteY0" fmla="*/ 11684 h 11684"/>
                  <a:gd name="connsiteX1" fmla="*/ 192990 w 220387"/>
                  <a:gd name="connsiteY1" fmla="*/ 0 h 11684"/>
                  <a:gd name="connsiteX2" fmla="*/ 165190 w 220387"/>
                  <a:gd name="connsiteY2" fmla="*/ 11684 h 11684"/>
                  <a:gd name="connsiteX3" fmla="*/ 137793 w 220387"/>
                  <a:gd name="connsiteY3" fmla="*/ 0 h 11684"/>
                  <a:gd name="connsiteX4" fmla="*/ 110395 w 220387"/>
                  <a:gd name="connsiteY4" fmla="*/ 11684 h 11684"/>
                  <a:gd name="connsiteX5" fmla="*/ 82595 w 220387"/>
                  <a:gd name="connsiteY5" fmla="*/ 0 h 11684"/>
                  <a:gd name="connsiteX6" fmla="*/ 55198 w 220387"/>
                  <a:gd name="connsiteY6" fmla="*/ 11684 h 11684"/>
                  <a:gd name="connsiteX7" fmla="*/ 27800 w 220387"/>
                  <a:gd name="connsiteY7" fmla="*/ 0 h 11684"/>
                  <a:gd name="connsiteX8" fmla="*/ 0 w 220387"/>
                  <a:gd name="connsiteY8" fmla="*/ 11684 h 1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0387" h="11684">
                    <a:moveTo>
                      <a:pt x="220388" y="11684"/>
                    </a:moveTo>
                    <a:lnTo>
                      <a:pt x="192990" y="0"/>
                    </a:lnTo>
                    <a:lnTo>
                      <a:pt x="165190" y="11684"/>
                    </a:lnTo>
                    <a:lnTo>
                      <a:pt x="137793" y="0"/>
                    </a:lnTo>
                    <a:lnTo>
                      <a:pt x="110395" y="11684"/>
                    </a:lnTo>
                    <a:lnTo>
                      <a:pt x="82595" y="0"/>
                    </a:lnTo>
                    <a:lnTo>
                      <a:pt x="55198" y="11684"/>
                    </a:lnTo>
                    <a:lnTo>
                      <a:pt x="27800" y="0"/>
                    </a:lnTo>
                    <a:lnTo>
                      <a:pt x="0" y="11684"/>
                    </a:lnTo>
                  </a:path>
                </a:pathLst>
              </a:custGeom>
              <a:noFill/>
              <a:ln w="12700" cap="rnd">
                <a:solidFill>
                  <a:schemeClr val="accent2">
                    <a:lumMod val="60000"/>
                    <a:lumOff val="40000"/>
                  </a:schemeClr>
                </a:solidFill>
                <a:prstDash val="solid"/>
                <a:round/>
              </a:ln>
            </p:spPr>
            <p:txBody>
              <a:bodyPr rtlCol="0" anchor="ctr"/>
              <a:lstStyle/>
              <a:p>
                <a:endParaRPr lang="en-US"/>
              </a:p>
            </p:txBody>
          </p:sp>
          <p:sp>
            <p:nvSpPr>
              <p:cNvPr id="346" name="Freeform 132">
                <a:extLst>
                  <a:ext uri="{FF2B5EF4-FFF2-40B4-BE49-F238E27FC236}">
                    <a16:creationId xmlns:a16="http://schemas.microsoft.com/office/drawing/2014/main" id="{3B83AFB6-C509-2594-6A86-C4849601EC6C}"/>
                  </a:ext>
                </a:extLst>
              </p:cNvPr>
              <p:cNvSpPr/>
              <p:nvPr/>
            </p:nvSpPr>
            <p:spPr>
              <a:xfrm>
                <a:off x="8419748" y="3691291"/>
                <a:ext cx="220387" cy="317083"/>
              </a:xfrm>
              <a:custGeom>
                <a:avLst/>
                <a:gdLst>
                  <a:gd name="connsiteX0" fmla="*/ 0 w 220387"/>
                  <a:gd name="connsiteY0" fmla="*/ 74940 h 317083"/>
                  <a:gd name="connsiteX1" fmla="*/ 0 w 220387"/>
                  <a:gd name="connsiteY1" fmla="*/ 11281 h 317083"/>
                  <a:gd name="connsiteX2" fmla="*/ 11281 w 220387"/>
                  <a:gd name="connsiteY2" fmla="*/ 0 h 317083"/>
                  <a:gd name="connsiteX3" fmla="*/ 209106 w 220387"/>
                  <a:gd name="connsiteY3" fmla="*/ 0 h 317083"/>
                  <a:gd name="connsiteX4" fmla="*/ 220388 w 220387"/>
                  <a:gd name="connsiteY4" fmla="*/ 11281 h 317083"/>
                  <a:gd name="connsiteX5" fmla="*/ 220388 w 220387"/>
                  <a:gd name="connsiteY5" fmla="*/ 317084 h 31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0387" h="317083">
                    <a:moveTo>
                      <a:pt x="0" y="74940"/>
                    </a:moveTo>
                    <a:lnTo>
                      <a:pt x="0" y="11281"/>
                    </a:lnTo>
                    <a:cubicBezTo>
                      <a:pt x="0" y="5238"/>
                      <a:pt x="4835" y="0"/>
                      <a:pt x="11281" y="0"/>
                    </a:cubicBezTo>
                    <a:lnTo>
                      <a:pt x="209106" y="0"/>
                    </a:lnTo>
                    <a:cubicBezTo>
                      <a:pt x="215150" y="0"/>
                      <a:pt x="220388" y="4835"/>
                      <a:pt x="220388" y="11281"/>
                    </a:cubicBezTo>
                    <a:lnTo>
                      <a:pt x="220388" y="317084"/>
                    </a:lnTo>
                  </a:path>
                </a:pathLst>
              </a:custGeom>
              <a:noFill/>
              <a:ln w="12700" cap="rnd">
                <a:solidFill>
                  <a:schemeClr val="accent2">
                    <a:lumMod val="60000"/>
                    <a:lumOff val="40000"/>
                  </a:schemeClr>
                </a:solidFill>
                <a:prstDash val="solid"/>
                <a:round/>
              </a:ln>
            </p:spPr>
            <p:txBody>
              <a:bodyPr rtlCol="0" anchor="ctr"/>
              <a:lstStyle/>
              <a:p>
                <a:endParaRPr lang="en-US"/>
              </a:p>
            </p:txBody>
          </p:sp>
          <p:sp>
            <p:nvSpPr>
              <p:cNvPr id="347" name="Freeform 133">
                <a:extLst>
                  <a:ext uri="{FF2B5EF4-FFF2-40B4-BE49-F238E27FC236}">
                    <a16:creationId xmlns:a16="http://schemas.microsoft.com/office/drawing/2014/main" id="{1CE9BBCB-C68C-1F1F-16BD-90CB8AA61A33}"/>
                  </a:ext>
                </a:extLst>
              </p:cNvPr>
              <p:cNvSpPr/>
              <p:nvPr/>
            </p:nvSpPr>
            <p:spPr>
              <a:xfrm>
                <a:off x="8419749" y="3987827"/>
                <a:ext cx="4029" cy="20547"/>
              </a:xfrm>
              <a:custGeom>
                <a:avLst/>
                <a:gdLst>
                  <a:gd name="connsiteX0" fmla="*/ 0 w 4029"/>
                  <a:gd name="connsiteY0" fmla="*/ 20548 h 20547"/>
                  <a:gd name="connsiteX1" fmla="*/ 0 w 4029"/>
                  <a:gd name="connsiteY1" fmla="*/ 0 h 20547"/>
                </a:gdLst>
                <a:ahLst/>
                <a:cxnLst>
                  <a:cxn ang="0">
                    <a:pos x="connsiteX0" y="connsiteY0"/>
                  </a:cxn>
                  <a:cxn ang="0">
                    <a:pos x="connsiteX1" y="connsiteY1"/>
                  </a:cxn>
                </a:cxnLst>
                <a:rect l="l" t="t" r="r" b="b"/>
                <a:pathLst>
                  <a:path w="4029" h="20547">
                    <a:moveTo>
                      <a:pt x="0" y="20548"/>
                    </a:moveTo>
                    <a:lnTo>
                      <a:pt x="0" y="0"/>
                    </a:lnTo>
                  </a:path>
                </a:pathLst>
              </a:custGeom>
              <a:ln w="12700" cap="rnd">
                <a:solidFill>
                  <a:schemeClr val="accent2">
                    <a:lumMod val="60000"/>
                    <a:lumOff val="40000"/>
                  </a:schemeClr>
                </a:solidFill>
                <a:prstDash val="solid"/>
                <a:round/>
              </a:ln>
            </p:spPr>
            <p:txBody>
              <a:bodyPr rtlCol="0" anchor="ctr"/>
              <a:lstStyle/>
              <a:p>
                <a:endParaRPr lang="en-US"/>
              </a:p>
            </p:txBody>
          </p:sp>
          <p:grpSp>
            <p:nvGrpSpPr>
              <p:cNvPr id="348" name="Content Placeholder 5">
                <a:extLst>
                  <a:ext uri="{FF2B5EF4-FFF2-40B4-BE49-F238E27FC236}">
                    <a16:creationId xmlns:a16="http://schemas.microsoft.com/office/drawing/2014/main" id="{19DF5BD6-6148-5E9B-6101-2D23DB59715E}"/>
                  </a:ext>
                </a:extLst>
              </p:cNvPr>
              <p:cNvGrpSpPr/>
              <p:nvPr/>
            </p:nvGrpSpPr>
            <p:grpSpPr>
              <a:xfrm>
                <a:off x="8445131" y="3728358"/>
                <a:ext cx="172441" cy="4029"/>
                <a:chOff x="8445131" y="3728358"/>
                <a:chExt cx="172441" cy="4029"/>
              </a:xfrm>
            </p:grpSpPr>
            <p:sp>
              <p:nvSpPr>
                <p:cNvPr id="363" name="Freeform 149">
                  <a:extLst>
                    <a:ext uri="{FF2B5EF4-FFF2-40B4-BE49-F238E27FC236}">
                      <a16:creationId xmlns:a16="http://schemas.microsoft.com/office/drawing/2014/main" id="{34163761-F29B-FC76-E2D9-E65FBDC758B0}"/>
                    </a:ext>
                  </a:extLst>
                </p:cNvPr>
                <p:cNvSpPr/>
                <p:nvPr/>
              </p:nvSpPr>
              <p:spPr>
                <a:xfrm>
                  <a:off x="8445131" y="3728358"/>
                  <a:ext cx="122079" cy="4029"/>
                </a:xfrm>
                <a:custGeom>
                  <a:avLst/>
                  <a:gdLst>
                    <a:gd name="connsiteX0" fmla="*/ 0 w 122079"/>
                    <a:gd name="connsiteY0" fmla="*/ 0 h 4029"/>
                    <a:gd name="connsiteX1" fmla="*/ 122079 w 122079"/>
                    <a:gd name="connsiteY1" fmla="*/ 0 h 4029"/>
                  </a:gdLst>
                  <a:ahLst/>
                  <a:cxnLst>
                    <a:cxn ang="0">
                      <a:pos x="connsiteX0" y="connsiteY0"/>
                    </a:cxn>
                    <a:cxn ang="0">
                      <a:pos x="connsiteX1" y="connsiteY1"/>
                    </a:cxn>
                  </a:cxnLst>
                  <a:rect l="l" t="t" r="r" b="b"/>
                  <a:pathLst>
                    <a:path w="122079" h="4029">
                      <a:moveTo>
                        <a:pt x="0" y="0"/>
                      </a:moveTo>
                      <a:lnTo>
                        <a:pt x="122079" y="0"/>
                      </a:lnTo>
                    </a:path>
                  </a:pathLst>
                </a:custGeom>
                <a:ln w="12700" cap="rnd">
                  <a:solidFill>
                    <a:schemeClr val="accent2">
                      <a:lumMod val="60000"/>
                      <a:lumOff val="40000"/>
                    </a:schemeClr>
                  </a:solidFill>
                  <a:prstDash val="solid"/>
                  <a:round/>
                </a:ln>
              </p:spPr>
              <p:txBody>
                <a:bodyPr rtlCol="0" anchor="ctr"/>
                <a:lstStyle/>
                <a:p>
                  <a:endParaRPr lang="en-US"/>
                </a:p>
              </p:txBody>
            </p:sp>
            <p:sp>
              <p:nvSpPr>
                <p:cNvPr id="364" name="Freeform 150">
                  <a:extLst>
                    <a:ext uri="{FF2B5EF4-FFF2-40B4-BE49-F238E27FC236}">
                      <a16:creationId xmlns:a16="http://schemas.microsoft.com/office/drawing/2014/main" id="{64ED23CE-5A10-1BD1-487F-2AAEBE117EDE}"/>
                    </a:ext>
                  </a:extLst>
                </p:cNvPr>
                <p:cNvSpPr/>
                <p:nvPr/>
              </p:nvSpPr>
              <p:spPr>
                <a:xfrm>
                  <a:off x="8601457" y="3728358"/>
                  <a:ext cx="16116" cy="4029"/>
                </a:xfrm>
                <a:custGeom>
                  <a:avLst/>
                  <a:gdLst>
                    <a:gd name="connsiteX0" fmla="*/ 0 w 16116"/>
                    <a:gd name="connsiteY0" fmla="*/ 0 h 4029"/>
                    <a:gd name="connsiteX1" fmla="*/ 16116 w 16116"/>
                    <a:gd name="connsiteY1" fmla="*/ 0 h 4029"/>
                  </a:gdLst>
                  <a:ahLst/>
                  <a:cxnLst>
                    <a:cxn ang="0">
                      <a:pos x="connsiteX0" y="connsiteY0"/>
                    </a:cxn>
                    <a:cxn ang="0">
                      <a:pos x="connsiteX1" y="connsiteY1"/>
                    </a:cxn>
                  </a:cxnLst>
                  <a:rect l="l" t="t" r="r" b="b"/>
                  <a:pathLst>
                    <a:path w="16116" h="4029">
                      <a:moveTo>
                        <a:pt x="0" y="0"/>
                      </a:moveTo>
                      <a:lnTo>
                        <a:pt x="16116" y="0"/>
                      </a:lnTo>
                    </a:path>
                  </a:pathLst>
                </a:custGeom>
                <a:ln w="12700" cap="rnd">
                  <a:solidFill>
                    <a:schemeClr val="accent2">
                      <a:lumMod val="60000"/>
                      <a:lumOff val="40000"/>
                    </a:schemeClr>
                  </a:solidFill>
                  <a:prstDash val="solid"/>
                  <a:round/>
                </a:ln>
              </p:spPr>
              <p:txBody>
                <a:bodyPr rtlCol="0" anchor="ctr"/>
                <a:lstStyle/>
                <a:p>
                  <a:endParaRPr lang="en-US"/>
                </a:p>
              </p:txBody>
            </p:sp>
          </p:grpSp>
          <p:grpSp>
            <p:nvGrpSpPr>
              <p:cNvPr id="349" name="Content Placeholder 5">
                <a:extLst>
                  <a:ext uri="{FF2B5EF4-FFF2-40B4-BE49-F238E27FC236}">
                    <a16:creationId xmlns:a16="http://schemas.microsoft.com/office/drawing/2014/main" id="{E2DD5523-2A5B-C173-01FC-6CEC6406F4EE}"/>
                  </a:ext>
                </a:extLst>
              </p:cNvPr>
              <p:cNvGrpSpPr/>
              <p:nvPr/>
            </p:nvGrpSpPr>
            <p:grpSpPr>
              <a:xfrm>
                <a:off x="8445131" y="3766231"/>
                <a:ext cx="172441" cy="4029"/>
                <a:chOff x="8445131" y="3766231"/>
                <a:chExt cx="172441" cy="4029"/>
              </a:xfrm>
            </p:grpSpPr>
            <p:sp>
              <p:nvSpPr>
                <p:cNvPr id="361" name="Freeform 147">
                  <a:extLst>
                    <a:ext uri="{FF2B5EF4-FFF2-40B4-BE49-F238E27FC236}">
                      <a16:creationId xmlns:a16="http://schemas.microsoft.com/office/drawing/2014/main" id="{00BD3D7E-2D24-107F-42A3-04224C8F2E21}"/>
                    </a:ext>
                  </a:extLst>
                </p:cNvPr>
                <p:cNvSpPr/>
                <p:nvPr/>
              </p:nvSpPr>
              <p:spPr>
                <a:xfrm>
                  <a:off x="8445131" y="3766231"/>
                  <a:ext cx="93070" cy="4029"/>
                </a:xfrm>
                <a:custGeom>
                  <a:avLst/>
                  <a:gdLst>
                    <a:gd name="connsiteX0" fmla="*/ 0 w 93070"/>
                    <a:gd name="connsiteY0" fmla="*/ 0 h 4029"/>
                    <a:gd name="connsiteX1" fmla="*/ 93070 w 93070"/>
                    <a:gd name="connsiteY1" fmla="*/ 0 h 4029"/>
                  </a:gdLst>
                  <a:ahLst/>
                  <a:cxnLst>
                    <a:cxn ang="0">
                      <a:pos x="connsiteX0" y="connsiteY0"/>
                    </a:cxn>
                    <a:cxn ang="0">
                      <a:pos x="connsiteX1" y="connsiteY1"/>
                    </a:cxn>
                  </a:cxnLst>
                  <a:rect l="l" t="t" r="r" b="b"/>
                  <a:pathLst>
                    <a:path w="93070" h="4029">
                      <a:moveTo>
                        <a:pt x="0" y="0"/>
                      </a:moveTo>
                      <a:lnTo>
                        <a:pt x="93070" y="0"/>
                      </a:lnTo>
                    </a:path>
                  </a:pathLst>
                </a:custGeom>
                <a:ln w="12700" cap="rnd">
                  <a:solidFill>
                    <a:schemeClr val="accent2">
                      <a:lumMod val="60000"/>
                      <a:lumOff val="40000"/>
                    </a:schemeClr>
                  </a:solidFill>
                  <a:prstDash val="solid"/>
                  <a:round/>
                </a:ln>
              </p:spPr>
              <p:txBody>
                <a:bodyPr rtlCol="0" anchor="ctr"/>
                <a:lstStyle/>
                <a:p>
                  <a:endParaRPr lang="en-US"/>
                </a:p>
              </p:txBody>
            </p:sp>
            <p:sp>
              <p:nvSpPr>
                <p:cNvPr id="362" name="Freeform 148">
                  <a:extLst>
                    <a:ext uri="{FF2B5EF4-FFF2-40B4-BE49-F238E27FC236}">
                      <a16:creationId xmlns:a16="http://schemas.microsoft.com/office/drawing/2014/main" id="{46DBDE5F-1D55-0DB3-A28C-427C5895AD66}"/>
                    </a:ext>
                  </a:extLst>
                </p:cNvPr>
                <p:cNvSpPr/>
                <p:nvPr/>
              </p:nvSpPr>
              <p:spPr>
                <a:xfrm>
                  <a:off x="8601457" y="3766231"/>
                  <a:ext cx="16116" cy="4029"/>
                </a:xfrm>
                <a:custGeom>
                  <a:avLst/>
                  <a:gdLst>
                    <a:gd name="connsiteX0" fmla="*/ 0 w 16116"/>
                    <a:gd name="connsiteY0" fmla="*/ 0 h 4029"/>
                    <a:gd name="connsiteX1" fmla="*/ 16116 w 16116"/>
                    <a:gd name="connsiteY1" fmla="*/ 0 h 4029"/>
                  </a:gdLst>
                  <a:ahLst/>
                  <a:cxnLst>
                    <a:cxn ang="0">
                      <a:pos x="connsiteX0" y="connsiteY0"/>
                    </a:cxn>
                    <a:cxn ang="0">
                      <a:pos x="connsiteX1" y="connsiteY1"/>
                    </a:cxn>
                  </a:cxnLst>
                  <a:rect l="l" t="t" r="r" b="b"/>
                  <a:pathLst>
                    <a:path w="16116" h="4029">
                      <a:moveTo>
                        <a:pt x="0" y="0"/>
                      </a:moveTo>
                      <a:lnTo>
                        <a:pt x="16116" y="0"/>
                      </a:lnTo>
                    </a:path>
                  </a:pathLst>
                </a:custGeom>
                <a:ln w="12700" cap="rnd">
                  <a:solidFill>
                    <a:schemeClr val="accent2">
                      <a:lumMod val="60000"/>
                      <a:lumOff val="40000"/>
                    </a:schemeClr>
                  </a:solidFill>
                  <a:prstDash val="solid"/>
                  <a:round/>
                </a:ln>
              </p:spPr>
              <p:txBody>
                <a:bodyPr rtlCol="0" anchor="ctr"/>
                <a:lstStyle/>
                <a:p>
                  <a:endParaRPr lang="en-US"/>
                </a:p>
              </p:txBody>
            </p:sp>
          </p:grpSp>
          <p:grpSp>
            <p:nvGrpSpPr>
              <p:cNvPr id="350" name="Content Placeholder 5">
                <a:extLst>
                  <a:ext uri="{FF2B5EF4-FFF2-40B4-BE49-F238E27FC236}">
                    <a16:creationId xmlns:a16="http://schemas.microsoft.com/office/drawing/2014/main" id="{63CF633D-9C6E-611B-57AD-41351F654D33}"/>
                  </a:ext>
                </a:extLst>
              </p:cNvPr>
              <p:cNvGrpSpPr/>
              <p:nvPr/>
            </p:nvGrpSpPr>
            <p:grpSpPr>
              <a:xfrm>
                <a:off x="8492674" y="3807327"/>
                <a:ext cx="124899" cy="4029"/>
                <a:chOff x="8492674" y="3807327"/>
                <a:chExt cx="124899" cy="4029"/>
              </a:xfrm>
            </p:grpSpPr>
            <p:sp>
              <p:nvSpPr>
                <p:cNvPr id="359" name="Freeform 145">
                  <a:extLst>
                    <a:ext uri="{FF2B5EF4-FFF2-40B4-BE49-F238E27FC236}">
                      <a16:creationId xmlns:a16="http://schemas.microsoft.com/office/drawing/2014/main" id="{882E25F8-78F5-13AE-4124-4B79181B13AE}"/>
                    </a:ext>
                  </a:extLst>
                </p:cNvPr>
                <p:cNvSpPr/>
                <p:nvPr/>
              </p:nvSpPr>
              <p:spPr>
                <a:xfrm>
                  <a:off x="8492674" y="3807327"/>
                  <a:ext cx="74536" cy="4029"/>
                </a:xfrm>
                <a:custGeom>
                  <a:avLst/>
                  <a:gdLst>
                    <a:gd name="connsiteX0" fmla="*/ 0 w 74536"/>
                    <a:gd name="connsiteY0" fmla="*/ 0 h 4029"/>
                    <a:gd name="connsiteX1" fmla="*/ 74537 w 74536"/>
                    <a:gd name="connsiteY1" fmla="*/ 0 h 4029"/>
                  </a:gdLst>
                  <a:ahLst/>
                  <a:cxnLst>
                    <a:cxn ang="0">
                      <a:pos x="connsiteX0" y="connsiteY0"/>
                    </a:cxn>
                    <a:cxn ang="0">
                      <a:pos x="connsiteX1" y="connsiteY1"/>
                    </a:cxn>
                  </a:cxnLst>
                  <a:rect l="l" t="t" r="r" b="b"/>
                  <a:pathLst>
                    <a:path w="74536" h="4029">
                      <a:moveTo>
                        <a:pt x="0" y="0"/>
                      </a:moveTo>
                      <a:lnTo>
                        <a:pt x="74537" y="0"/>
                      </a:lnTo>
                    </a:path>
                  </a:pathLst>
                </a:custGeom>
                <a:ln w="12700" cap="rnd">
                  <a:solidFill>
                    <a:schemeClr val="accent2">
                      <a:lumMod val="60000"/>
                      <a:lumOff val="40000"/>
                    </a:schemeClr>
                  </a:solidFill>
                  <a:prstDash val="solid"/>
                  <a:round/>
                </a:ln>
              </p:spPr>
              <p:txBody>
                <a:bodyPr rtlCol="0" anchor="ctr"/>
                <a:lstStyle/>
                <a:p>
                  <a:endParaRPr lang="en-US"/>
                </a:p>
              </p:txBody>
            </p:sp>
            <p:sp>
              <p:nvSpPr>
                <p:cNvPr id="360" name="Freeform 146">
                  <a:extLst>
                    <a:ext uri="{FF2B5EF4-FFF2-40B4-BE49-F238E27FC236}">
                      <a16:creationId xmlns:a16="http://schemas.microsoft.com/office/drawing/2014/main" id="{67352846-BCCC-2C04-ABBE-AFE4CA91321B}"/>
                    </a:ext>
                  </a:extLst>
                </p:cNvPr>
                <p:cNvSpPr/>
                <p:nvPr/>
              </p:nvSpPr>
              <p:spPr>
                <a:xfrm>
                  <a:off x="8601457" y="3807327"/>
                  <a:ext cx="16116" cy="4029"/>
                </a:xfrm>
                <a:custGeom>
                  <a:avLst/>
                  <a:gdLst>
                    <a:gd name="connsiteX0" fmla="*/ 0 w 16116"/>
                    <a:gd name="connsiteY0" fmla="*/ 0 h 4029"/>
                    <a:gd name="connsiteX1" fmla="*/ 16116 w 16116"/>
                    <a:gd name="connsiteY1" fmla="*/ 0 h 4029"/>
                  </a:gdLst>
                  <a:ahLst/>
                  <a:cxnLst>
                    <a:cxn ang="0">
                      <a:pos x="connsiteX0" y="connsiteY0"/>
                    </a:cxn>
                    <a:cxn ang="0">
                      <a:pos x="connsiteX1" y="connsiteY1"/>
                    </a:cxn>
                  </a:cxnLst>
                  <a:rect l="l" t="t" r="r" b="b"/>
                  <a:pathLst>
                    <a:path w="16116" h="4029">
                      <a:moveTo>
                        <a:pt x="0" y="0"/>
                      </a:moveTo>
                      <a:lnTo>
                        <a:pt x="16116" y="0"/>
                      </a:lnTo>
                    </a:path>
                  </a:pathLst>
                </a:custGeom>
                <a:ln w="12700" cap="rnd">
                  <a:solidFill>
                    <a:schemeClr val="accent2">
                      <a:lumMod val="60000"/>
                      <a:lumOff val="40000"/>
                    </a:schemeClr>
                  </a:solidFill>
                  <a:prstDash val="solid"/>
                  <a:round/>
                </a:ln>
              </p:spPr>
              <p:txBody>
                <a:bodyPr rtlCol="0" anchor="ctr"/>
                <a:lstStyle/>
                <a:p>
                  <a:endParaRPr lang="en-US"/>
                </a:p>
              </p:txBody>
            </p:sp>
          </p:grpSp>
          <p:grpSp>
            <p:nvGrpSpPr>
              <p:cNvPr id="351" name="Content Placeholder 5">
                <a:extLst>
                  <a:ext uri="{FF2B5EF4-FFF2-40B4-BE49-F238E27FC236}">
                    <a16:creationId xmlns:a16="http://schemas.microsoft.com/office/drawing/2014/main" id="{6872DD42-A866-B325-40C8-5138E89ED20B}"/>
                  </a:ext>
                </a:extLst>
              </p:cNvPr>
              <p:cNvGrpSpPr/>
              <p:nvPr/>
            </p:nvGrpSpPr>
            <p:grpSpPr>
              <a:xfrm>
                <a:off x="8516848" y="3848826"/>
                <a:ext cx="100725" cy="4029"/>
                <a:chOff x="8516848" y="3848826"/>
                <a:chExt cx="100725" cy="4029"/>
              </a:xfrm>
            </p:grpSpPr>
            <p:sp>
              <p:nvSpPr>
                <p:cNvPr id="357" name="Freeform 143">
                  <a:extLst>
                    <a:ext uri="{FF2B5EF4-FFF2-40B4-BE49-F238E27FC236}">
                      <a16:creationId xmlns:a16="http://schemas.microsoft.com/office/drawing/2014/main" id="{0BBE9C5C-A266-AF3F-919C-E9DD6C9A1EB6}"/>
                    </a:ext>
                  </a:extLst>
                </p:cNvPr>
                <p:cNvSpPr/>
                <p:nvPr/>
              </p:nvSpPr>
              <p:spPr>
                <a:xfrm>
                  <a:off x="8516848" y="3848826"/>
                  <a:ext cx="21353" cy="4029"/>
                </a:xfrm>
                <a:custGeom>
                  <a:avLst/>
                  <a:gdLst>
                    <a:gd name="connsiteX0" fmla="*/ 0 w 21353"/>
                    <a:gd name="connsiteY0" fmla="*/ 0 h 4029"/>
                    <a:gd name="connsiteX1" fmla="*/ 21354 w 21353"/>
                    <a:gd name="connsiteY1" fmla="*/ 0 h 4029"/>
                  </a:gdLst>
                  <a:ahLst/>
                  <a:cxnLst>
                    <a:cxn ang="0">
                      <a:pos x="connsiteX0" y="connsiteY0"/>
                    </a:cxn>
                    <a:cxn ang="0">
                      <a:pos x="connsiteX1" y="connsiteY1"/>
                    </a:cxn>
                  </a:cxnLst>
                  <a:rect l="l" t="t" r="r" b="b"/>
                  <a:pathLst>
                    <a:path w="21353" h="4029">
                      <a:moveTo>
                        <a:pt x="0" y="0"/>
                      </a:moveTo>
                      <a:lnTo>
                        <a:pt x="21354" y="0"/>
                      </a:lnTo>
                    </a:path>
                  </a:pathLst>
                </a:custGeom>
                <a:ln w="12700" cap="rnd">
                  <a:solidFill>
                    <a:schemeClr val="accent2">
                      <a:lumMod val="60000"/>
                      <a:lumOff val="40000"/>
                    </a:schemeClr>
                  </a:solidFill>
                  <a:prstDash val="solid"/>
                  <a:round/>
                </a:ln>
              </p:spPr>
              <p:txBody>
                <a:bodyPr rtlCol="0" anchor="ctr"/>
                <a:lstStyle/>
                <a:p>
                  <a:endParaRPr lang="en-US"/>
                </a:p>
              </p:txBody>
            </p:sp>
            <p:sp>
              <p:nvSpPr>
                <p:cNvPr id="358" name="Freeform 144">
                  <a:extLst>
                    <a:ext uri="{FF2B5EF4-FFF2-40B4-BE49-F238E27FC236}">
                      <a16:creationId xmlns:a16="http://schemas.microsoft.com/office/drawing/2014/main" id="{76FC03AE-73B5-CCD4-5707-EBE33A2198E5}"/>
                    </a:ext>
                  </a:extLst>
                </p:cNvPr>
                <p:cNvSpPr/>
                <p:nvPr/>
              </p:nvSpPr>
              <p:spPr>
                <a:xfrm>
                  <a:off x="8601457" y="3848826"/>
                  <a:ext cx="16116" cy="4029"/>
                </a:xfrm>
                <a:custGeom>
                  <a:avLst/>
                  <a:gdLst>
                    <a:gd name="connsiteX0" fmla="*/ 0 w 16116"/>
                    <a:gd name="connsiteY0" fmla="*/ 0 h 4029"/>
                    <a:gd name="connsiteX1" fmla="*/ 16116 w 16116"/>
                    <a:gd name="connsiteY1" fmla="*/ 0 h 4029"/>
                  </a:gdLst>
                  <a:ahLst/>
                  <a:cxnLst>
                    <a:cxn ang="0">
                      <a:pos x="connsiteX0" y="connsiteY0"/>
                    </a:cxn>
                    <a:cxn ang="0">
                      <a:pos x="connsiteX1" y="connsiteY1"/>
                    </a:cxn>
                  </a:cxnLst>
                  <a:rect l="l" t="t" r="r" b="b"/>
                  <a:pathLst>
                    <a:path w="16116" h="4029">
                      <a:moveTo>
                        <a:pt x="0" y="0"/>
                      </a:moveTo>
                      <a:lnTo>
                        <a:pt x="16116" y="0"/>
                      </a:lnTo>
                    </a:path>
                  </a:pathLst>
                </a:custGeom>
                <a:ln w="12700" cap="rnd">
                  <a:solidFill>
                    <a:schemeClr val="accent2">
                      <a:lumMod val="60000"/>
                      <a:lumOff val="40000"/>
                    </a:schemeClr>
                  </a:solidFill>
                  <a:prstDash val="solid"/>
                  <a:round/>
                </a:ln>
              </p:spPr>
              <p:txBody>
                <a:bodyPr rtlCol="0" anchor="ctr"/>
                <a:lstStyle/>
                <a:p>
                  <a:endParaRPr lang="en-US"/>
                </a:p>
              </p:txBody>
            </p:sp>
          </p:grpSp>
          <p:sp>
            <p:nvSpPr>
              <p:cNvPr id="352" name="Freeform 138">
                <a:extLst>
                  <a:ext uri="{FF2B5EF4-FFF2-40B4-BE49-F238E27FC236}">
                    <a16:creationId xmlns:a16="http://schemas.microsoft.com/office/drawing/2014/main" id="{16142C8C-9E63-8136-E598-9F8E61D8279C}"/>
                  </a:ext>
                </a:extLst>
              </p:cNvPr>
              <p:cNvSpPr/>
              <p:nvPr/>
            </p:nvSpPr>
            <p:spPr>
              <a:xfrm>
                <a:off x="8485019" y="3960430"/>
                <a:ext cx="31829" cy="4029"/>
              </a:xfrm>
              <a:custGeom>
                <a:avLst/>
                <a:gdLst>
                  <a:gd name="connsiteX0" fmla="*/ 0 w 31829"/>
                  <a:gd name="connsiteY0" fmla="*/ 0 h 4029"/>
                  <a:gd name="connsiteX1" fmla="*/ 31829 w 31829"/>
                  <a:gd name="connsiteY1" fmla="*/ 0 h 4029"/>
                </a:gdLst>
                <a:ahLst/>
                <a:cxnLst>
                  <a:cxn ang="0">
                    <a:pos x="connsiteX0" y="connsiteY0"/>
                  </a:cxn>
                  <a:cxn ang="0">
                    <a:pos x="connsiteX1" y="connsiteY1"/>
                  </a:cxn>
                </a:cxnLst>
                <a:rect l="l" t="t" r="r" b="b"/>
                <a:pathLst>
                  <a:path w="31829" h="4029">
                    <a:moveTo>
                      <a:pt x="0" y="0"/>
                    </a:moveTo>
                    <a:lnTo>
                      <a:pt x="31829" y="0"/>
                    </a:lnTo>
                  </a:path>
                </a:pathLst>
              </a:custGeom>
              <a:ln w="12700" cap="rnd">
                <a:solidFill>
                  <a:schemeClr val="accent2">
                    <a:lumMod val="60000"/>
                    <a:lumOff val="40000"/>
                  </a:schemeClr>
                </a:solidFill>
                <a:prstDash val="solid"/>
                <a:round/>
              </a:ln>
            </p:spPr>
            <p:txBody>
              <a:bodyPr rtlCol="0" anchor="ctr"/>
              <a:lstStyle/>
              <a:p>
                <a:endParaRPr lang="en-US"/>
              </a:p>
            </p:txBody>
          </p:sp>
          <p:grpSp>
            <p:nvGrpSpPr>
              <p:cNvPr id="353" name="Content Placeholder 5">
                <a:extLst>
                  <a:ext uri="{FF2B5EF4-FFF2-40B4-BE49-F238E27FC236}">
                    <a16:creationId xmlns:a16="http://schemas.microsoft.com/office/drawing/2014/main" id="{C9103604-61F5-20A8-3A9B-843C7ACBAEC1}"/>
                  </a:ext>
                </a:extLst>
              </p:cNvPr>
              <p:cNvGrpSpPr/>
              <p:nvPr/>
            </p:nvGrpSpPr>
            <p:grpSpPr>
              <a:xfrm>
                <a:off x="8557944" y="3877432"/>
                <a:ext cx="43916" cy="104754"/>
                <a:chOff x="8557944" y="3877432"/>
                <a:chExt cx="43916" cy="104754"/>
              </a:xfrm>
              <a:noFill/>
            </p:grpSpPr>
            <p:sp>
              <p:nvSpPr>
                <p:cNvPr id="354" name="Freeform 140">
                  <a:extLst>
                    <a:ext uri="{FF2B5EF4-FFF2-40B4-BE49-F238E27FC236}">
                      <a16:creationId xmlns:a16="http://schemas.microsoft.com/office/drawing/2014/main" id="{F72889A7-0001-5A30-5086-49E864BB726E}"/>
                    </a:ext>
                  </a:extLst>
                </p:cNvPr>
                <p:cNvSpPr/>
                <p:nvPr/>
              </p:nvSpPr>
              <p:spPr>
                <a:xfrm>
                  <a:off x="8557944" y="3893145"/>
                  <a:ext cx="43916" cy="74536"/>
                </a:xfrm>
                <a:custGeom>
                  <a:avLst/>
                  <a:gdLst>
                    <a:gd name="connsiteX0" fmla="*/ 0 w 43916"/>
                    <a:gd name="connsiteY0" fmla="*/ 65270 h 74536"/>
                    <a:gd name="connsiteX1" fmla="*/ 20145 w 43916"/>
                    <a:gd name="connsiteY1" fmla="*/ 74537 h 74536"/>
                    <a:gd name="connsiteX2" fmla="*/ 43916 w 43916"/>
                    <a:gd name="connsiteY2" fmla="*/ 54795 h 74536"/>
                    <a:gd name="connsiteX3" fmla="*/ 22160 w 43916"/>
                    <a:gd name="connsiteY3" fmla="*/ 35456 h 74536"/>
                    <a:gd name="connsiteX4" fmla="*/ 22160 w 43916"/>
                    <a:gd name="connsiteY4" fmla="*/ 35456 h 74536"/>
                    <a:gd name="connsiteX5" fmla="*/ 2417 w 43916"/>
                    <a:gd name="connsiteY5" fmla="*/ 17728 h 74536"/>
                    <a:gd name="connsiteX6" fmla="*/ 23771 w 43916"/>
                    <a:gd name="connsiteY6" fmla="*/ 0 h 74536"/>
                    <a:gd name="connsiteX7" fmla="*/ 41902 w 43916"/>
                    <a:gd name="connsiteY7" fmla="*/ 8058 h 7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16" h="74536">
                      <a:moveTo>
                        <a:pt x="0" y="65270"/>
                      </a:moveTo>
                      <a:cubicBezTo>
                        <a:pt x="4029" y="70911"/>
                        <a:pt x="11684" y="74537"/>
                        <a:pt x="20145" y="74537"/>
                      </a:cubicBezTo>
                      <a:cubicBezTo>
                        <a:pt x="33038" y="74537"/>
                        <a:pt x="43916" y="65673"/>
                        <a:pt x="43916" y="54795"/>
                      </a:cubicBezTo>
                      <a:cubicBezTo>
                        <a:pt x="43916" y="44722"/>
                        <a:pt x="34247" y="36664"/>
                        <a:pt x="22160" y="35456"/>
                      </a:cubicBezTo>
                      <a:lnTo>
                        <a:pt x="22160" y="35456"/>
                      </a:lnTo>
                      <a:cubicBezTo>
                        <a:pt x="11281" y="34650"/>
                        <a:pt x="2417" y="26994"/>
                        <a:pt x="2417" y="17728"/>
                      </a:cubicBezTo>
                      <a:cubicBezTo>
                        <a:pt x="2417" y="8058"/>
                        <a:pt x="12087" y="0"/>
                        <a:pt x="23771" y="0"/>
                      </a:cubicBezTo>
                      <a:cubicBezTo>
                        <a:pt x="31426" y="0"/>
                        <a:pt x="37873" y="3223"/>
                        <a:pt x="41902" y="8058"/>
                      </a:cubicBezTo>
                    </a:path>
                  </a:pathLst>
                </a:custGeom>
                <a:noFill/>
                <a:ln w="12700" cap="rnd">
                  <a:solidFill>
                    <a:schemeClr val="accent2">
                      <a:lumMod val="60000"/>
                      <a:lumOff val="40000"/>
                    </a:schemeClr>
                  </a:solidFill>
                  <a:prstDash val="solid"/>
                  <a:round/>
                </a:ln>
              </p:spPr>
              <p:txBody>
                <a:bodyPr rtlCol="0" anchor="ctr"/>
                <a:lstStyle/>
                <a:p>
                  <a:endParaRPr lang="en-US"/>
                </a:p>
              </p:txBody>
            </p:sp>
            <p:sp>
              <p:nvSpPr>
                <p:cNvPr id="355" name="Freeform 141">
                  <a:extLst>
                    <a:ext uri="{FF2B5EF4-FFF2-40B4-BE49-F238E27FC236}">
                      <a16:creationId xmlns:a16="http://schemas.microsoft.com/office/drawing/2014/main" id="{D7C117CE-2291-5BF2-59C8-E5AB3D67FA42}"/>
                    </a:ext>
                  </a:extLst>
                </p:cNvPr>
                <p:cNvSpPr/>
                <p:nvPr/>
              </p:nvSpPr>
              <p:spPr>
                <a:xfrm>
                  <a:off x="8579701" y="3968488"/>
                  <a:ext cx="4029" cy="13698"/>
                </a:xfrm>
                <a:custGeom>
                  <a:avLst/>
                  <a:gdLst>
                    <a:gd name="connsiteX0" fmla="*/ 0 w 4029"/>
                    <a:gd name="connsiteY0" fmla="*/ 0 h 13698"/>
                    <a:gd name="connsiteX1" fmla="*/ 0 w 4029"/>
                    <a:gd name="connsiteY1" fmla="*/ 13699 h 13698"/>
                  </a:gdLst>
                  <a:ahLst/>
                  <a:cxnLst>
                    <a:cxn ang="0">
                      <a:pos x="connsiteX0" y="connsiteY0"/>
                    </a:cxn>
                    <a:cxn ang="0">
                      <a:pos x="connsiteX1" y="connsiteY1"/>
                    </a:cxn>
                  </a:cxnLst>
                  <a:rect l="l" t="t" r="r" b="b"/>
                  <a:pathLst>
                    <a:path w="4029" h="13698">
                      <a:moveTo>
                        <a:pt x="0" y="0"/>
                      </a:moveTo>
                      <a:lnTo>
                        <a:pt x="0" y="13699"/>
                      </a:lnTo>
                    </a:path>
                  </a:pathLst>
                </a:custGeom>
                <a:ln w="12700" cap="rnd">
                  <a:solidFill>
                    <a:schemeClr val="accent2">
                      <a:lumMod val="60000"/>
                      <a:lumOff val="40000"/>
                    </a:schemeClr>
                  </a:solidFill>
                  <a:prstDash val="solid"/>
                  <a:round/>
                </a:ln>
              </p:spPr>
              <p:txBody>
                <a:bodyPr rtlCol="0" anchor="ctr"/>
                <a:lstStyle/>
                <a:p>
                  <a:endParaRPr lang="en-US"/>
                </a:p>
              </p:txBody>
            </p:sp>
            <p:sp>
              <p:nvSpPr>
                <p:cNvPr id="356" name="Freeform 142">
                  <a:extLst>
                    <a:ext uri="{FF2B5EF4-FFF2-40B4-BE49-F238E27FC236}">
                      <a16:creationId xmlns:a16="http://schemas.microsoft.com/office/drawing/2014/main" id="{81D4294F-1779-9A6D-B42B-ABFF6FFDEC35}"/>
                    </a:ext>
                  </a:extLst>
                </p:cNvPr>
                <p:cNvSpPr/>
                <p:nvPr/>
              </p:nvSpPr>
              <p:spPr>
                <a:xfrm>
                  <a:off x="8579701" y="3877432"/>
                  <a:ext cx="4029" cy="14504"/>
                </a:xfrm>
                <a:custGeom>
                  <a:avLst/>
                  <a:gdLst>
                    <a:gd name="connsiteX0" fmla="*/ 0 w 4029"/>
                    <a:gd name="connsiteY0" fmla="*/ 0 h 14504"/>
                    <a:gd name="connsiteX1" fmla="*/ 0 w 4029"/>
                    <a:gd name="connsiteY1" fmla="*/ 14504 h 14504"/>
                  </a:gdLst>
                  <a:ahLst/>
                  <a:cxnLst>
                    <a:cxn ang="0">
                      <a:pos x="connsiteX0" y="connsiteY0"/>
                    </a:cxn>
                    <a:cxn ang="0">
                      <a:pos x="connsiteX1" y="connsiteY1"/>
                    </a:cxn>
                  </a:cxnLst>
                  <a:rect l="l" t="t" r="r" b="b"/>
                  <a:pathLst>
                    <a:path w="4029" h="14504">
                      <a:moveTo>
                        <a:pt x="0" y="0"/>
                      </a:moveTo>
                      <a:lnTo>
                        <a:pt x="0" y="14504"/>
                      </a:lnTo>
                    </a:path>
                  </a:pathLst>
                </a:custGeom>
                <a:ln w="12700" cap="rnd">
                  <a:solidFill>
                    <a:schemeClr val="accent2">
                      <a:lumMod val="60000"/>
                      <a:lumOff val="40000"/>
                    </a:schemeClr>
                  </a:solidFill>
                  <a:prstDash val="solid"/>
                  <a:round/>
                </a:ln>
              </p:spPr>
              <p:txBody>
                <a:bodyPr rtlCol="0" anchor="ctr"/>
                <a:lstStyle/>
                <a:p>
                  <a:endParaRPr lang="en-US"/>
                </a:p>
              </p:txBody>
            </p:sp>
          </p:grpSp>
        </p:grpSp>
        <p:sp>
          <p:nvSpPr>
            <p:cNvPr id="343" name="Freeform 129">
              <a:extLst>
                <a:ext uri="{FF2B5EF4-FFF2-40B4-BE49-F238E27FC236}">
                  <a16:creationId xmlns:a16="http://schemas.microsoft.com/office/drawing/2014/main" id="{A9B89B06-17A6-9ADF-BCFC-0DF309AB0BBE}"/>
                </a:ext>
              </a:extLst>
            </p:cNvPr>
            <p:cNvSpPr/>
            <p:nvPr/>
          </p:nvSpPr>
          <p:spPr>
            <a:xfrm>
              <a:off x="8339974" y="3805313"/>
              <a:ext cx="153908" cy="153908"/>
            </a:xfrm>
            <a:custGeom>
              <a:avLst/>
              <a:gdLst>
                <a:gd name="connsiteX0" fmla="*/ 153908 w 153908"/>
                <a:gd name="connsiteY0" fmla="*/ 76954 h 153908"/>
                <a:gd name="connsiteX1" fmla="*/ 76954 w 153908"/>
                <a:gd name="connsiteY1" fmla="*/ 153908 h 153908"/>
                <a:gd name="connsiteX2" fmla="*/ 0 w 153908"/>
                <a:gd name="connsiteY2" fmla="*/ 76954 h 153908"/>
                <a:gd name="connsiteX3" fmla="*/ 76954 w 153908"/>
                <a:gd name="connsiteY3" fmla="*/ 0 h 153908"/>
                <a:gd name="connsiteX4" fmla="*/ 153908 w 153908"/>
                <a:gd name="connsiteY4" fmla="*/ 76954 h 153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908" h="153908">
                  <a:moveTo>
                    <a:pt x="153908" y="76954"/>
                  </a:moveTo>
                  <a:cubicBezTo>
                    <a:pt x="153908" y="119455"/>
                    <a:pt x="119455" y="153908"/>
                    <a:pt x="76954" y="153908"/>
                  </a:cubicBezTo>
                  <a:cubicBezTo>
                    <a:pt x="34454" y="153908"/>
                    <a:pt x="0" y="119455"/>
                    <a:pt x="0" y="76954"/>
                  </a:cubicBezTo>
                  <a:cubicBezTo>
                    <a:pt x="0" y="34454"/>
                    <a:pt x="34454" y="0"/>
                    <a:pt x="76954" y="0"/>
                  </a:cubicBezTo>
                  <a:cubicBezTo>
                    <a:pt x="119455" y="0"/>
                    <a:pt x="153908" y="34454"/>
                    <a:pt x="153908" y="76954"/>
                  </a:cubicBezTo>
                  <a:close/>
                </a:path>
              </a:pathLst>
            </a:custGeom>
            <a:noFill/>
            <a:ln w="12700" cap="rnd">
              <a:solidFill>
                <a:schemeClr val="accent2">
                  <a:lumMod val="60000"/>
                  <a:lumOff val="40000"/>
                </a:schemeClr>
              </a:solidFill>
              <a:prstDash val="solid"/>
              <a:round/>
            </a:ln>
          </p:spPr>
          <p:txBody>
            <a:bodyPr rtlCol="0" anchor="ctr"/>
            <a:lstStyle/>
            <a:p>
              <a:endParaRPr lang="en-US"/>
            </a:p>
          </p:txBody>
        </p:sp>
        <p:sp>
          <p:nvSpPr>
            <p:cNvPr id="344" name="Freeform 130">
              <a:extLst>
                <a:ext uri="{FF2B5EF4-FFF2-40B4-BE49-F238E27FC236}">
                  <a16:creationId xmlns:a16="http://schemas.microsoft.com/office/drawing/2014/main" id="{DF2217EA-9EB4-A93C-47D3-8F42D0BA4692}"/>
                </a:ext>
              </a:extLst>
            </p:cNvPr>
            <p:cNvSpPr/>
            <p:nvPr/>
          </p:nvSpPr>
          <p:spPr>
            <a:xfrm>
              <a:off x="8371803" y="3829487"/>
              <a:ext cx="81386" cy="106768"/>
            </a:xfrm>
            <a:custGeom>
              <a:avLst/>
              <a:gdLst>
                <a:gd name="connsiteX0" fmla="*/ 41902 w 81386"/>
                <a:gd name="connsiteY0" fmla="*/ 0 h 106768"/>
                <a:gd name="connsiteX1" fmla="*/ 0 w 81386"/>
                <a:gd name="connsiteY1" fmla="*/ 57615 h 106768"/>
                <a:gd name="connsiteX2" fmla="*/ 36261 w 81386"/>
                <a:gd name="connsiteY2" fmla="*/ 57615 h 106768"/>
                <a:gd name="connsiteX3" fmla="*/ 24174 w 81386"/>
                <a:gd name="connsiteY3" fmla="*/ 106769 h 106768"/>
                <a:gd name="connsiteX4" fmla="*/ 81386 w 81386"/>
                <a:gd name="connsiteY4" fmla="*/ 35052 h 106768"/>
                <a:gd name="connsiteX5" fmla="*/ 49960 w 81386"/>
                <a:gd name="connsiteY5" fmla="*/ 35052 h 106768"/>
                <a:gd name="connsiteX6" fmla="*/ 74537 w 81386"/>
                <a:gd name="connsiteY6" fmla="*/ 0 h 10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386" h="106768">
                  <a:moveTo>
                    <a:pt x="41902" y="0"/>
                  </a:moveTo>
                  <a:lnTo>
                    <a:pt x="0" y="57615"/>
                  </a:lnTo>
                  <a:lnTo>
                    <a:pt x="36261" y="57615"/>
                  </a:lnTo>
                  <a:lnTo>
                    <a:pt x="24174" y="106769"/>
                  </a:lnTo>
                  <a:lnTo>
                    <a:pt x="81386" y="35052"/>
                  </a:lnTo>
                  <a:lnTo>
                    <a:pt x="49960" y="35052"/>
                  </a:lnTo>
                  <a:lnTo>
                    <a:pt x="74537" y="0"/>
                  </a:lnTo>
                  <a:close/>
                </a:path>
              </a:pathLst>
            </a:custGeom>
            <a:noFill/>
            <a:ln w="12700" cap="rnd">
              <a:solidFill>
                <a:schemeClr val="accent2">
                  <a:lumMod val="60000"/>
                  <a:lumOff val="40000"/>
                </a:schemeClr>
              </a:solidFill>
              <a:prstDash val="solid"/>
              <a:round/>
            </a:ln>
          </p:spPr>
          <p:txBody>
            <a:bodyPr rtlCol="0" anchor="ctr"/>
            <a:lstStyle/>
            <a:p>
              <a:endParaRPr lang="en-US"/>
            </a:p>
          </p:txBody>
        </p:sp>
      </p:grpSp>
      <p:grpSp>
        <p:nvGrpSpPr>
          <p:cNvPr id="365" name="Content Placeholder 5">
            <a:extLst>
              <a:ext uri="{FF2B5EF4-FFF2-40B4-BE49-F238E27FC236}">
                <a16:creationId xmlns:a16="http://schemas.microsoft.com/office/drawing/2014/main" id="{9D58FA83-707D-A5ED-DE6F-933B9CAC9390}"/>
              </a:ext>
            </a:extLst>
          </p:cNvPr>
          <p:cNvGrpSpPr/>
          <p:nvPr/>
        </p:nvGrpSpPr>
        <p:grpSpPr>
          <a:xfrm>
            <a:off x="8106314" y="1800698"/>
            <a:ext cx="398686" cy="442497"/>
            <a:chOff x="6258987" y="3707407"/>
            <a:chExt cx="256648" cy="284851"/>
          </a:xfrm>
          <a:solidFill>
            <a:schemeClr val="accent2">
              <a:lumMod val="60000"/>
              <a:lumOff val="40000"/>
            </a:schemeClr>
          </a:solidFill>
        </p:grpSpPr>
        <p:grpSp>
          <p:nvGrpSpPr>
            <p:cNvPr id="366" name="Content Placeholder 5">
              <a:extLst>
                <a:ext uri="{FF2B5EF4-FFF2-40B4-BE49-F238E27FC236}">
                  <a16:creationId xmlns:a16="http://schemas.microsoft.com/office/drawing/2014/main" id="{FFD2A11A-E3AE-B595-B50A-89875BEF544D}"/>
                </a:ext>
              </a:extLst>
            </p:cNvPr>
            <p:cNvGrpSpPr/>
            <p:nvPr/>
          </p:nvGrpSpPr>
          <p:grpSpPr>
            <a:xfrm>
              <a:off x="6258987" y="3707407"/>
              <a:ext cx="256648" cy="284851"/>
              <a:chOff x="6258987" y="3707407"/>
              <a:chExt cx="256648" cy="284851"/>
            </a:xfrm>
            <a:grpFill/>
          </p:grpSpPr>
          <p:sp>
            <p:nvSpPr>
              <p:cNvPr id="371" name="Freeform 189">
                <a:extLst>
                  <a:ext uri="{FF2B5EF4-FFF2-40B4-BE49-F238E27FC236}">
                    <a16:creationId xmlns:a16="http://schemas.microsoft.com/office/drawing/2014/main" id="{89876667-9707-99AB-C249-03E1E3291EA9}"/>
                  </a:ext>
                </a:extLst>
              </p:cNvPr>
              <p:cNvSpPr/>
              <p:nvPr/>
            </p:nvSpPr>
            <p:spPr>
              <a:xfrm>
                <a:off x="6258987" y="3788777"/>
                <a:ext cx="42707" cy="62466"/>
              </a:xfrm>
              <a:custGeom>
                <a:avLst/>
                <a:gdLst>
                  <a:gd name="connsiteX0" fmla="*/ 38276 w 42707"/>
                  <a:gd name="connsiteY0" fmla="*/ 62466 h 62466"/>
                  <a:gd name="connsiteX1" fmla="*/ 35858 w 42707"/>
                  <a:gd name="connsiteY1" fmla="*/ 61660 h 62466"/>
                  <a:gd name="connsiteX2" fmla="*/ 2015 w 42707"/>
                  <a:gd name="connsiteY2" fmla="*/ 39098 h 62466"/>
                  <a:gd name="connsiteX3" fmla="*/ 0 w 42707"/>
                  <a:gd name="connsiteY3" fmla="*/ 35875 h 62466"/>
                  <a:gd name="connsiteX4" fmla="*/ 1612 w 42707"/>
                  <a:gd name="connsiteY4" fmla="*/ 32249 h 62466"/>
                  <a:gd name="connsiteX5" fmla="*/ 35455 w 42707"/>
                  <a:gd name="connsiteY5" fmla="*/ 1225 h 62466"/>
                  <a:gd name="connsiteX6" fmla="*/ 40290 w 42707"/>
                  <a:gd name="connsiteY6" fmla="*/ 419 h 62466"/>
                  <a:gd name="connsiteX7" fmla="*/ 42708 w 42707"/>
                  <a:gd name="connsiteY7" fmla="*/ 4448 h 62466"/>
                  <a:gd name="connsiteX8" fmla="*/ 42708 w 42707"/>
                  <a:gd name="connsiteY8" fmla="*/ 57631 h 62466"/>
                  <a:gd name="connsiteX9" fmla="*/ 40290 w 42707"/>
                  <a:gd name="connsiteY9" fmla="*/ 61660 h 62466"/>
                  <a:gd name="connsiteX10" fmla="*/ 38276 w 42707"/>
                  <a:gd name="connsiteY10" fmla="*/ 62466 h 62466"/>
                  <a:gd name="connsiteX11" fmla="*/ 11281 w 42707"/>
                  <a:gd name="connsiteY11" fmla="*/ 35472 h 62466"/>
                  <a:gd name="connsiteX12" fmla="*/ 33844 w 42707"/>
                  <a:gd name="connsiteY12" fmla="*/ 50379 h 62466"/>
                  <a:gd name="connsiteX13" fmla="*/ 33844 w 42707"/>
                  <a:gd name="connsiteY13" fmla="*/ 14924 h 62466"/>
                  <a:gd name="connsiteX14" fmla="*/ 11281 w 42707"/>
                  <a:gd name="connsiteY14" fmla="*/ 35472 h 62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07" h="62466">
                    <a:moveTo>
                      <a:pt x="38276" y="62466"/>
                    </a:moveTo>
                    <a:cubicBezTo>
                      <a:pt x="37470" y="62466"/>
                      <a:pt x="36664" y="62063"/>
                      <a:pt x="35858" y="61660"/>
                    </a:cubicBezTo>
                    <a:lnTo>
                      <a:pt x="2015" y="39098"/>
                    </a:lnTo>
                    <a:cubicBezTo>
                      <a:pt x="806" y="38292"/>
                      <a:pt x="0" y="37083"/>
                      <a:pt x="0" y="35875"/>
                    </a:cubicBezTo>
                    <a:cubicBezTo>
                      <a:pt x="0" y="34666"/>
                      <a:pt x="403" y="33054"/>
                      <a:pt x="1612" y="32249"/>
                    </a:cubicBezTo>
                    <a:lnTo>
                      <a:pt x="35455" y="1225"/>
                    </a:lnTo>
                    <a:cubicBezTo>
                      <a:pt x="36664" y="16"/>
                      <a:pt x="38679" y="-387"/>
                      <a:pt x="40290" y="419"/>
                    </a:cubicBezTo>
                    <a:cubicBezTo>
                      <a:pt x="41902" y="1225"/>
                      <a:pt x="42708" y="2837"/>
                      <a:pt x="42708" y="4448"/>
                    </a:cubicBezTo>
                    <a:lnTo>
                      <a:pt x="42708" y="57631"/>
                    </a:lnTo>
                    <a:cubicBezTo>
                      <a:pt x="42708" y="59243"/>
                      <a:pt x="41902" y="60854"/>
                      <a:pt x="40290" y="61660"/>
                    </a:cubicBezTo>
                    <a:cubicBezTo>
                      <a:pt x="39887" y="62466"/>
                      <a:pt x="39082" y="62466"/>
                      <a:pt x="38276" y="62466"/>
                    </a:cubicBezTo>
                    <a:close/>
                    <a:moveTo>
                      <a:pt x="11281" y="35472"/>
                    </a:moveTo>
                    <a:lnTo>
                      <a:pt x="33844" y="50379"/>
                    </a:lnTo>
                    <a:lnTo>
                      <a:pt x="33844" y="14924"/>
                    </a:lnTo>
                    <a:lnTo>
                      <a:pt x="11281" y="35472"/>
                    </a:lnTo>
                    <a:close/>
                  </a:path>
                </a:pathLst>
              </a:custGeom>
              <a:grpFill/>
              <a:ln w="4028" cap="flat">
                <a:noFill/>
                <a:prstDash val="solid"/>
                <a:miter/>
              </a:ln>
            </p:spPr>
            <p:txBody>
              <a:bodyPr rtlCol="0" anchor="ctr"/>
              <a:lstStyle/>
              <a:p>
                <a:endParaRPr lang="en-US"/>
              </a:p>
            </p:txBody>
          </p:sp>
          <p:sp>
            <p:nvSpPr>
              <p:cNvPr id="372" name="Freeform 190">
                <a:extLst>
                  <a:ext uri="{FF2B5EF4-FFF2-40B4-BE49-F238E27FC236}">
                    <a16:creationId xmlns:a16="http://schemas.microsoft.com/office/drawing/2014/main" id="{025A26B7-3812-F944-64A1-A3118B85A7AE}"/>
                  </a:ext>
                </a:extLst>
              </p:cNvPr>
              <p:cNvSpPr/>
              <p:nvPr/>
            </p:nvSpPr>
            <p:spPr>
              <a:xfrm>
                <a:off x="6258987" y="3820019"/>
                <a:ext cx="256648" cy="172240"/>
              </a:xfrm>
              <a:custGeom>
                <a:avLst/>
                <a:gdLst>
                  <a:gd name="connsiteX0" fmla="*/ 252217 w 256648"/>
                  <a:gd name="connsiteY0" fmla="*/ 172240 h 172240"/>
                  <a:gd name="connsiteX1" fmla="*/ 4432 w 256648"/>
                  <a:gd name="connsiteY1" fmla="*/ 172240 h 172240"/>
                  <a:gd name="connsiteX2" fmla="*/ 0 w 256648"/>
                  <a:gd name="connsiteY2" fmla="*/ 167808 h 172240"/>
                  <a:gd name="connsiteX3" fmla="*/ 0 w 256648"/>
                  <a:gd name="connsiteY3" fmla="*/ 4633 h 172240"/>
                  <a:gd name="connsiteX4" fmla="*/ 2418 w 256648"/>
                  <a:gd name="connsiteY4" fmla="*/ 604 h 172240"/>
                  <a:gd name="connsiteX5" fmla="*/ 6849 w 256648"/>
                  <a:gd name="connsiteY5" fmla="*/ 604 h 172240"/>
                  <a:gd name="connsiteX6" fmla="*/ 37067 w 256648"/>
                  <a:gd name="connsiteY6" fmla="*/ 20346 h 172240"/>
                  <a:gd name="connsiteX7" fmla="*/ 38276 w 256648"/>
                  <a:gd name="connsiteY7" fmla="*/ 26390 h 172240"/>
                  <a:gd name="connsiteX8" fmla="*/ 32232 w 256648"/>
                  <a:gd name="connsiteY8" fmla="*/ 27599 h 172240"/>
                  <a:gd name="connsiteX9" fmla="*/ 8864 w 256648"/>
                  <a:gd name="connsiteY9" fmla="*/ 12288 h 172240"/>
                  <a:gd name="connsiteX10" fmla="*/ 8864 w 256648"/>
                  <a:gd name="connsiteY10" fmla="*/ 163377 h 172240"/>
                  <a:gd name="connsiteX11" fmla="*/ 247785 w 256648"/>
                  <a:gd name="connsiteY11" fmla="*/ 163377 h 172240"/>
                  <a:gd name="connsiteX12" fmla="*/ 247785 w 256648"/>
                  <a:gd name="connsiteY12" fmla="*/ 12691 h 172240"/>
                  <a:gd name="connsiteX13" fmla="*/ 223610 w 256648"/>
                  <a:gd name="connsiteY13" fmla="*/ 28405 h 172240"/>
                  <a:gd name="connsiteX14" fmla="*/ 217567 w 256648"/>
                  <a:gd name="connsiteY14" fmla="*/ 27196 h 172240"/>
                  <a:gd name="connsiteX15" fmla="*/ 218776 w 256648"/>
                  <a:gd name="connsiteY15" fmla="*/ 21152 h 172240"/>
                  <a:gd name="connsiteX16" fmla="*/ 249799 w 256648"/>
                  <a:gd name="connsiteY16" fmla="*/ 1007 h 172240"/>
                  <a:gd name="connsiteX17" fmla="*/ 254231 w 256648"/>
                  <a:gd name="connsiteY17" fmla="*/ 1007 h 172240"/>
                  <a:gd name="connsiteX18" fmla="*/ 256648 w 256648"/>
                  <a:gd name="connsiteY18" fmla="*/ 5036 h 172240"/>
                  <a:gd name="connsiteX19" fmla="*/ 256648 w 256648"/>
                  <a:gd name="connsiteY19" fmla="*/ 168211 h 172240"/>
                  <a:gd name="connsiteX20" fmla="*/ 252217 w 256648"/>
                  <a:gd name="connsiteY20" fmla="*/ 172240 h 17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6648" h="172240">
                    <a:moveTo>
                      <a:pt x="252217" y="172240"/>
                    </a:moveTo>
                    <a:lnTo>
                      <a:pt x="4432" y="172240"/>
                    </a:lnTo>
                    <a:cubicBezTo>
                      <a:pt x="2015" y="172240"/>
                      <a:pt x="0" y="170226"/>
                      <a:pt x="0" y="167808"/>
                    </a:cubicBezTo>
                    <a:lnTo>
                      <a:pt x="0" y="4633"/>
                    </a:lnTo>
                    <a:cubicBezTo>
                      <a:pt x="0" y="3022"/>
                      <a:pt x="806" y="1410"/>
                      <a:pt x="2418" y="604"/>
                    </a:cubicBezTo>
                    <a:cubicBezTo>
                      <a:pt x="4029" y="-201"/>
                      <a:pt x="5641" y="-201"/>
                      <a:pt x="6849" y="604"/>
                    </a:cubicBezTo>
                    <a:lnTo>
                      <a:pt x="37067" y="20346"/>
                    </a:lnTo>
                    <a:cubicBezTo>
                      <a:pt x="39082" y="21555"/>
                      <a:pt x="39484" y="24376"/>
                      <a:pt x="38276" y="26390"/>
                    </a:cubicBezTo>
                    <a:cubicBezTo>
                      <a:pt x="37067" y="28405"/>
                      <a:pt x="34247" y="28807"/>
                      <a:pt x="32232" y="27599"/>
                    </a:cubicBezTo>
                    <a:lnTo>
                      <a:pt x="8864" y="12288"/>
                    </a:lnTo>
                    <a:lnTo>
                      <a:pt x="8864" y="163377"/>
                    </a:lnTo>
                    <a:lnTo>
                      <a:pt x="247785" y="163377"/>
                    </a:lnTo>
                    <a:lnTo>
                      <a:pt x="247785" y="12691"/>
                    </a:lnTo>
                    <a:lnTo>
                      <a:pt x="223610" y="28405"/>
                    </a:lnTo>
                    <a:cubicBezTo>
                      <a:pt x="221596" y="29613"/>
                      <a:pt x="218776" y="29210"/>
                      <a:pt x="217567" y="27196"/>
                    </a:cubicBezTo>
                    <a:cubicBezTo>
                      <a:pt x="216358" y="25181"/>
                      <a:pt x="216761" y="22361"/>
                      <a:pt x="218776" y="21152"/>
                    </a:cubicBezTo>
                    <a:lnTo>
                      <a:pt x="249799" y="1007"/>
                    </a:lnTo>
                    <a:cubicBezTo>
                      <a:pt x="251008" y="201"/>
                      <a:pt x="253022" y="201"/>
                      <a:pt x="254231" y="1007"/>
                    </a:cubicBezTo>
                    <a:cubicBezTo>
                      <a:pt x="255843" y="1813"/>
                      <a:pt x="256648" y="3425"/>
                      <a:pt x="256648" y="5036"/>
                    </a:cubicBezTo>
                    <a:lnTo>
                      <a:pt x="256648" y="168211"/>
                    </a:lnTo>
                    <a:cubicBezTo>
                      <a:pt x="256246" y="170226"/>
                      <a:pt x="254634" y="172240"/>
                      <a:pt x="252217" y="172240"/>
                    </a:cubicBezTo>
                    <a:close/>
                  </a:path>
                </a:pathLst>
              </a:custGeom>
              <a:grpFill/>
              <a:ln w="4028" cap="flat">
                <a:noFill/>
                <a:prstDash val="solid"/>
                <a:miter/>
              </a:ln>
            </p:spPr>
            <p:txBody>
              <a:bodyPr rtlCol="0" anchor="ctr"/>
              <a:lstStyle/>
              <a:p>
                <a:endParaRPr lang="en-US"/>
              </a:p>
            </p:txBody>
          </p:sp>
          <p:sp>
            <p:nvSpPr>
              <p:cNvPr id="373" name="Freeform 191">
                <a:extLst>
                  <a:ext uri="{FF2B5EF4-FFF2-40B4-BE49-F238E27FC236}">
                    <a16:creationId xmlns:a16="http://schemas.microsoft.com/office/drawing/2014/main" id="{145A152F-487D-75C3-CBBA-01ABE280C279}"/>
                  </a:ext>
                </a:extLst>
              </p:cNvPr>
              <p:cNvSpPr/>
              <p:nvPr/>
            </p:nvSpPr>
            <p:spPr>
              <a:xfrm>
                <a:off x="6472525" y="3789180"/>
                <a:ext cx="42707" cy="62063"/>
              </a:xfrm>
              <a:custGeom>
                <a:avLst/>
                <a:gdLst>
                  <a:gd name="connsiteX0" fmla="*/ 4432 w 42707"/>
                  <a:gd name="connsiteY0" fmla="*/ 62063 h 62063"/>
                  <a:gd name="connsiteX1" fmla="*/ 2418 w 42707"/>
                  <a:gd name="connsiteY1" fmla="*/ 61660 h 62063"/>
                  <a:gd name="connsiteX2" fmla="*/ 0 w 42707"/>
                  <a:gd name="connsiteY2" fmla="*/ 57631 h 62063"/>
                  <a:gd name="connsiteX3" fmla="*/ 0 w 42707"/>
                  <a:gd name="connsiteY3" fmla="*/ 4448 h 62063"/>
                  <a:gd name="connsiteX4" fmla="*/ 2418 w 42707"/>
                  <a:gd name="connsiteY4" fmla="*/ 419 h 62063"/>
                  <a:gd name="connsiteX5" fmla="*/ 7252 w 42707"/>
                  <a:gd name="connsiteY5" fmla="*/ 1225 h 62063"/>
                  <a:gd name="connsiteX6" fmla="*/ 41096 w 42707"/>
                  <a:gd name="connsiteY6" fmla="*/ 32248 h 62063"/>
                  <a:gd name="connsiteX7" fmla="*/ 42708 w 42707"/>
                  <a:gd name="connsiteY7" fmla="*/ 35875 h 62063"/>
                  <a:gd name="connsiteX8" fmla="*/ 40693 w 42707"/>
                  <a:gd name="connsiteY8" fmla="*/ 39098 h 62063"/>
                  <a:gd name="connsiteX9" fmla="*/ 6849 w 42707"/>
                  <a:gd name="connsiteY9" fmla="*/ 61660 h 62063"/>
                  <a:gd name="connsiteX10" fmla="*/ 4432 w 42707"/>
                  <a:gd name="connsiteY10" fmla="*/ 62063 h 62063"/>
                  <a:gd name="connsiteX11" fmla="*/ 8864 w 42707"/>
                  <a:gd name="connsiteY11" fmla="*/ 14521 h 62063"/>
                  <a:gd name="connsiteX12" fmla="*/ 8864 w 42707"/>
                  <a:gd name="connsiteY12" fmla="*/ 49976 h 62063"/>
                  <a:gd name="connsiteX13" fmla="*/ 31426 w 42707"/>
                  <a:gd name="connsiteY13" fmla="*/ 35069 h 62063"/>
                  <a:gd name="connsiteX14" fmla="*/ 8864 w 42707"/>
                  <a:gd name="connsiteY14" fmla="*/ 14521 h 62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07" h="62063">
                    <a:moveTo>
                      <a:pt x="4432" y="62063"/>
                    </a:moveTo>
                    <a:cubicBezTo>
                      <a:pt x="3626" y="62063"/>
                      <a:pt x="2820" y="62063"/>
                      <a:pt x="2418" y="61660"/>
                    </a:cubicBezTo>
                    <a:cubicBezTo>
                      <a:pt x="806" y="60855"/>
                      <a:pt x="0" y="59243"/>
                      <a:pt x="0" y="57631"/>
                    </a:cubicBezTo>
                    <a:lnTo>
                      <a:pt x="0" y="4448"/>
                    </a:lnTo>
                    <a:cubicBezTo>
                      <a:pt x="0" y="2837"/>
                      <a:pt x="1209" y="1225"/>
                      <a:pt x="2418" y="419"/>
                    </a:cubicBezTo>
                    <a:cubicBezTo>
                      <a:pt x="4029" y="-387"/>
                      <a:pt x="6044" y="16"/>
                      <a:pt x="7252" y="1225"/>
                    </a:cubicBezTo>
                    <a:lnTo>
                      <a:pt x="41096" y="32248"/>
                    </a:lnTo>
                    <a:cubicBezTo>
                      <a:pt x="41902" y="33054"/>
                      <a:pt x="42708" y="34666"/>
                      <a:pt x="42708" y="35875"/>
                    </a:cubicBezTo>
                    <a:cubicBezTo>
                      <a:pt x="42708" y="37083"/>
                      <a:pt x="41902" y="38292"/>
                      <a:pt x="40693" y="39098"/>
                    </a:cubicBezTo>
                    <a:lnTo>
                      <a:pt x="6849" y="61660"/>
                    </a:lnTo>
                    <a:cubicBezTo>
                      <a:pt x="6044" y="62063"/>
                      <a:pt x="5238" y="62063"/>
                      <a:pt x="4432" y="62063"/>
                    </a:cubicBezTo>
                    <a:close/>
                    <a:moveTo>
                      <a:pt x="8864" y="14521"/>
                    </a:moveTo>
                    <a:lnTo>
                      <a:pt x="8864" y="49976"/>
                    </a:lnTo>
                    <a:lnTo>
                      <a:pt x="31426" y="35069"/>
                    </a:lnTo>
                    <a:lnTo>
                      <a:pt x="8864" y="14521"/>
                    </a:lnTo>
                    <a:close/>
                  </a:path>
                </a:pathLst>
              </a:custGeom>
              <a:grpFill/>
              <a:ln w="4028" cap="flat">
                <a:noFill/>
                <a:prstDash val="solid"/>
                <a:miter/>
              </a:ln>
            </p:spPr>
            <p:txBody>
              <a:bodyPr rtlCol="0" anchor="ctr"/>
              <a:lstStyle/>
              <a:p>
                <a:endParaRPr lang="en-US"/>
              </a:p>
            </p:txBody>
          </p:sp>
          <p:sp>
            <p:nvSpPr>
              <p:cNvPr id="374" name="Freeform 192">
                <a:extLst>
                  <a:ext uri="{FF2B5EF4-FFF2-40B4-BE49-F238E27FC236}">
                    <a16:creationId xmlns:a16="http://schemas.microsoft.com/office/drawing/2014/main" id="{22B57EEA-5F29-CE72-3F6C-783C151DBC62}"/>
                  </a:ext>
                </a:extLst>
              </p:cNvPr>
              <p:cNvSpPr/>
              <p:nvPr/>
            </p:nvSpPr>
            <p:spPr>
              <a:xfrm>
                <a:off x="6357776" y="3707407"/>
                <a:ext cx="58896" cy="31829"/>
              </a:xfrm>
              <a:custGeom>
                <a:avLst/>
                <a:gdLst>
                  <a:gd name="connsiteX0" fmla="*/ 54313 w 58896"/>
                  <a:gd name="connsiteY0" fmla="*/ 31829 h 31829"/>
                  <a:gd name="connsiteX1" fmla="*/ 4353 w 58896"/>
                  <a:gd name="connsiteY1" fmla="*/ 31829 h 31829"/>
                  <a:gd name="connsiteX2" fmla="*/ 324 w 58896"/>
                  <a:gd name="connsiteY2" fmla="*/ 29009 h 31829"/>
                  <a:gd name="connsiteX3" fmla="*/ 1533 w 58896"/>
                  <a:gd name="connsiteY3" fmla="*/ 24174 h 31829"/>
                  <a:gd name="connsiteX4" fmla="*/ 26513 w 58896"/>
                  <a:gd name="connsiteY4" fmla="*/ 1209 h 31829"/>
                  <a:gd name="connsiteX5" fmla="*/ 32557 w 58896"/>
                  <a:gd name="connsiteY5" fmla="*/ 1209 h 31829"/>
                  <a:gd name="connsiteX6" fmla="*/ 57536 w 58896"/>
                  <a:gd name="connsiteY6" fmla="*/ 24174 h 31829"/>
                  <a:gd name="connsiteX7" fmla="*/ 58745 w 58896"/>
                  <a:gd name="connsiteY7" fmla="*/ 29009 h 31829"/>
                  <a:gd name="connsiteX8" fmla="*/ 54313 w 58896"/>
                  <a:gd name="connsiteY8" fmla="*/ 31829 h 31829"/>
                  <a:gd name="connsiteX9" fmla="*/ 15635 w 58896"/>
                  <a:gd name="connsiteY9" fmla="*/ 22965 h 31829"/>
                  <a:gd name="connsiteX10" fmla="*/ 43032 w 58896"/>
                  <a:gd name="connsiteY10" fmla="*/ 22965 h 31829"/>
                  <a:gd name="connsiteX11" fmla="*/ 29333 w 58896"/>
                  <a:gd name="connsiteY11" fmla="*/ 10475 h 31829"/>
                  <a:gd name="connsiteX12" fmla="*/ 15635 w 58896"/>
                  <a:gd name="connsiteY12" fmla="*/ 22965 h 3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896" h="31829">
                    <a:moveTo>
                      <a:pt x="54313" y="31829"/>
                    </a:moveTo>
                    <a:lnTo>
                      <a:pt x="4353" y="31829"/>
                    </a:lnTo>
                    <a:cubicBezTo>
                      <a:pt x="2742" y="31829"/>
                      <a:pt x="727" y="30620"/>
                      <a:pt x="324" y="29009"/>
                    </a:cubicBezTo>
                    <a:cubicBezTo>
                      <a:pt x="-481" y="27397"/>
                      <a:pt x="324" y="25383"/>
                      <a:pt x="1533" y="24174"/>
                    </a:cubicBezTo>
                    <a:lnTo>
                      <a:pt x="26513" y="1209"/>
                    </a:lnTo>
                    <a:cubicBezTo>
                      <a:pt x="28124" y="-403"/>
                      <a:pt x="30542" y="-403"/>
                      <a:pt x="32557" y="1209"/>
                    </a:cubicBezTo>
                    <a:lnTo>
                      <a:pt x="57536" y="24174"/>
                    </a:lnTo>
                    <a:cubicBezTo>
                      <a:pt x="58745" y="25383"/>
                      <a:pt x="59148" y="27397"/>
                      <a:pt x="58745" y="29009"/>
                    </a:cubicBezTo>
                    <a:cubicBezTo>
                      <a:pt x="57939" y="30620"/>
                      <a:pt x="56328" y="31829"/>
                      <a:pt x="54313" y="31829"/>
                    </a:cubicBezTo>
                    <a:close/>
                    <a:moveTo>
                      <a:pt x="15635" y="22965"/>
                    </a:moveTo>
                    <a:lnTo>
                      <a:pt x="43032" y="22965"/>
                    </a:lnTo>
                    <a:lnTo>
                      <a:pt x="29333" y="10475"/>
                    </a:lnTo>
                    <a:lnTo>
                      <a:pt x="15635" y="22965"/>
                    </a:lnTo>
                    <a:close/>
                  </a:path>
                </a:pathLst>
              </a:custGeom>
              <a:grpFill/>
              <a:ln w="4028" cap="flat">
                <a:noFill/>
                <a:prstDash val="solid"/>
                <a:miter/>
              </a:ln>
            </p:spPr>
            <p:txBody>
              <a:bodyPr rtlCol="0" anchor="ctr"/>
              <a:lstStyle/>
              <a:p>
                <a:endParaRPr lang="en-US"/>
              </a:p>
            </p:txBody>
          </p:sp>
          <p:sp>
            <p:nvSpPr>
              <p:cNvPr id="375" name="Freeform 193">
                <a:extLst>
                  <a:ext uri="{FF2B5EF4-FFF2-40B4-BE49-F238E27FC236}">
                    <a16:creationId xmlns:a16="http://schemas.microsoft.com/office/drawing/2014/main" id="{66AC026C-A5AD-0FD4-9640-CD88E56F5DAA}"/>
                  </a:ext>
                </a:extLst>
              </p:cNvPr>
              <p:cNvSpPr/>
              <p:nvPr/>
            </p:nvSpPr>
            <p:spPr>
              <a:xfrm>
                <a:off x="6292831" y="3730373"/>
                <a:ext cx="188557" cy="119661"/>
              </a:xfrm>
              <a:custGeom>
                <a:avLst/>
                <a:gdLst>
                  <a:gd name="connsiteX0" fmla="*/ 4432 w 188557"/>
                  <a:gd name="connsiteY0" fmla="*/ 119662 h 119661"/>
                  <a:gd name="connsiteX1" fmla="*/ 0 w 188557"/>
                  <a:gd name="connsiteY1" fmla="*/ 115230 h 119661"/>
                  <a:gd name="connsiteX2" fmla="*/ 0 w 188557"/>
                  <a:gd name="connsiteY2" fmla="*/ 4432 h 119661"/>
                  <a:gd name="connsiteX3" fmla="*/ 4432 w 188557"/>
                  <a:gd name="connsiteY3" fmla="*/ 0 h 119661"/>
                  <a:gd name="connsiteX4" fmla="*/ 184126 w 188557"/>
                  <a:gd name="connsiteY4" fmla="*/ 0 h 119661"/>
                  <a:gd name="connsiteX5" fmla="*/ 188558 w 188557"/>
                  <a:gd name="connsiteY5" fmla="*/ 4432 h 119661"/>
                  <a:gd name="connsiteX6" fmla="*/ 188558 w 188557"/>
                  <a:gd name="connsiteY6" fmla="*/ 114827 h 119661"/>
                  <a:gd name="connsiteX7" fmla="*/ 184126 w 188557"/>
                  <a:gd name="connsiteY7" fmla="*/ 119259 h 119661"/>
                  <a:gd name="connsiteX8" fmla="*/ 179694 w 188557"/>
                  <a:gd name="connsiteY8" fmla="*/ 114827 h 119661"/>
                  <a:gd name="connsiteX9" fmla="*/ 179694 w 188557"/>
                  <a:gd name="connsiteY9" fmla="*/ 8864 h 119661"/>
                  <a:gd name="connsiteX10" fmla="*/ 8864 w 188557"/>
                  <a:gd name="connsiteY10" fmla="*/ 8864 h 119661"/>
                  <a:gd name="connsiteX11" fmla="*/ 8864 w 188557"/>
                  <a:gd name="connsiteY11" fmla="*/ 115230 h 119661"/>
                  <a:gd name="connsiteX12" fmla="*/ 4432 w 188557"/>
                  <a:gd name="connsiteY12" fmla="*/ 119662 h 11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8557" h="119661">
                    <a:moveTo>
                      <a:pt x="4432" y="119662"/>
                    </a:moveTo>
                    <a:cubicBezTo>
                      <a:pt x="2015" y="119662"/>
                      <a:pt x="0" y="117647"/>
                      <a:pt x="0" y="115230"/>
                    </a:cubicBezTo>
                    <a:lnTo>
                      <a:pt x="0" y="4432"/>
                    </a:lnTo>
                    <a:cubicBezTo>
                      <a:pt x="0" y="2015"/>
                      <a:pt x="2015" y="0"/>
                      <a:pt x="4432" y="0"/>
                    </a:cubicBezTo>
                    <a:lnTo>
                      <a:pt x="184126" y="0"/>
                    </a:lnTo>
                    <a:cubicBezTo>
                      <a:pt x="186543" y="0"/>
                      <a:pt x="188558" y="2015"/>
                      <a:pt x="188558" y="4432"/>
                    </a:cubicBezTo>
                    <a:lnTo>
                      <a:pt x="188558" y="114827"/>
                    </a:lnTo>
                    <a:cubicBezTo>
                      <a:pt x="188558" y="117244"/>
                      <a:pt x="186543" y="119259"/>
                      <a:pt x="184126" y="119259"/>
                    </a:cubicBezTo>
                    <a:cubicBezTo>
                      <a:pt x="181709" y="119259"/>
                      <a:pt x="179694" y="117244"/>
                      <a:pt x="179694" y="114827"/>
                    </a:cubicBezTo>
                    <a:lnTo>
                      <a:pt x="179694" y="8864"/>
                    </a:lnTo>
                    <a:lnTo>
                      <a:pt x="8864" y="8864"/>
                    </a:lnTo>
                    <a:lnTo>
                      <a:pt x="8864" y="115230"/>
                    </a:lnTo>
                    <a:cubicBezTo>
                      <a:pt x="8864" y="117647"/>
                      <a:pt x="6849" y="119662"/>
                      <a:pt x="4432" y="119662"/>
                    </a:cubicBezTo>
                    <a:close/>
                  </a:path>
                </a:pathLst>
              </a:custGeom>
              <a:grpFill/>
              <a:ln w="4028" cap="flat">
                <a:noFill/>
                <a:prstDash val="solid"/>
                <a:miter/>
              </a:ln>
            </p:spPr>
            <p:txBody>
              <a:bodyPr rtlCol="0" anchor="ctr"/>
              <a:lstStyle/>
              <a:p>
                <a:endParaRPr lang="en-US"/>
              </a:p>
            </p:txBody>
          </p:sp>
          <p:sp>
            <p:nvSpPr>
              <p:cNvPr id="376" name="Freeform 194">
                <a:extLst>
                  <a:ext uri="{FF2B5EF4-FFF2-40B4-BE49-F238E27FC236}">
                    <a16:creationId xmlns:a16="http://schemas.microsoft.com/office/drawing/2014/main" id="{1811B8D7-D079-0791-2F76-26B9B769EB39}"/>
                  </a:ext>
                </a:extLst>
              </p:cNvPr>
              <p:cNvSpPr/>
              <p:nvPr/>
            </p:nvSpPr>
            <p:spPr>
              <a:xfrm>
                <a:off x="6259113" y="3820749"/>
                <a:ext cx="256032" cy="171510"/>
              </a:xfrm>
              <a:custGeom>
                <a:avLst/>
                <a:gdLst>
                  <a:gd name="connsiteX0" fmla="*/ 252091 w 256032"/>
                  <a:gd name="connsiteY0" fmla="*/ 171510 h 171510"/>
                  <a:gd name="connsiteX1" fmla="*/ 4306 w 256032"/>
                  <a:gd name="connsiteY1" fmla="*/ 171510 h 171510"/>
                  <a:gd name="connsiteX2" fmla="*/ 277 w 256032"/>
                  <a:gd name="connsiteY2" fmla="*/ 168287 h 171510"/>
                  <a:gd name="connsiteX3" fmla="*/ 1889 w 256032"/>
                  <a:gd name="connsiteY3" fmla="*/ 163452 h 171510"/>
                  <a:gd name="connsiteX4" fmla="*/ 120342 w 256032"/>
                  <a:gd name="connsiteY4" fmla="*/ 85692 h 171510"/>
                  <a:gd name="connsiteX5" fmla="*/ 1889 w 256032"/>
                  <a:gd name="connsiteY5" fmla="*/ 7932 h 171510"/>
                  <a:gd name="connsiteX6" fmla="*/ 680 w 256032"/>
                  <a:gd name="connsiteY6" fmla="*/ 1889 h 171510"/>
                  <a:gd name="connsiteX7" fmla="*/ 6723 w 256032"/>
                  <a:gd name="connsiteY7" fmla="*/ 680 h 171510"/>
                  <a:gd name="connsiteX8" fmla="*/ 127997 w 256032"/>
                  <a:gd name="connsiteY8" fmla="*/ 80454 h 171510"/>
                  <a:gd name="connsiteX9" fmla="*/ 249270 w 256032"/>
                  <a:gd name="connsiteY9" fmla="*/ 680 h 171510"/>
                  <a:gd name="connsiteX10" fmla="*/ 255314 w 256032"/>
                  <a:gd name="connsiteY10" fmla="*/ 1889 h 171510"/>
                  <a:gd name="connsiteX11" fmla="*/ 254105 w 256032"/>
                  <a:gd name="connsiteY11" fmla="*/ 7932 h 171510"/>
                  <a:gd name="connsiteX12" fmla="*/ 135652 w 256032"/>
                  <a:gd name="connsiteY12" fmla="*/ 85692 h 171510"/>
                  <a:gd name="connsiteX13" fmla="*/ 254105 w 256032"/>
                  <a:gd name="connsiteY13" fmla="*/ 163452 h 171510"/>
                  <a:gd name="connsiteX14" fmla="*/ 255717 w 256032"/>
                  <a:gd name="connsiteY14" fmla="*/ 168287 h 171510"/>
                  <a:gd name="connsiteX15" fmla="*/ 252091 w 256032"/>
                  <a:gd name="connsiteY15" fmla="*/ 171510 h 171510"/>
                  <a:gd name="connsiteX16" fmla="*/ 18810 w 256032"/>
                  <a:gd name="connsiteY16" fmla="*/ 162646 h 171510"/>
                  <a:gd name="connsiteX17" fmla="*/ 237183 w 256032"/>
                  <a:gd name="connsiteY17" fmla="*/ 162646 h 171510"/>
                  <a:gd name="connsiteX18" fmla="*/ 127997 w 256032"/>
                  <a:gd name="connsiteY18" fmla="*/ 90930 h 171510"/>
                  <a:gd name="connsiteX19" fmla="*/ 18810 w 256032"/>
                  <a:gd name="connsiteY19" fmla="*/ 162646 h 17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6032" h="171510">
                    <a:moveTo>
                      <a:pt x="252091" y="171510"/>
                    </a:moveTo>
                    <a:lnTo>
                      <a:pt x="4306" y="171510"/>
                    </a:lnTo>
                    <a:cubicBezTo>
                      <a:pt x="2292" y="171510"/>
                      <a:pt x="680" y="170302"/>
                      <a:pt x="277" y="168287"/>
                    </a:cubicBezTo>
                    <a:cubicBezTo>
                      <a:pt x="-126" y="166273"/>
                      <a:pt x="277" y="164258"/>
                      <a:pt x="1889" y="163452"/>
                    </a:cubicBezTo>
                    <a:lnTo>
                      <a:pt x="120342" y="85692"/>
                    </a:lnTo>
                    <a:lnTo>
                      <a:pt x="1889" y="7932"/>
                    </a:lnTo>
                    <a:cubicBezTo>
                      <a:pt x="-126" y="6723"/>
                      <a:pt x="-529" y="3903"/>
                      <a:pt x="680" y="1889"/>
                    </a:cubicBezTo>
                    <a:cubicBezTo>
                      <a:pt x="1889" y="-126"/>
                      <a:pt x="4709" y="-529"/>
                      <a:pt x="6723" y="680"/>
                    </a:cubicBezTo>
                    <a:lnTo>
                      <a:pt x="127997" y="80454"/>
                    </a:lnTo>
                    <a:lnTo>
                      <a:pt x="249270" y="680"/>
                    </a:lnTo>
                    <a:cubicBezTo>
                      <a:pt x="251285" y="-529"/>
                      <a:pt x="254105" y="-126"/>
                      <a:pt x="255314" y="1889"/>
                    </a:cubicBezTo>
                    <a:cubicBezTo>
                      <a:pt x="256522" y="3903"/>
                      <a:pt x="256120" y="6723"/>
                      <a:pt x="254105" y="7932"/>
                    </a:cubicBezTo>
                    <a:lnTo>
                      <a:pt x="135652" y="85692"/>
                    </a:lnTo>
                    <a:lnTo>
                      <a:pt x="254105" y="163452"/>
                    </a:lnTo>
                    <a:cubicBezTo>
                      <a:pt x="255717" y="164661"/>
                      <a:pt x="256522" y="166675"/>
                      <a:pt x="255717" y="168287"/>
                    </a:cubicBezTo>
                    <a:cubicBezTo>
                      <a:pt x="255717" y="169899"/>
                      <a:pt x="253702" y="171510"/>
                      <a:pt x="252091" y="171510"/>
                    </a:cubicBezTo>
                    <a:close/>
                    <a:moveTo>
                      <a:pt x="18810" y="162646"/>
                    </a:moveTo>
                    <a:lnTo>
                      <a:pt x="237183" y="162646"/>
                    </a:lnTo>
                    <a:lnTo>
                      <a:pt x="127997" y="90930"/>
                    </a:lnTo>
                    <a:lnTo>
                      <a:pt x="18810" y="162646"/>
                    </a:lnTo>
                    <a:close/>
                  </a:path>
                </a:pathLst>
              </a:custGeom>
              <a:grpFill/>
              <a:ln w="4028" cap="flat">
                <a:noFill/>
                <a:prstDash val="solid"/>
                <a:miter/>
              </a:ln>
            </p:spPr>
            <p:txBody>
              <a:bodyPr rtlCol="0" anchor="ctr"/>
              <a:lstStyle/>
              <a:p>
                <a:endParaRPr lang="en-US"/>
              </a:p>
            </p:txBody>
          </p:sp>
        </p:grpSp>
        <p:grpSp>
          <p:nvGrpSpPr>
            <p:cNvPr id="367" name="Content Placeholder 5">
              <a:extLst>
                <a:ext uri="{FF2B5EF4-FFF2-40B4-BE49-F238E27FC236}">
                  <a16:creationId xmlns:a16="http://schemas.microsoft.com/office/drawing/2014/main" id="{71275859-A1DA-2A88-EA6A-780D40CDFB92}"/>
                </a:ext>
              </a:extLst>
            </p:cNvPr>
            <p:cNvGrpSpPr/>
            <p:nvPr/>
          </p:nvGrpSpPr>
          <p:grpSpPr>
            <a:xfrm>
              <a:off x="6327480" y="3767843"/>
              <a:ext cx="119661" cy="83400"/>
              <a:chOff x="6327480" y="3767843"/>
              <a:chExt cx="119661" cy="83400"/>
            </a:xfrm>
            <a:grpFill/>
          </p:grpSpPr>
          <p:sp>
            <p:nvSpPr>
              <p:cNvPr id="368" name="Freeform 186">
                <a:extLst>
                  <a:ext uri="{FF2B5EF4-FFF2-40B4-BE49-F238E27FC236}">
                    <a16:creationId xmlns:a16="http://schemas.microsoft.com/office/drawing/2014/main" id="{0BF79357-89F6-1F85-6533-2F5E9DDEC918}"/>
                  </a:ext>
                </a:extLst>
              </p:cNvPr>
              <p:cNvSpPr/>
              <p:nvPr/>
            </p:nvSpPr>
            <p:spPr>
              <a:xfrm>
                <a:off x="6327480" y="3767843"/>
                <a:ext cx="76954" cy="8863"/>
              </a:xfrm>
              <a:custGeom>
                <a:avLst/>
                <a:gdLst>
                  <a:gd name="connsiteX0" fmla="*/ 72522 w 76954"/>
                  <a:gd name="connsiteY0" fmla="*/ 8864 h 8863"/>
                  <a:gd name="connsiteX1" fmla="*/ 4432 w 76954"/>
                  <a:gd name="connsiteY1" fmla="*/ 8864 h 8863"/>
                  <a:gd name="connsiteX2" fmla="*/ 0 w 76954"/>
                  <a:gd name="connsiteY2" fmla="*/ 4432 h 8863"/>
                  <a:gd name="connsiteX3" fmla="*/ 4432 w 76954"/>
                  <a:gd name="connsiteY3" fmla="*/ 0 h 8863"/>
                  <a:gd name="connsiteX4" fmla="*/ 72522 w 76954"/>
                  <a:gd name="connsiteY4" fmla="*/ 0 h 8863"/>
                  <a:gd name="connsiteX5" fmla="*/ 76954 w 76954"/>
                  <a:gd name="connsiteY5" fmla="*/ 4432 h 8863"/>
                  <a:gd name="connsiteX6" fmla="*/ 72522 w 76954"/>
                  <a:gd name="connsiteY6" fmla="*/ 8864 h 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954" h="8863">
                    <a:moveTo>
                      <a:pt x="72522" y="8864"/>
                    </a:moveTo>
                    <a:lnTo>
                      <a:pt x="4432" y="8864"/>
                    </a:lnTo>
                    <a:cubicBezTo>
                      <a:pt x="2015" y="8864"/>
                      <a:pt x="0" y="6849"/>
                      <a:pt x="0" y="4432"/>
                    </a:cubicBezTo>
                    <a:cubicBezTo>
                      <a:pt x="0" y="2015"/>
                      <a:pt x="2015" y="0"/>
                      <a:pt x="4432" y="0"/>
                    </a:cubicBezTo>
                    <a:lnTo>
                      <a:pt x="72522" y="0"/>
                    </a:lnTo>
                    <a:cubicBezTo>
                      <a:pt x="74940" y="0"/>
                      <a:pt x="76954" y="2015"/>
                      <a:pt x="76954" y="4432"/>
                    </a:cubicBezTo>
                    <a:cubicBezTo>
                      <a:pt x="76954" y="6849"/>
                      <a:pt x="74940" y="8864"/>
                      <a:pt x="72522" y="8864"/>
                    </a:cubicBezTo>
                    <a:close/>
                  </a:path>
                </a:pathLst>
              </a:custGeom>
              <a:grpFill/>
              <a:ln w="4028" cap="flat">
                <a:noFill/>
                <a:prstDash val="solid"/>
                <a:miter/>
              </a:ln>
            </p:spPr>
            <p:txBody>
              <a:bodyPr rtlCol="0" anchor="ctr"/>
              <a:lstStyle/>
              <a:p>
                <a:endParaRPr lang="en-US"/>
              </a:p>
            </p:txBody>
          </p:sp>
          <p:sp>
            <p:nvSpPr>
              <p:cNvPr id="369" name="Freeform 187">
                <a:extLst>
                  <a:ext uri="{FF2B5EF4-FFF2-40B4-BE49-F238E27FC236}">
                    <a16:creationId xmlns:a16="http://schemas.microsoft.com/office/drawing/2014/main" id="{A5D2A49F-612E-70E9-CF86-0DF05F5888FD}"/>
                  </a:ext>
                </a:extLst>
              </p:cNvPr>
              <p:cNvSpPr/>
              <p:nvPr/>
            </p:nvSpPr>
            <p:spPr>
              <a:xfrm>
                <a:off x="6327480" y="3804910"/>
                <a:ext cx="119661" cy="8863"/>
              </a:xfrm>
              <a:custGeom>
                <a:avLst/>
                <a:gdLst>
                  <a:gd name="connsiteX0" fmla="*/ 115230 w 119661"/>
                  <a:gd name="connsiteY0" fmla="*/ 8864 h 8863"/>
                  <a:gd name="connsiteX1" fmla="*/ 4432 w 119661"/>
                  <a:gd name="connsiteY1" fmla="*/ 8864 h 8863"/>
                  <a:gd name="connsiteX2" fmla="*/ 0 w 119661"/>
                  <a:gd name="connsiteY2" fmla="*/ 4432 h 8863"/>
                  <a:gd name="connsiteX3" fmla="*/ 4432 w 119661"/>
                  <a:gd name="connsiteY3" fmla="*/ 0 h 8863"/>
                  <a:gd name="connsiteX4" fmla="*/ 115230 w 119661"/>
                  <a:gd name="connsiteY4" fmla="*/ 0 h 8863"/>
                  <a:gd name="connsiteX5" fmla="*/ 119662 w 119661"/>
                  <a:gd name="connsiteY5" fmla="*/ 4432 h 8863"/>
                  <a:gd name="connsiteX6" fmla="*/ 115230 w 119661"/>
                  <a:gd name="connsiteY6" fmla="*/ 8864 h 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661" h="8863">
                    <a:moveTo>
                      <a:pt x="115230" y="8864"/>
                    </a:moveTo>
                    <a:lnTo>
                      <a:pt x="4432" y="8864"/>
                    </a:lnTo>
                    <a:cubicBezTo>
                      <a:pt x="2015" y="8864"/>
                      <a:pt x="0" y="6849"/>
                      <a:pt x="0" y="4432"/>
                    </a:cubicBezTo>
                    <a:cubicBezTo>
                      <a:pt x="0" y="2015"/>
                      <a:pt x="2015" y="0"/>
                      <a:pt x="4432" y="0"/>
                    </a:cubicBezTo>
                    <a:lnTo>
                      <a:pt x="115230" y="0"/>
                    </a:lnTo>
                    <a:cubicBezTo>
                      <a:pt x="117647" y="0"/>
                      <a:pt x="119662" y="2015"/>
                      <a:pt x="119662" y="4432"/>
                    </a:cubicBezTo>
                    <a:cubicBezTo>
                      <a:pt x="119662" y="7252"/>
                      <a:pt x="117647" y="8864"/>
                      <a:pt x="115230" y="8864"/>
                    </a:cubicBezTo>
                    <a:close/>
                  </a:path>
                </a:pathLst>
              </a:custGeom>
              <a:grpFill/>
              <a:ln w="4028" cap="flat">
                <a:noFill/>
                <a:prstDash val="solid"/>
                <a:miter/>
              </a:ln>
            </p:spPr>
            <p:txBody>
              <a:bodyPr rtlCol="0" anchor="ctr"/>
              <a:lstStyle/>
              <a:p>
                <a:endParaRPr lang="en-US"/>
              </a:p>
            </p:txBody>
          </p:sp>
          <p:sp>
            <p:nvSpPr>
              <p:cNvPr id="370" name="Freeform 188">
                <a:extLst>
                  <a:ext uri="{FF2B5EF4-FFF2-40B4-BE49-F238E27FC236}">
                    <a16:creationId xmlns:a16="http://schemas.microsoft.com/office/drawing/2014/main" id="{B562999B-D81C-22A6-7F11-ABF921DE364B}"/>
                  </a:ext>
                </a:extLst>
              </p:cNvPr>
              <p:cNvSpPr/>
              <p:nvPr/>
            </p:nvSpPr>
            <p:spPr>
              <a:xfrm>
                <a:off x="6354072" y="3842380"/>
                <a:ext cx="93070" cy="8863"/>
              </a:xfrm>
              <a:custGeom>
                <a:avLst/>
                <a:gdLst>
                  <a:gd name="connsiteX0" fmla="*/ 88638 w 93070"/>
                  <a:gd name="connsiteY0" fmla="*/ 8864 h 8863"/>
                  <a:gd name="connsiteX1" fmla="*/ 4432 w 93070"/>
                  <a:gd name="connsiteY1" fmla="*/ 8864 h 8863"/>
                  <a:gd name="connsiteX2" fmla="*/ 0 w 93070"/>
                  <a:gd name="connsiteY2" fmla="*/ 4432 h 8863"/>
                  <a:gd name="connsiteX3" fmla="*/ 4432 w 93070"/>
                  <a:gd name="connsiteY3" fmla="*/ 0 h 8863"/>
                  <a:gd name="connsiteX4" fmla="*/ 88638 w 93070"/>
                  <a:gd name="connsiteY4" fmla="*/ 0 h 8863"/>
                  <a:gd name="connsiteX5" fmla="*/ 93070 w 93070"/>
                  <a:gd name="connsiteY5" fmla="*/ 4432 h 8863"/>
                  <a:gd name="connsiteX6" fmla="*/ 88638 w 93070"/>
                  <a:gd name="connsiteY6" fmla="*/ 8864 h 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070" h="8863">
                    <a:moveTo>
                      <a:pt x="88638" y="8864"/>
                    </a:moveTo>
                    <a:lnTo>
                      <a:pt x="4432" y="8864"/>
                    </a:lnTo>
                    <a:cubicBezTo>
                      <a:pt x="2015" y="8864"/>
                      <a:pt x="0" y="6849"/>
                      <a:pt x="0" y="4432"/>
                    </a:cubicBezTo>
                    <a:cubicBezTo>
                      <a:pt x="0" y="2015"/>
                      <a:pt x="2015" y="0"/>
                      <a:pt x="4432" y="0"/>
                    </a:cubicBezTo>
                    <a:lnTo>
                      <a:pt x="88638" y="0"/>
                    </a:lnTo>
                    <a:cubicBezTo>
                      <a:pt x="91056" y="0"/>
                      <a:pt x="93070" y="2015"/>
                      <a:pt x="93070" y="4432"/>
                    </a:cubicBezTo>
                    <a:cubicBezTo>
                      <a:pt x="93070" y="7252"/>
                      <a:pt x="91056" y="8864"/>
                      <a:pt x="88638" y="8864"/>
                    </a:cubicBezTo>
                    <a:close/>
                  </a:path>
                </a:pathLst>
              </a:custGeom>
              <a:grpFill/>
              <a:ln w="4028" cap="flat">
                <a:noFill/>
                <a:prstDash val="solid"/>
                <a:miter/>
              </a:ln>
            </p:spPr>
            <p:txBody>
              <a:bodyPr rtlCol="0" anchor="ctr"/>
              <a:lstStyle/>
              <a:p>
                <a:endParaRPr lang="en-US"/>
              </a:p>
            </p:txBody>
          </p:sp>
        </p:grpSp>
      </p:grpSp>
      <p:sp>
        <p:nvSpPr>
          <p:cNvPr id="377" name="Rectangle 376">
            <a:extLst>
              <a:ext uri="{FF2B5EF4-FFF2-40B4-BE49-F238E27FC236}">
                <a16:creationId xmlns:a16="http://schemas.microsoft.com/office/drawing/2014/main" id="{6656B4C5-7290-B333-9A84-50F7C1A57223}"/>
              </a:ext>
            </a:extLst>
          </p:cNvPr>
          <p:cNvSpPr/>
          <p:nvPr/>
        </p:nvSpPr>
        <p:spPr>
          <a:xfrm>
            <a:off x="4793933" y="3862987"/>
            <a:ext cx="2309033" cy="1940172"/>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8" name="Rectangle 377">
            <a:extLst>
              <a:ext uri="{FF2B5EF4-FFF2-40B4-BE49-F238E27FC236}">
                <a16:creationId xmlns:a16="http://schemas.microsoft.com/office/drawing/2014/main" id="{26CD55FB-46B6-956F-3DE8-C5A9CCABF00F}"/>
              </a:ext>
            </a:extLst>
          </p:cNvPr>
          <p:cNvSpPr/>
          <p:nvPr/>
        </p:nvSpPr>
        <p:spPr>
          <a:xfrm>
            <a:off x="2086579" y="3886595"/>
            <a:ext cx="2316923" cy="1924035"/>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9" name="Rectangle 378">
            <a:extLst>
              <a:ext uri="{FF2B5EF4-FFF2-40B4-BE49-F238E27FC236}">
                <a16:creationId xmlns:a16="http://schemas.microsoft.com/office/drawing/2014/main" id="{F7E11F15-A50C-D150-BF95-442036A4BB21}"/>
              </a:ext>
            </a:extLst>
          </p:cNvPr>
          <p:cNvSpPr/>
          <p:nvPr/>
        </p:nvSpPr>
        <p:spPr>
          <a:xfrm>
            <a:off x="7536631" y="3851851"/>
            <a:ext cx="2304829" cy="1940173"/>
          </a:xfrm>
          <a:prstGeom prst="rect">
            <a:avLst/>
          </a:prstGeom>
          <a:solidFill>
            <a:schemeClr val="accent2">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Rectangle 380">
            <a:extLst>
              <a:ext uri="{FF2B5EF4-FFF2-40B4-BE49-F238E27FC236}">
                <a16:creationId xmlns:a16="http://schemas.microsoft.com/office/drawing/2014/main" id="{1B072804-AEB6-3207-CD55-EE55F2C00C51}"/>
              </a:ext>
            </a:extLst>
          </p:cNvPr>
          <p:cNvSpPr/>
          <p:nvPr/>
        </p:nvSpPr>
        <p:spPr>
          <a:xfrm>
            <a:off x="2191973" y="3764857"/>
            <a:ext cx="2327181" cy="193163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2" name="Straight Connector 381">
            <a:extLst>
              <a:ext uri="{FF2B5EF4-FFF2-40B4-BE49-F238E27FC236}">
                <a16:creationId xmlns:a16="http://schemas.microsoft.com/office/drawing/2014/main" id="{64DAEC57-AAC9-2461-6141-787C2D9E28C2}"/>
              </a:ext>
            </a:extLst>
          </p:cNvPr>
          <p:cNvCxnSpPr>
            <a:cxnSpLocks/>
          </p:cNvCxnSpPr>
          <p:nvPr/>
        </p:nvCxnSpPr>
        <p:spPr>
          <a:xfrm flipV="1">
            <a:off x="1718617" y="3574897"/>
            <a:ext cx="0" cy="468396"/>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83" name="Rectangle 382">
            <a:extLst>
              <a:ext uri="{FF2B5EF4-FFF2-40B4-BE49-F238E27FC236}">
                <a16:creationId xmlns:a16="http://schemas.microsoft.com/office/drawing/2014/main" id="{60F3A70E-36E2-8E6B-EBE6-FF0B59723386}"/>
              </a:ext>
            </a:extLst>
          </p:cNvPr>
          <p:cNvSpPr/>
          <p:nvPr/>
        </p:nvSpPr>
        <p:spPr>
          <a:xfrm>
            <a:off x="4909584" y="3768123"/>
            <a:ext cx="2327181" cy="193163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Rectangle 383">
            <a:extLst>
              <a:ext uri="{FF2B5EF4-FFF2-40B4-BE49-F238E27FC236}">
                <a16:creationId xmlns:a16="http://schemas.microsoft.com/office/drawing/2014/main" id="{96A4799D-37CE-74B6-8131-37CB73A50BAF}"/>
              </a:ext>
            </a:extLst>
          </p:cNvPr>
          <p:cNvSpPr/>
          <p:nvPr/>
        </p:nvSpPr>
        <p:spPr>
          <a:xfrm>
            <a:off x="7648079" y="3753461"/>
            <a:ext cx="2327181" cy="1931633"/>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85" name="Straight Connector 384">
            <a:extLst>
              <a:ext uri="{FF2B5EF4-FFF2-40B4-BE49-F238E27FC236}">
                <a16:creationId xmlns:a16="http://schemas.microsoft.com/office/drawing/2014/main" id="{CC8F72CE-0CBE-A16F-7D31-17F2EF88D03C}"/>
              </a:ext>
            </a:extLst>
          </p:cNvPr>
          <p:cNvCxnSpPr>
            <a:cxnSpLocks/>
          </p:cNvCxnSpPr>
          <p:nvPr/>
        </p:nvCxnSpPr>
        <p:spPr>
          <a:xfrm>
            <a:off x="1718617" y="4043293"/>
            <a:ext cx="8556977" cy="0"/>
          </a:xfrm>
          <a:prstGeom prst="line">
            <a:avLst/>
          </a:prstGeom>
          <a:ln w="19050">
            <a:solidFill>
              <a:schemeClr val="accent2"/>
            </a:solidFill>
            <a:prstDash val="sysDot"/>
            <a:tailEnd type="ova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5DFB08A9-1C1A-D447-4CD5-9F9D557210EA}"/>
              </a:ext>
            </a:extLst>
          </p:cNvPr>
          <p:cNvGrpSpPr/>
          <p:nvPr/>
        </p:nvGrpSpPr>
        <p:grpSpPr>
          <a:xfrm>
            <a:off x="2535005" y="5983042"/>
            <a:ext cx="6978136" cy="689494"/>
            <a:chOff x="2535005" y="5983042"/>
            <a:chExt cx="6978136" cy="689494"/>
          </a:xfrm>
        </p:grpSpPr>
        <p:sp>
          <p:nvSpPr>
            <p:cNvPr id="380" name="Rectangle 379">
              <a:extLst>
                <a:ext uri="{FF2B5EF4-FFF2-40B4-BE49-F238E27FC236}">
                  <a16:creationId xmlns:a16="http://schemas.microsoft.com/office/drawing/2014/main" id="{194ABCA2-E263-AD9A-820D-D5D0683F3837}"/>
                </a:ext>
              </a:extLst>
            </p:cNvPr>
            <p:cNvSpPr/>
            <p:nvPr/>
          </p:nvSpPr>
          <p:spPr>
            <a:xfrm>
              <a:off x="2535005" y="5983042"/>
              <a:ext cx="6978136" cy="689494"/>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Rectangle 385">
              <a:extLst>
                <a:ext uri="{FF2B5EF4-FFF2-40B4-BE49-F238E27FC236}">
                  <a16:creationId xmlns:a16="http://schemas.microsoft.com/office/drawing/2014/main" id="{AED6C9D1-F674-7A3A-9AE4-D037E526B853}"/>
                </a:ext>
              </a:extLst>
            </p:cNvPr>
            <p:cNvSpPr/>
            <p:nvPr/>
          </p:nvSpPr>
          <p:spPr>
            <a:xfrm>
              <a:off x="2678859" y="6048250"/>
              <a:ext cx="6682208" cy="5100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4162" algn="ctr"/>
              <a:r>
                <a:rPr lang="en-US" sz="1400">
                  <a:solidFill>
                    <a:schemeClr val="accent5"/>
                  </a:solidFill>
                  <a:latin typeface="Avenir Medium" panose="02000503020000020003" pitchFamily="2" charset="0"/>
                  <a:cs typeface="Calibri" panose="020F0502020204030204" pitchFamily="34" charset="0"/>
                </a:rPr>
                <a:t>To learn more about the grants program, including FAQs and how to apply, visit</a:t>
              </a:r>
            </a:p>
            <a:p>
              <a:pPr indent="-284162" algn="ctr"/>
              <a:r>
                <a:rPr lang="en-US" sz="1400" b="1">
                  <a:solidFill>
                    <a:srgbClr val="1A315D"/>
                  </a:solidFill>
                  <a:latin typeface="Avenir Black" panose="02000503020000020003" pitchFamily="2" charset="0"/>
                  <a:cs typeface="Calibri" panose="020F0502020204030204" pitchFamily="34" charset="0"/>
                  <a:hlinkClick r:id="rId3">
                    <a:extLst>
                      <a:ext uri="{A12FA001-AC4F-418D-AE19-62706E023703}">
                        <ahyp:hlinkClr xmlns:ahyp="http://schemas.microsoft.com/office/drawing/2018/hyperlinkcolor" val="tx"/>
                      </a:ext>
                    </a:extLst>
                  </a:hlinkClick>
                </a:rPr>
                <a:t>https://www.energywerx.org/opportunities/iac-round-2</a:t>
              </a:r>
              <a:endParaRPr lang="en-US" sz="1400" b="1">
                <a:solidFill>
                  <a:srgbClr val="1A315D"/>
                </a:solidFill>
                <a:latin typeface="Avenir Black" panose="02000503020000020003" pitchFamily="2" charset="0"/>
                <a:cs typeface="Calibri" panose="020F0502020204030204" pitchFamily="34" charset="0"/>
              </a:endParaRPr>
            </a:p>
            <a:p>
              <a:pPr indent="-284162" algn="ctr"/>
              <a:endParaRPr lang="en-US" sz="1400">
                <a:solidFill>
                  <a:schemeClr val="accent5"/>
                </a:solidFill>
                <a:latin typeface="Avenir Medium" panose="02000503020000020003" pitchFamily="2" charset="0"/>
                <a:cs typeface="Calibri" panose="020F0502020204030204" pitchFamily="34" charset="0"/>
              </a:endParaRPr>
            </a:p>
          </p:txBody>
        </p:sp>
      </p:grpSp>
      <p:sp>
        <p:nvSpPr>
          <p:cNvPr id="387" name="Rectangle 386">
            <a:extLst>
              <a:ext uri="{FF2B5EF4-FFF2-40B4-BE49-F238E27FC236}">
                <a16:creationId xmlns:a16="http://schemas.microsoft.com/office/drawing/2014/main" id="{159AC739-FD7E-B169-DB9D-953537F4A02C}"/>
              </a:ext>
            </a:extLst>
          </p:cNvPr>
          <p:cNvSpPr/>
          <p:nvPr/>
        </p:nvSpPr>
        <p:spPr>
          <a:xfrm>
            <a:off x="5012093" y="4356488"/>
            <a:ext cx="2099410" cy="120621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4162"/>
            <a:r>
              <a:rPr lang="en-US" sz="1400">
                <a:solidFill>
                  <a:schemeClr val="accent3"/>
                </a:solidFill>
                <a:latin typeface="Avenir Medium" panose="02000503020000020003" pitchFamily="2" charset="0"/>
                <a:cs typeface="Calibri" panose="020F0502020204030204" pitchFamily="34" charset="0"/>
              </a:rPr>
              <a:t>Get Selected </a:t>
            </a:r>
          </a:p>
          <a:p>
            <a:pPr indent="-284162"/>
            <a:r>
              <a:rPr lang="en-US" sz="1400">
                <a:solidFill>
                  <a:schemeClr val="accent3"/>
                </a:solidFill>
                <a:latin typeface="Avenir Medium" panose="02000503020000020003" pitchFamily="2" charset="0"/>
                <a:cs typeface="Calibri" panose="020F0502020204030204" pitchFamily="34" charset="0"/>
              </a:rPr>
              <a:t>for an Award</a:t>
            </a:r>
            <a:br>
              <a:rPr lang="en-US" sz="1400" b="1">
                <a:latin typeface="Avenir Black" panose="02000503020000020003" pitchFamily="2" charset="0"/>
                <a:cs typeface="Calibri" panose="020F0502020204030204" pitchFamily="34" charset="0"/>
              </a:rPr>
            </a:br>
            <a:r>
              <a:rPr lang="en-US" sz="1000">
                <a:solidFill>
                  <a:schemeClr val="bg1"/>
                </a:solidFill>
                <a:latin typeface="Calibri" panose="020F0502020204030204" pitchFamily="34" charset="0"/>
                <a:cs typeface="Calibri" panose="020F0502020204030204" pitchFamily="34" charset="0"/>
              </a:rPr>
              <a:t>DOE selects manufacturer’s application and works with manufacturer to finalize award size and sign award documents</a:t>
            </a:r>
          </a:p>
          <a:p>
            <a:pPr algn="ctr"/>
            <a:endParaRPr lang="en-US" sz="1400">
              <a:latin typeface="Calibri" panose="020F0502020204030204" pitchFamily="34" charset="0"/>
              <a:cs typeface="Calibri" panose="020F0502020204030204" pitchFamily="34" charset="0"/>
            </a:endParaRPr>
          </a:p>
        </p:txBody>
      </p:sp>
      <p:sp>
        <p:nvSpPr>
          <p:cNvPr id="388" name="Oval 387">
            <a:extLst>
              <a:ext uri="{FF2B5EF4-FFF2-40B4-BE49-F238E27FC236}">
                <a16:creationId xmlns:a16="http://schemas.microsoft.com/office/drawing/2014/main" id="{656882D8-E4EB-476D-E914-74E442ACE315}"/>
              </a:ext>
            </a:extLst>
          </p:cNvPr>
          <p:cNvSpPr/>
          <p:nvPr/>
        </p:nvSpPr>
        <p:spPr>
          <a:xfrm>
            <a:off x="3131459" y="3834041"/>
            <a:ext cx="448209" cy="44820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389" name="TextBox 388">
            <a:extLst>
              <a:ext uri="{FF2B5EF4-FFF2-40B4-BE49-F238E27FC236}">
                <a16:creationId xmlns:a16="http://schemas.microsoft.com/office/drawing/2014/main" id="{F78D0888-3544-B6A8-FF0F-B66C31A5B98E}"/>
              </a:ext>
            </a:extLst>
          </p:cNvPr>
          <p:cNvSpPr txBox="1"/>
          <p:nvPr/>
        </p:nvSpPr>
        <p:spPr>
          <a:xfrm>
            <a:off x="3204661" y="3882906"/>
            <a:ext cx="301805" cy="369332"/>
          </a:xfrm>
          <a:prstGeom prst="rect">
            <a:avLst/>
          </a:prstGeom>
          <a:noFill/>
        </p:spPr>
        <p:txBody>
          <a:bodyPr wrap="square" rtlCol="0">
            <a:spAutoFit/>
          </a:bodyPr>
          <a:lstStyle/>
          <a:p>
            <a:pPr algn="ctr"/>
            <a:r>
              <a:rPr lang="en-US" b="1">
                <a:solidFill>
                  <a:schemeClr val="bg1"/>
                </a:solidFill>
                <a:latin typeface="Avenir Black" panose="02000503020000020003" pitchFamily="2" charset="0"/>
              </a:rPr>
              <a:t>3</a:t>
            </a:r>
          </a:p>
        </p:txBody>
      </p:sp>
      <p:sp>
        <p:nvSpPr>
          <p:cNvPr id="390" name="Rectangle 389">
            <a:extLst>
              <a:ext uri="{FF2B5EF4-FFF2-40B4-BE49-F238E27FC236}">
                <a16:creationId xmlns:a16="http://schemas.microsoft.com/office/drawing/2014/main" id="{FCF24A4E-8C42-66DE-EA6A-775462B7BA8B}"/>
              </a:ext>
            </a:extLst>
          </p:cNvPr>
          <p:cNvSpPr/>
          <p:nvPr/>
        </p:nvSpPr>
        <p:spPr>
          <a:xfrm>
            <a:off x="2305021" y="4373387"/>
            <a:ext cx="1960971" cy="11889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4162"/>
            <a:r>
              <a:rPr lang="en-US" sz="1400">
                <a:solidFill>
                  <a:schemeClr val="accent3"/>
                </a:solidFill>
                <a:latin typeface="Avenir Medium" panose="02000503020000020003" pitchFamily="2" charset="0"/>
                <a:cs typeface="Calibri" panose="020F0502020204030204" pitchFamily="34" charset="0"/>
              </a:rPr>
              <a:t>Review of </a:t>
            </a:r>
            <a:br>
              <a:rPr lang="en-US" sz="1400">
                <a:solidFill>
                  <a:schemeClr val="accent3"/>
                </a:solidFill>
                <a:latin typeface="Avenir Medium" panose="02000503020000020003" pitchFamily="2" charset="0"/>
                <a:cs typeface="Calibri" panose="020F0502020204030204" pitchFamily="34" charset="0"/>
              </a:rPr>
            </a:br>
            <a:r>
              <a:rPr lang="en-US" sz="1400">
                <a:solidFill>
                  <a:schemeClr val="accent3"/>
                </a:solidFill>
                <a:latin typeface="Avenir Medium" panose="02000503020000020003" pitchFamily="2" charset="0"/>
                <a:cs typeface="Calibri" panose="020F0502020204030204" pitchFamily="34" charset="0"/>
              </a:rPr>
              <a:t>Application</a:t>
            </a:r>
            <a:br>
              <a:rPr lang="en-US" sz="1400">
                <a:solidFill>
                  <a:schemeClr val="accent3"/>
                </a:solidFill>
                <a:latin typeface="Avenir Medium" panose="02000503020000020003" pitchFamily="2" charset="0"/>
                <a:cs typeface="Calibri" panose="020F0502020204030204" pitchFamily="34" charset="0"/>
              </a:rPr>
            </a:br>
            <a:r>
              <a:rPr lang="en-US" sz="1400">
                <a:solidFill>
                  <a:schemeClr val="accent3"/>
                </a:solidFill>
                <a:latin typeface="Avenir Medium" panose="02000503020000020003" pitchFamily="2" charset="0"/>
                <a:cs typeface="Calibri" panose="020F0502020204030204" pitchFamily="34" charset="0"/>
              </a:rPr>
              <a:t>for Grant Funding</a:t>
            </a:r>
          </a:p>
          <a:p>
            <a:pPr indent="-284162"/>
            <a:r>
              <a:rPr lang="en-US" sz="1000">
                <a:solidFill>
                  <a:schemeClr val="bg1"/>
                </a:solidFill>
                <a:latin typeface="Calibri" panose="020F0502020204030204" pitchFamily="34" charset="0"/>
                <a:cs typeface="Calibri" panose="020F0502020204030204" pitchFamily="34" charset="0"/>
              </a:rPr>
              <a:t>DOE reviews application for grant funding</a:t>
            </a:r>
          </a:p>
          <a:p>
            <a:pPr algn="ctr"/>
            <a:endParaRPr lang="en-US" sz="1400">
              <a:latin typeface="Calibri" panose="020F0502020204030204" pitchFamily="34" charset="0"/>
              <a:cs typeface="Calibri" panose="020F0502020204030204" pitchFamily="34" charset="0"/>
            </a:endParaRPr>
          </a:p>
        </p:txBody>
      </p:sp>
      <p:sp>
        <p:nvSpPr>
          <p:cNvPr id="391" name="Oval 390">
            <a:extLst>
              <a:ext uri="{FF2B5EF4-FFF2-40B4-BE49-F238E27FC236}">
                <a16:creationId xmlns:a16="http://schemas.microsoft.com/office/drawing/2014/main" id="{48C9DD54-F8CE-57AD-D6A9-2BD0032BC957}"/>
              </a:ext>
            </a:extLst>
          </p:cNvPr>
          <p:cNvSpPr/>
          <p:nvPr/>
        </p:nvSpPr>
        <p:spPr>
          <a:xfrm>
            <a:off x="5849070" y="3841141"/>
            <a:ext cx="448209" cy="44820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92" name="TextBox 391">
            <a:extLst>
              <a:ext uri="{FF2B5EF4-FFF2-40B4-BE49-F238E27FC236}">
                <a16:creationId xmlns:a16="http://schemas.microsoft.com/office/drawing/2014/main" id="{55AEC2B2-0BAD-233D-A456-557A3BBBDDA0}"/>
              </a:ext>
            </a:extLst>
          </p:cNvPr>
          <p:cNvSpPr txBox="1"/>
          <p:nvPr/>
        </p:nvSpPr>
        <p:spPr>
          <a:xfrm>
            <a:off x="5922272" y="3890006"/>
            <a:ext cx="301805" cy="369332"/>
          </a:xfrm>
          <a:prstGeom prst="rect">
            <a:avLst/>
          </a:prstGeom>
          <a:noFill/>
        </p:spPr>
        <p:txBody>
          <a:bodyPr wrap="square" rtlCol="0">
            <a:spAutoFit/>
          </a:bodyPr>
          <a:lstStyle/>
          <a:p>
            <a:r>
              <a:rPr lang="en-US" b="1">
                <a:solidFill>
                  <a:schemeClr val="bg1"/>
                </a:solidFill>
                <a:latin typeface="Avenir Black" panose="02000503020000020003" pitchFamily="2" charset="0"/>
              </a:rPr>
              <a:t>4</a:t>
            </a:r>
          </a:p>
        </p:txBody>
      </p:sp>
      <p:sp>
        <p:nvSpPr>
          <p:cNvPr id="393" name="Rectangle 392">
            <a:extLst>
              <a:ext uri="{FF2B5EF4-FFF2-40B4-BE49-F238E27FC236}">
                <a16:creationId xmlns:a16="http://schemas.microsoft.com/office/drawing/2014/main" id="{4DD7BC57-BAAE-3863-BCDB-C3D962E20337}"/>
              </a:ext>
            </a:extLst>
          </p:cNvPr>
          <p:cNvSpPr/>
          <p:nvPr/>
        </p:nvSpPr>
        <p:spPr>
          <a:xfrm>
            <a:off x="7740978" y="4315766"/>
            <a:ext cx="2100482" cy="124124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indent="-284162"/>
            <a:r>
              <a:rPr lang="en-US" sz="1400">
                <a:solidFill>
                  <a:schemeClr val="accent3"/>
                </a:solidFill>
                <a:latin typeface="Avenir Medium" panose="02000503020000020003" pitchFamily="2" charset="0"/>
                <a:cs typeface="Calibri" panose="020F0502020204030204" pitchFamily="34" charset="0"/>
              </a:rPr>
              <a:t>Receive </a:t>
            </a:r>
            <a:br>
              <a:rPr lang="en-US" sz="1400">
                <a:solidFill>
                  <a:schemeClr val="accent3"/>
                </a:solidFill>
                <a:latin typeface="Avenir Medium" panose="02000503020000020003" pitchFamily="2" charset="0"/>
                <a:cs typeface="Calibri" panose="020F0502020204030204" pitchFamily="34" charset="0"/>
              </a:rPr>
            </a:br>
            <a:r>
              <a:rPr lang="en-US" sz="1400">
                <a:solidFill>
                  <a:schemeClr val="accent3"/>
                </a:solidFill>
                <a:latin typeface="Avenir Medium" panose="02000503020000020003" pitchFamily="2" charset="0"/>
                <a:cs typeface="Calibri" panose="020F0502020204030204" pitchFamily="34" charset="0"/>
              </a:rPr>
              <a:t>Grant Funding</a:t>
            </a:r>
            <a:br>
              <a:rPr lang="en-US" sz="2000" b="1">
                <a:solidFill>
                  <a:schemeClr val="accent3"/>
                </a:solidFill>
                <a:latin typeface="Avenir Black" panose="02000503020000020003" pitchFamily="2" charset="0"/>
                <a:cs typeface="Calibri" panose="020F0502020204030204" pitchFamily="34" charset="0"/>
              </a:rPr>
            </a:br>
            <a:r>
              <a:rPr lang="en-US" sz="1000">
                <a:solidFill>
                  <a:schemeClr val="bg1"/>
                </a:solidFill>
                <a:latin typeface="Calibri" panose="020F0502020204030204" pitchFamily="34" charset="0"/>
                <a:cs typeface="Calibri" panose="020F0502020204030204" pitchFamily="34" charset="0"/>
              </a:rPr>
              <a:t>Manufacturer begins implementation of projects and submits invoice(s) of incurred costs to DOE to receive grant funding</a:t>
            </a:r>
          </a:p>
          <a:p>
            <a:pPr algn="ctr"/>
            <a:endParaRPr lang="en-US" sz="1400">
              <a:latin typeface="Calibri" panose="020F0502020204030204" pitchFamily="34" charset="0"/>
              <a:cs typeface="Calibri" panose="020F0502020204030204" pitchFamily="34" charset="0"/>
            </a:endParaRPr>
          </a:p>
        </p:txBody>
      </p:sp>
      <p:sp>
        <p:nvSpPr>
          <p:cNvPr id="394" name="Oval 393">
            <a:extLst>
              <a:ext uri="{FF2B5EF4-FFF2-40B4-BE49-F238E27FC236}">
                <a16:creationId xmlns:a16="http://schemas.microsoft.com/office/drawing/2014/main" id="{D6333090-7FF1-2D55-FD57-8D8653AB5BED}"/>
              </a:ext>
            </a:extLst>
          </p:cNvPr>
          <p:cNvSpPr/>
          <p:nvPr/>
        </p:nvSpPr>
        <p:spPr>
          <a:xfrm>
            <a:off x="8587565" y="3834041"/>
            <a:ext cx="448209" cy="44820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95" name="TextBox 394">
            <a:extLst>
              <a:ext uri="{FF2B5EF4-FFF2-40B4-BE49-F238E27FC236}">
                <a16:creationId xmlns:a16="http://schemas.microsoft.com/office/drawing/2014/main" id="{059A5B22-8D79-99AB-D0A8-52428A864221}"/>
              </a:ext>
            </a:extLst>
          </p:cNvPr>
          <p:cNvSpPr txBox="1"/>
          <p:nvPr/>
        </p:nvSpPr>
        <p:spPr>
          <a:xfrm>
            <a:off x="8660767" y="3882906"/>
            <a:ext cx="301805" cy="369332"/>
          </a:xfrm>
          <a:prstGeom prst="rect">
            <a:avLst/>
          </a:prstGeom>
          <a:noFill/>
        </p:spPr>
        <p:txBody>
          <a:bodyPr wrap="square" rtlCol="0">
            <a:spAutoFit/>
          </a:bodyPr>
          <a:lstStyle/>
          <a:p>
            <a:r>
              <a:rPr lang="en-US" b="1">
                <a:solidFill>
                  <a:schemeClr val="bg1"/>
                </a:solidFill>
                <a:latin typeface="Avenir Black" panose="02000503020000020003" pitchFamily="2" charset="0"/>
              </a:rPr>
              <a:t>5</a:t>
            </a:r>
          </a:p>
        </p:txBody>
      </p:sp>
      <p:grpSp>
        <p:nvGrpSpPr>
          <p:cNvPr id="396" name="Content Placeholder 5">
            <a:extLst>
              <a:ext uri="{FF2B5EF4-FFF2-40B4-BE49-F238E27FC236}">
                <a16:creationId xmlns:a16="http://schemas.microsoft.com/office/drawing/2014/main" id="{3480CF8A-2ECA-0A1C-D65C-D3666B8BFE09}"/>
              </a:ext>
            </a:extLst>
          </p:cNvPr>
          <p:cNvGrpSpPr/>
          <p:nvPr/>
        </p:nvGrpSpPr>
        <p:grpSpPr>
          <a:xfrm>
            <a:off x="3842320" y="4139171"/>
            <a:ext cx="464047" cy="463460"/>
            <a:chOff x="4051892" y="3690486"/>
            <a:chExt cx="319098" cy="318695"/>
          </a:xfrm>
          <a:solidFill>
            <a:schemeClr val="accent2">
              <a:lumMod val="60000"/>
              <a:lumOff val="40000"/>
            </a:schemeClr>
          </a:solidFill>
        </p:grpSpPr>
        <p:sp>
          <p:nvSpPr>
            <p:cNvPr id="397" name="Freeform 152">
              <a:extLst>
                <a:ext uri="{FF2B5EF4-FFF2-40B4-BE49-F238E27FC236}">
                  <a16:creationId xmlns:a16="http://schemas.microsoft.com/office/drawing/2014/main" id="{AFDCBBE5-5597-9D8D-768E-E4925CFAC6AD}"/>
                </a:ext>
              </a:extLst>
            </p:cNvPr>
            <p:cNvSpPr/>
            <p:nvPr/>
          </p:nvSpPr>
          <p:spPr>
            <a:xfrm>
              <a:off x="4051892" y="3885087"/>
              <a:ext cx="124496" cy="124093"/>
            </a:xfrm>
            <a:custGeom>
              <a:avLst/>
              <a:gdLst>
                <a:gd name="connsiteX0" fmla="*/ 27397 w 124496"/>
                <a:gd name="connsiteY0" fmla="*/ 124094 h 124093"/>
                <a:gd name="connsiteX1" fmla="*/ 8058 w 124496"/>
                <a:gd name="connsiteY1" fmla="*/ 116036 h 124093"/>
                <a:gd name="connsiteX2" fmla="*/ 0 w 124496"/>
                <a:gd name="connsiteY2" fmla="*/ 96696 h 124093"/>
                <a:gd name="connsiteX3" fmla="*/ 8058 w 124496"/>
                <a:gd name="connsiteY3" fmla="*/ 77357 h 124093"/>
                <a:gd name="connsiteX4" fmla="*/ 84206 w 124496"/>
                <a:gd name="connsiteY4" fmla="*/ 1209 h 124093"/>
                <a:gd name="connsiteX5" fmla="*/ 87833 w 124496"/>
                <a:gd name="connsiteY5" fmla="*/ 0 h 124093"/>
                <a:gd name="connsiteX6" fmla="*/ 91056 w 124496"/>
                <a:gd name="connsiteY6" fmla="*/ 2015 h 124093"/>
                <a:gd name="connsiteX7" fmla="*/ 122482 w 124496"/>
                <a:gd name="connsiteY7" fmla="*/ 33441 h 124093"/>
                <a:gd name="connsiteX8" fmla="*/ 124497 w 124496"/>
                <a:gd name="connsiteY8" fmla="*/ 36664 h 124093"/>
                <a:gd name="connsiteX9" fmla="*/ 123288 w 124496"/>
                <a:gd name="connsiteY9" fmla="*/ 40290 h 124093"/>
                <a:gd name="connsiteX10" fmla="*/ 47140 w 124496"/>
                <a:gd name="connsiteY10" fmla="*/ 116439 h 124093"/>
                <a:gd name="connsiteX11" fmla="*/ 27397 w 124496"/>
                <a:gd name="connsiteY11" fmla="*/ 124094 h 124093"/>
                <a:gd name="connsiteX12" fmla="*/ 87027 w 124496"/>
                <a:gd name="connsiteY12" fmla="*/ 11281 h 124093"/>
                <a:gd name="connsiteX13" fmla="*/ 14504 w 124496"/>
                <a:gd name="connsiteY13" fmla="*/ 83804 h 124093"/>
                <a:gd name="connsiteX14" fmla="*/ 14504 w 124496"/>
                <a:gd name="connsiteY14" fmla="*/ 109992 h 124093"/>
                <a:gd name="connsiteX15" fmla="*/ 27397 w 124496"/>
                <a:gd name="connsiteY15" fmla="*/ 115230 h 124093"/>
                <a:gd name="connsiteX16" fmla="*/ 40290 w 124496"/>
                <a:gd name="connsiteY16" fmla="*/ 109992 h 124093"/>
                <a:gd name="connsiteX17" fmla="*/ 112812 w 124496"/>
                <a:gd name="connsiteY17" fmla="*/ 37470 h 124093"/>
                <a:gd name="connsiteX18" fmla="*/ 87027 w 124496"/>
                <a:gd name="connsiteY18" fmla="*/ 11281 h 12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4496" h="124093">
                  <a:moveTo>
                    <a:pt x="27397" y="124094"/>
                  </a:moveTo>
                  <a:cubicBezTo>
                    <a:pt x="20145" y="124094"/>
                    <a:pt x="13296" y="121274"/>
                    <a:pt x="8058" y="116036"/>
                  </a:cubicBezTo>
                  <a:cubicBezTo>
                    <a:pt x="2820" y="110798"/>
                    <a:pt x="0" y="103949"/>
                    <a:pt x="0" y="96696"/>
                  </a:cubicBezTo>
                  <a:cubicBezTo>
                    <a:pt x="0" y="89444"/>
                    <a:pt x="2820" y="82595"/>
                    <a:pt x="8058" y="77357"/>
                  </a:cubicBezTo>
                  <a:lnTo>
                    <a:pt x="84206" y="1209"/>
                  </a:lnTo>
                  <a:cubicBezTo>
                    <a:pt x="85012" y="403"/>
                    <a:pt x="86624" y="0"/>
                    <a:pt x="87833" y="0"/>
                  </a:cubicBezTo>
                  <a:cubicBezTo>
                    <a:pt x="89041" y="0"/>
                    <a:pt x="90250" y="806"/>
                    <a:pt x="91056" y="2015"/>
                  </a:cubicBezTo>
                  <a:cubicBezTo>
                    <a:pt x="99517" y="14505"/>
                    <a:pt x="109992" y="24980"/>
                    <a:pt x="122482" y="33441"/>
                  </a:cubicBezTo>
                  <a:cubicBezTo>
                    <a:pt x="123691" y="34247"/>
                    <a:pt x="124094" y="35456"/>
                    <a:pt x="124497" y="36664"/>
                  </a:cubicBezTo>
                  <a:cubicBezTo>
                    <a:pt x="124497" y="37873"/>
                    <a:pt x="124094" y="39082"/>
                    <a:pt x="123288" y="40290"/>
                  </a:cubicBezTo>
                  <a:lnTo>
                    <a:pt x="47140" y="116439"/>
                  </a:lnTo>
                  <a:cubicBezTo>
                    <a:pt x="41499" y="121274"/>
                    <a:pt x="34650" y="124094"/>
                    <a:pt x="27397" y="124094"/>
                  </a:cubicBezTo>
                  <a:close/>
                  <a:moveTo>
                    <a:pt x="87027" y="11281"/>
                  </a:moveTo>
                  <a:lnTo>
                    <a:pt x="14504" y="83804"/>
                  </a:lnTo>
                  <a:cubicBezTo>
                    <a:pt x="7252" y="91056"/>
                    <a:pt x="7252" y="102740"/>
                    <a:pt x="14504" y="109992"/>
                  </a:cubicBezTo>
                  <a:cubicBezTo>
                    <a:pt x="18131" y="113618"/>
                    <a:pt x="22563" y="115230"/>
                    <a:pt x="27397" y="115230"/>
                  </a:cubicBezTo>
                  <a:cubicBezTo>
                    <a:pt x="32232" y="115230"/>
                    <a:pt x="37067" y="113216"/>
                    <a:pt x="40290" y="109992"/>
                  </a:cubicBezTo>
                  <a:lnTo>
                    <a:pt x="112812" y="37470"/>
                  </a:lnTo>
                  <a:cubicBezTo>
                    <a:pt x="103143" y="29815"/>
                    <a:pt x="94279" y="21354"/>
                    <a:pt x="87027" y="11281"/>
                  </a:cubicBezTo>
                  <a:close/>
                </a:path>
              </a:pathLst>
            </a:custGeom>
            <a:grpFill/>
            <a:ln w="4028" cap="flat">
              <a:noFill/>
              <a:prstDash val="solid"/>
              <a:miter/>
            </a:ln>
          </p:spPr>
          <p:txBody>
            <a:bodyPr rtlCol="0" anchor="ctr"/>
            <a:lstStyle/>
            <a:p>
              <a:endParaRPr lang="en-US"/>
            </a:p>
          </p:txBody>
        </p:sp>
        <p:grpSp>
          <p:nvGrpSpPr>
            <p:cNvPr id="398" name="Content Placeholder 5">
              <a:extLst>
                <a:ext uri="{FF2B5EF4-FFF2-40B4-BE49-F238E27FC236}">
                  <a16:creationId xmlns:a16="http://schemas.microsoft.com/office/drawing/2014/main" id="{39E84106-9A4A-7865-72C8-27675AA3C937}"/>
                </a:ext>
              </a:extLst>
            </p:cNvPr>
            <p:cNvGrpSpPr/>
            <p:nvPr/>
          </p:nvGrpSpPr>
          <p:grpSpPr>
            <a:xfrm>
              <a:off x="4211252" y="3753741"/>
              <a:ext cx="62447" cy="130943"/>
              <a:chOff x="4211252" y="3753741"/>
              <a:chExt cx="62447" cy="130943"/>
            </a:xfrm>
            <a:grpFill/>
          </p:grpSpPr>
          <p:sp>
            <p:nvSpPr>
              <p:cNvPr id="401" name="Freeform 156">
                <a:extLst>
                  <a:ext uri="{FF2B5EF4-FFF2-40B4-BE49-F238E27FC236}">
                    <a16:creationId xmlns:a16="http://schemas.microsoft.com/office/drawing/2014/main" id="{5D303FF0-657D-8526-C447-A4FBA57CE9BE}"/>
                  </a:ext>
                </a:extLst>
              </p:cNvPr>
              <p:cNvSpPr/>
              <p:nvPr/>
            </p:nvSpPr>
            <p:spPr>
              <a:xfrm>
                <a:off x="4211252" y="3771469"/>
                <a:ext cx="62447" cy="94278"/>
              </a:xfrm>
              <a:custGeom>
                <a:avLst/>
                <a:gdLst>
                  <a:gd name="connsiteX0" fmla="*/ 30406 w 62447"/>
                  <a:gd name="connsiteY0" fmla="*/ 94279 h 94278"/>
                  <a:gd name="connsiteX1" fmla="*/ 994 w 62447"/>
                  <a:gd name="connsiteY1" fmla="*/ 79371 h 94278"/>
                  <a:gd name="connsiteX2" fmla="*/ 1800 w 62447"/>
                  <a:gd name="connsiteY2" fmla="*/ 73328 h 94278"/>
                  <a:gd name="connsiteX3" fmla="*/ 7844 w 62447"/>
                  <a:gd name="connsiteY3" fmla="*/ 74134 h 94278"/>
                  <a:gd name="connsiteX4" fmla="*/ 44911 w 62447"/>
                  <a:gd name="connsiteY4" fmla="*/ 82192 h 94278"/>
                  <a:gd name="connsiteX5" fmla="*/ 45314 w 62447"/>
                  <a:gd name="connsiteY5" fmla="*/ 82192 h 94278"/>
                  <a:gd name="connsiteX6" fmla="*/ 52969 w 62447"/>
                  <a:gd name="connsiteY6" fmla="*/ 67284 h 94278"/>
                  <a:gd name="connsiteX7" fmla="*/ 40882 w 62447"/>
                  <a:gd name="connsiteY7" fmla="*/ 52377 h 94278"/>
                  <a:gd name="connsiteX8" fmla="*/ 18319 w 62447"/>
                  <a:gd name="connsiteY8" fmla="*/ 45528 h 94278"/>
                  <a:gd name="connsiteX9" fmla="*/ 592 w 62447"/>
                  <a:gd name="connsiteY9" fmla="*/ 22965 h 94278"/>
                  <a:gd name="connsiteX10" fmla="*/ 31212 w 62447"/>
                  <a:gd name="connsiteY10" fmla="*/ 0 h 94278"/>
                  <a:gd name="connsiteX11" fmla="*/ 32018 w 62447"/>
                  <a:gd name="connsiteY11" fmla="*/ 0 h 94278"/>
                  <a:gd name="connsiteX12" fmla="*/ 62236 w 62447"/>
                  <a:gd name="connsiteY12" fmla="*/ 20548 h 94278"/>
                  <a:gd name="connsiteX13" fmla="*/ 59415 w 62447"/>
                  <a:gd name="connsiteY13" fmla="*/ 25786 h 94278"/>
                  <a:gd name="connsiteX14" fmla="*/ 54177 w 62447"/>
                  <a:gd name="connsiteY14" fmla="*/ 22965 h 94278"/>
                  <a:gd name="connsiteX15" fmla="*/ 32421 w 62447"/>
                  <a:gd name="connsiteY15" fmla="*/ 8461 h 94278"/>
                  <a:gd name="connsiteX16" fmla="*/ 31615 w 62447"/>
                  <a:gd name="connsiteY16" fmla="*/ 8461 h 94278"/>
                  <a:gd name="connsiteX17" fmla="*/ 9858 w 62447"/>
                  <a:gd name="connsiteY17" fmla="*/ 22965 h 94278"/>
                  <a:gd name="connsiteX18" fmla="*/ 21542 w 62447"/>
                  <a:gd name="connsiteY18" fmla="*/ 37067 h 94278"/>
                  <a:gd name="connsiteX19" fmla="*/ 44105 w 62447"/>
                  <a:gd name="connsiteY19" fmla="*/ 43916 h 94278"/>
                  <a:gd name="connsiteX20" fmla="*/ 62236 w 62447"/>
                  <a:gd name="connsiteY20" fmla="*/ 66076 h 94278"/>
                  <a:gd name="connsiteX21" fmla="*/ 49343 w 62447"/>
                  <a:gd name="connsiteY21" fmla="*/ 89847 h 94278"/>
                  <a:gd name="connsiteX22" fmla="*/ 30406 w 62447"/>
                  <a:gd name="connsiteY22" fmla="*/ 94279 h 9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447" h="94278">
                    <a:moveTo>
                      <a:pt x="30406" y="94279"/>
                    </a:moveTo>
                    <a:cubicBezTo>
                      <a:pt x="20737" y="94279"/>
                      <a:pt x="9455" y="90653"/>
                      <a:pt x="994" y="79371"/>
                    </a:cubicBezTo>
                    <a:cubicBezTo>
                      <a:pt x="-617" y="77357"/>
                      <a:pt x="-214" y="74537"/>
                      <a:pt x="1800" y="73328"/>
                    </a:cubicBezTo>
                    <a:cubicBezTo>
                      <a:pt x="3815" y="71716"/>
                      <a:pt x="6635" y="72119"/>
                      <a:pt x="7844" y="74134"/>
                    </a:cubicBezTo>
                    <a:cubicBezTo>
                      <a:pt x="22751" y="93473"/>
                      <a:pt x="44105" y="82595"/>
                      <a:pt x="44911" y="82192"/>
                    </a:cubicBezTo>
                    <a:cubicBezTo>
                      <a:pt x="44911" y="82192"/>
                      <a:pt x="45314" y="82192"/>
                      <a:pt x="45314" y="82192"/>
                    </a:cubicBezTo>
                    <a:cubicBezTo>
                      <a:pt x="46119" y="81789"/>
                      <a:pt x="54177" y="78163"/>
                      <a:pt x="52969" y="67284"/>
                    </a:cubicBezTo>
                    <a:cubicBezTo>
                      <a:pt x="51760" y="56003"/>
                      <a:pt x="40882" y="52780"/>
                      <a:pt x="40882" y="52377"/>
                    </a:cubicBezTo>
                    <a:cubicBezTo>
                      <a:pt x="40882" y="52377"/>
                      <a:pt x="29600" y="49154"/>
                      <a:pt x="18319" y="45528"/>
                    </a:cubicBezTo>
                    <a:cubicBezTo>
                      <a:pt x="6635" y="41902"/>
                      <a:pt x="189" y="34247"/>
                      <a:pt x="592" y="22965"/>
                    </a:cubicBezTo>
                    <a:cubicBezTo>
                      <a:pt x="592" y="17325"/>
                      <a:pt x="3009" y="0"/>
                      <a:pt x="31212" y="0"/>
                    </a:cubicBezTo>
                    <a:cubicBezTo>
                      <a:pt x="31615" y="0"/>
                      <a:pt x="31615" y="0"/>
                      <a:pt x="32018" y="0"/>
                    </a:cubicBezTo>
                    <a:cubicBezTo>
                      <a:pt x="50954" y="403"/>
                      <a:pt x="60221" y="13699"/>
                      <a:pt x="62236" y="20548"/>
                    </a:cubicBezTo>
                    <a:cubicBezTo>
                      <a:pt x="63041" y="22965"/>
                      <a:pt x="61430" y="25383"/>
                      <a:pt x="59415" y="25786"/>
                    </a:cubicBezTo>
                    <a:cubicBezTo>
                      <a:pt x="56998" y="26591"/>
                      <a:pt x="54580" y="24980"/>
                      <a:pt x="54177" y="22965"/>
                    </a:cubicBezTo>
                    <a:cubicBezTo>
                      <a:pt x="54177" y="22160"/>
                      <a:pt x="49746" y="8864"/>
                      <a:pt x="32421" y="8461"/>
                    </a:cubicBezTo>
                    <a:cubicBezTo>
                      <a:pt x="32018" y="8461"/>
                      <a:pt x="32018" y="8461"/>
                      <a:pt x="31615" y="8461"/>
                    </a:cubicBezTo>
                    <a:cubicBezTo>
                      <a:pt x="21542" y="8461"/>
                      <a:pt x="9858" y="10878"/>
                      <a:pt x="9858" y="22965"/>
                    </a:cubicBezTo>
                    <a:cubicBezTo>
                      <a:pt x="9858" y="30218"/>
                      <a:pt x="13484" y="34649"/>
                      <a:pt x="21542" y="37067"/>
                    </a:cubicBezTo>
                    <a:cubicBezTo>
                      <a:pt x="32824" y="40290"/>
                      <a:pt x="44105" y="43916"/>
                      <a:pt x="44105" y="43916"/>
                    </a:cubicBezTo>
                    <a:cubicBezTo>
                      <a:pt x="44911" y="43916"/>
                      <a:pt x="61027" y="48751"/>
                      <a:pt x="62236" y="66076"/>
                    </a:cubicBezTo>
                    <a:cubicBezTo>
                      <a:pt x="63444" y="79774"/>
                      <a:pt x="54177" y="87429"/>
                      <a:pt x="49343" y="89847"/>
                    </a:cubicBezTo>
                    <a:cubicBezTo>
                      <a:pt x="44105" y="92264"/>
                      <a:pt x="37658" y="94279"/>
                      <a:pt x="30406" y="94279"/>
                    </a:cubicBezTo>
                    <a:close/>
                  </a:path>
                </a:pathLst>
              </a:custGeom>
              <a:grpFill/>
              <a:ln w="4028" cap="flat">
                <a:noFill/>
                <a:prstDash val="solid"/>
                <a:miter/>
              </a:ln>
            </p:spPr>
            <p:txBody>
              <a:bodyPr rtlCol="0" anchor="ctr"/>
              <a:lstStyle/>
              <a:p>
                <a:endParaRPr lang="en-US"/>
              </a:p>
            </p:txBody>
          </p:sp>
          <p:sp>
            <p:nvSpPr>
              <p:cNvPr id="402" name="Freeform 157">
                <a:extLst>
                  <a:ext uri="{FF2B5EF4-FFF2-40B4-BE49-F238E27FC236}">
                    <a16:creationId xmlns:a16="http://schemas.microsoft.com/office/drawing/2014/main" id="{0952BD65-FEBE-4792-AF68-24AFF219BFE8}"/>
                  </a:ext>
                </a:extLst>
              </p:cNvPr>
              <p:cNvSpPr/>
              <p:nvPr/>
            </p:nvSpPr>
            <p:spPr>
              <a:xfrm>
                <a:off x="4238435" y="3753741"/>
                <a:ext cx="8863" cy="26591"/>
              </a:xfrm>
              <a:custGeom>
                <a:avLst/>
                <a:gdLst>
                  <a:gd name="connsiteX0" fmla="*/ 4432 w 8863"/>
                  <a:gd name="connsiteY0" fmla="*/ 26591 h 26591"/>
                  <a:gd name="connsiteX1" fmla="*/ 0 w 8863"/>
                  <a:gd name="connsiteY1" fmla="*/ 22160 h 26591"/>
                  <a:gd name="connsiteX2" fmla="*/ 0 w 8863"/>
                  <a:gd name="connsiteY2" fmla="*/ 4432 h 26591"/>
                  <a:gd name="connsiteX3" fmla="*/ 4432 w 8863"/>
                  <a:gd name="connsiteY3" fmla="*/ 0 h 26591"/>
                  <a:gd name="connsiteX4" fmla="*/ 8864 w 8863"/>
                  <a:gd name="connsiteY4" fmla="*/ 4432 h 26591"/>
                  <a:gd name="connsiteX5" fmla="*/ 8864 w 8863"/>
                  <a:gd name="connsiteY5" fmla="*/ 22160 h 26591"/>
                  <a:gd name="connsiteX6" fmla="*/ 4432 w 8863"/>
                  <a:gd name="connsiteY6" fmla="*/ 26591 h 26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3" h="26591">
                    <a:moveTo>
                      <a:pt x="4432" y="26591"/>
                    </a:moveTo>
                    <a:cubicBezTo>
                      <a:pt x="2015" y="26591"/>
                      <a:pt x="0" y="24577"/>
                      <a:pt x="0" y="22160"/>
                    </a:cubicBezTo>
                    <a:lnTo>
                      <a:pt x="0" y="4432"/>
                    </a:lnTo>
                    <a:cubicBezTo>
                      <a:pt x="0" y="2015"/>
                      <a:pt x="2015" y="0"/>
                      <a:pt x="4432" y="0"/>
                    </a:cubicBezTo>
                    <a:cubicBezTo>
                      <a:pt x="6849" y="0"/>
                      <a:pt x="8864" y="2015"/>
                      <a:pt x="8864" y="4432"/>
                    </a:cubicBezTo>
                    <a:lnTo>
                      <a:pt x="8864" y="22160"/>
                    </a:lnTo>
                    <a:cubicBezTo>
                      <a:pt x="8864" y="24577"/>
                      <a:pt x="6849" y="26591"/>
                      <a:pt x="4432" y="26591"/>
                    </a:cubicBezTo>
                    <a:close/>
                  </a:path>
                </a:pathLst>
              </a:custGeom>
              <a:grpFill/>
              <a:ln w="4028" cap="flat">
                <a:noFill/>
                <a:prstDash val="solid"/>
                <a:miter/>
              </a:ln>
            </p:spPr>
            <p:txBody>
              <a:bodyPr rtlCol="0" anchor="ctr"/>
              <a:lstStyle/>
              <a:p>
                <a:endParaRPr lang="en-US"/>
              </a:p>
            </p:txBody>
          </p:sp>
          <p:sp>
            <p:nvSpPr>
              <p:cNvPr id="403" name="Freeform 158">
                <a:extLst>
                  <a:ext uri="{FF2B5EF4-FFF2-40B4-BE49-F238E27FC236}">
                    <a16:creationId xmlns:a16="http://schemas.microsoft.com/office/drawing/2014/main" id="{5CC7FE38-9CDA-2F3F-5D4E-2868E84F8797}"/>
                  </a:ext>
                </a:extLst>
              </p:cNvPr>
              <p:cNvSpPr/>
              <p:nvPr/>
            </p:nvSpPr>
            <p:spPr>
              <a:xfrm>
                <a:off x="4238435" y="3858093"/>
                <a:ext cx="8863" cy="26591"/>
              </a:xfrm>
              <a:custGeom>
                <a:avLst/>
                <a:gdLst>
                  <a:gd name="connsiteX0" fmla="*/ 4432 w 8863"/>
                  <a:gd name="connsiteY0" fmla="*/ 26591 h 26591"/>
                  <a:gd name="connsiteX1" fmla="*/ 0 w 8863"/>
                  <a:gd name="connsiteY1" fmla="*/ 22160 h 26591"/>
                  <a:gd name="connsiteX2" fmla="*/ 0 w 8863"/>
                  <a:gd name="connsiteY2" fmla="*/ 4432 h 26591"/>
                  <a:gd name="connsiteX3" fmla="*/ 4432 w 8863"/>
                  <a:gd name="connsiteY3" fmla="*/ 0 h 26591"/>
                  <a:gd name="connsiteX4" fmla="*/ 8864 w 8863"/>
                  <a:gd name="connsiteY4" fmla="*/ 4432 h 26591"/>
                  <a:gd name="connsiteX5" fmla="*/ 8864 w 8863"/>
                  <a:gd name="connsiteY5" fmla="*/ 22160 h 26591"/>
                  <a:gd name="connsiteX6" fmla="*/ 4432 w 8863"/>
                  <a:gd name="connsiteY6" fmla="*/ 26591 h 26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3" h="26591">
                    <a:moveTo>
                      <a:pt x="4432" y="26591"/>
                    </a:moveTo>
                    <a:cubicBezTo>
                      <a:pt x="2015" y="26591"/>
                      <a:pt x="0" y="24577"/>
                      <a:pt x="0" y="22160"/>
                    </a:cubicBezTo>
                    <a:lnTo>
                      <a:pt x="0" y="4432"/>
                    </a:lnTo>
                    <a:cubicBezTo>
                      <a:pt x="0" y="2015"/>
                      <a:pt x="2015" y="0"/>
                      <a:pt x="4432" y="0"/>
                    </a:cubicBezTo>
                    <a:cubicBezTo>
                      <a:pt x="6849" y="0"/>
                      <a:pt x="8864" y="2015"/>
                      <a:pt x="8864" y="4432"/>
                    </a:cubicBezTo>
                    <a:lnTo>
                      <a:pt x="8864" y="22160"/>
                    </a:lnTo>
                    <a:cubicBezTo>
                      <a:pt x="8864" y="24577"/>
                      <a:pt x="6849" y="26591"/>
                      <a:pt x="4432" y="26591"/>
                    </a:cubicBezTo>
                    <a:close/>
                  </a:path>
                </a:pathLst>
              </a:custGeom>
              <a:grpFill/>
              <a:ln w="4028" cap="flat">
                <a:noFill/>
                <a:prstDash val="solid"/>
                <a:miter/>
              </a:ln>
            </p:spPr>
            <p:txBody>
              <a:bodyPr rtlCol="0" anchor="ctr"/>
              <a:lstStyle/>
              <a:p>
                <a:endParaRPr lang="en-US"/>
              </a:p>
            </p:txBody>
          </p:sp>
        </p:grpSp>
        <p:sp>
          <p:nvSpPr>
            <p:cNvPr id="399" name="Freeform 154">
              <a:extLst>
                <a:ext uri="{FF2B5EF4-FFF2-40B4-BE49-F238E27FC236}">
                  <a16:creationId xmlns:a16="http://schemas.microsoft.com/office/drawing/2014/main" id="{AC6F2CCD-B1F6-349A-1770-C984A1129919}"/>
                </a:ext>
              </a:extLst>
            </p:cNvPr>
            <p:cNvSpPr/>
            <p:nvPr/>
          </p:nvSpPr>
          <p:spPr>
            <a:xfrm>
              <a:off x="4113133" y="3690486"/>
              <a:ext cx="257857" cy="257857"/>
            </a:xfrm>
            <a:custGeom>
              <a:avLst/>
              <a:gdLst>
                <a:gd name="connsiteX0" fmla="*/ 128929 w 257857"/>
                <a:gd name="connsiteY0" fmla="*/ 257857 h 257857"/>
                <a:gd name="connsiteX1" fmla="*/ 56003 w 257857"/>
                <a:gd name="connsiteY1" fmla="*/ 235295 h 257857"/>
                <a:gd name="connsiteX2" fmla="*/ 22562 w 257857"/>
                <a:gd name="connsiteY2" fmla="*/ 201854 h 257857"/>
                <a:gd name="connsiteX3" fmla="*/ 0 w 257857"/>
                <a:gd name="connsiteY3" fmla="*/ 128929 h 257857"/>
                <a:gd name="connsiteX4" fmla="*/ 128929 w 257857"/>
                <a:gd name="connsiteY4" fmla="*/ 0 h 257857"/>
                <a:gd name="connsiteX5" fmla="*/ 257857 w 257857"/>
                <a:gd name="connsiteY5" fmla="*/ 128929 h 257857"/>
                <a:gd name="connsiteX6" fmla="*/ 128929 w 257857"/>
                <a:gd name="connsiteY6" fmla="*/ 257857 h 257857"/>
                <a:gd name="connsiteX7" fmla="*/ 128929 w 257857"/>
                <a:gd name="connsiteY7" fmla="*/ 8461 h 257857"/>
                <a:gd name="connsiteX8" fmla="*/ 8864 w 257857"/>
                <a:gd name="connsiteY8" fmla="*/ 128526 h 257857"/>
                <a:gd name="connsiteX9" fmla="*/ 29815 w 257857"/>
                <a:gd name="connsiteY9" fmla="*/ 196213 h 257857"/>
                <a:gd name="connsiteX10" fmla="*/ 61241 w 257857"/>
                <a:gd name="connsiteY10" fmla="*/ 227639 h 257857"/>
                <a:gd name="connsiteX11" fmla="*/ 129331 w 257857"/>
                <a:gd name="connsiteY11" fmla="*/ 248590 h 257857"/>
                <a:gd name="connsiteX12" fmla="*/ 249396 w 257857"/>
                <a:gd name="connsiteY12" fmla="*/ 128526 h 257857"/>
                <a:gd name="connsiteX13" fmla="*/ 128929 w 257857"/>
                <a:gd name="connsiteY13" fmla="*/ 8461 h 25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7857" h="257857">
                  <a:moveTo>
                    <a:pt x="128929" y="257857"/>
                  </a:moveTo>
                  <a:cubicBezTo>
                    <a:pt x="102740" y="257857"/>
                    <a:pt x="77760" y="250202"/>
                    <a:pt x="56003" y="235295"/>
                  </a:cubicBezTo>
                  <a:cubicBezTo>
                    <a:pt x="42707" y="226431"/>
                    <a:pt x="31426" y="215150"/>
                    <a:pt x="22562" y="201854"/>
                  </a:cubicBezTo>
                  <a:cubicBezTo>
                    <a:pt x="7655" y="180500"/>
                    <a:pt x="0" y="155117"/>
                    <a:pt x="0" y="128929"/>
                  </a:cubicBezTo>
                  <a:cubicBezTo>
                    <a:pt x="0" y="58018"/>
                    <a:pt x="58018" y="0"/>
                    <a:pt x="128929" y="0"/>
                  </a:cubicBezTo>
                  <a:cubicBezTo>
                    <a:pt x="199839" y="0"/>
                    <a:pt x="257857" y="58018"/>
                    <a:pt x="257857" y="128929"/>
                  </a:cubicBezTo>
                  <a:cubicBezTo>
                    <a:pt x="257857" y="199839"/>
                    <a:pt x="200242" y="257857"/>
                    <a:pt x="128929" y="257857"/>
                  </a:cubicBezTo>
                  <a:close/>
                  <a:moveTo>
                    <a:pt x="128929" y="8461"/>
                  </a:moveTo>
                  <a:cubicBezTo>
                    <a:pt x="62853" y="8461"/>
                    <a:pt x="8864" y="62450"/>
                    <a:pt x="8864" y="128526"/>
                  </a:cubicBezTo>
                  <a:cubicBezTo>
                    <a:pt x="8864" y="152700"/>
                    <a:pt x="16116" y="176471"/>
                    <a:pt x="29815" y="196213"/>
                  </a:cubicBezTo>
                  <a:cubicBezTo>
                    <a:pt x="38276" y="208703"/>
                    <a:pt x="48751" y="219179"/>
                    <a:pt x="61241" y="227639"/>
                  </a:cubicBezTo>
                  <a:cubicBezTo>
                    <a:pt x="81386" y="241338"/>
                    <a:pt x="104754" y="248590"/>
                    <a:pt x="129331" y="248590"/>
                  </a:cubicBezTo>
                  <a:cubicBezTo>
                    <a:pt x="195407" y="248590"/>
                    <a:pt x="249396" y="194601"/>
                    <a:pt x="249396" y="128526"/>
                  </a:cubicBezTo>
                  <a:cubicBezTo>
                    <a:pt x="248993" y="62450"/>
                    <a:pt x="195407" y="8461"/>
                    <a:pt x="128929" y="8461"/>
                  </a:cubicBezTo>
                  <a:close/>
                </a:path>
              </a:pathLst>
            </a:custGeom>
            <a:grpFill/>
            <a:ln w="4028" cap="flat">
              <a:noFill/>
              <a:prstDash val="solid"/>
              <a:miter/>
            </a:ln>
          </p:spPr>
          <p:txBody>
            <a:bodyPr rtlCol="0" anchor="ctr"/>
            <a:lstStyle/>
            <a:p>
              <a:endParaRPr lang="en-US"/>
            </a:p>
          </p:txBody>
        </p:sp>
        <p:sp>
          <p:nvSpPr>
            <p:cNvPr id="400" name="Freeform 155">
              <a:extLst>
                <a:ext uri="{FF2B5EF4-FFF2-40B4-BE49-F238E27FC236}">
                  <a16:creationId xmlns:a16="http://schemas.microsoft.com/office/drawing/2014/main" id="{EB6C0DF9-7C19-AF1C-026B-87CC2CD00B43}"/>
                </a:ext>
              </a:extLst>
            </p:cNvPr>
            <p:cNvSpPr/>
            <p:nvPr/>
          </p:nvSpPr>
          <p:spPr>
            <a:xfrm>
              <a:off x="4142947" y="3719897"/>
              <a:ext cx="199033" cy="198630"/>
            </a:xfrm>
            <a:custGeom>
              <a:avLst/>
              <a:gdLst>
                <a:gd name="connsiteX0" fmla="*/ 99114 w 199033"/>
                <a:gd name="connsiteY0" fmla="*/ 198631 h 198630"/>
                <a:gd name="connsiteX1" fmla="*/ 43110 w 199033"/>
                <a:gd name="connsiteY1" fmla="*/ 181306 h 198630"/>
                <a:gd name="connsiteX2" fmla="*/ 17325 w 199033"/>
                <a:gd name="connsiteY2" fmla="*/ 155520 h 198630"/>
                <a:gd name="connsiteX3" fmla="*/ 0 w 199033"/>
                <a:gd name="connsiteY3" fmla="*/ 99517 h 198630"/>
                <a:gd name="connsiteX4" fmla="*/ 99517 w 199033"/>
                <a:gd name="connsiteY4" fmla="*/ 0 h 198630"/>
                <a:gd name="connsiteX5" fmla="*/ 199033 w 199033"/>
                <a:gd name="connsiteY5" fmla="*/ 99517 h 198630"/>
                <a:gd name="connsiteX6" fmla="*/ 99114 w 199033"/>
                <a:gd name="connsiteY6" fmla="*/ 198631 h 198630"/>
                <a:gd name="connsiteX7" fmla="*/ 99114 w 199033"/>
                <a:gd name="connsiteY7" fmla="*/ 8461 h 198630"/>
                <a:gd name="connsiteX8" fmla="*/ 8461 w 199033"/>
                <a:gd name="connsiteY8" fmla="*/ 99114 h 198630"/>
                <a:gd name="connsiteX9" fmla="*/ 24174 w 199033"/>
                <a:gd name="connsiteY9" fmla="*/ 150282 h 198630"/>
                <a:gd name="connsiteX10" fmla="*/ 47945 w 199033"/>
                <a:gd name="connsiteY10" fmla="*/ 174053 h 198630"/>
                <a:gd name="connsiteX11" fmla="*/ 99114 w 199033"/>
                <a:gd name="connsiteY11" fmla="*/ 189767 h 198630"/>
                <a:gd name="connsiteX12" fmla="*/ 189767 w 199033"/>
                <a:gd name="connsiteY12" fmla="*/ 99114 h 198630"/>
                <a:gd name="connsiteX13" fmla="*/ 99114 w 199033"/>
                <a:gd name="connsiteY13" fmla="*/ 8461 h 198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033" h="198630">
                  <a:moveTo>
                    <a:pt x="99114" y="198631"/>
                  </a:moveTo>
                  <a:cubicBezTo>
                    <a:pt x="78969" y="198631"/>
                    <a:pt x="59629" y="192587"/>
                    <a:pt x="43110" y="181306"/>
                  </a:cubicBezTo>
                  <a:cubicBezTo>
                    <a:pt x="33038" y="174457"/>
                    <a:pt x="24174" y="165593"/>
                    <a:pt x="17325" y="155520"/>
                  </a:cubicBezTo>
                  <a:cubicBezTo>
                    <a:pt x="6044" y="139001"/>
                    <a:pt x="0" y="119662"/>
                    <a:pt x="0" y="99517"/>
                  </a:cubicBezTo>
                  <a:cubicBezTo>
                    <a:pt x="0" y="44722"/>
                    <a:pt x="44722" y="0"/>
                    <a:pt x="99517" y="0"/>
                  </a:cubicBezTo>
                  <a:cubicBezTo>
                    <a:pt x="154311" y="0"/>
                    <a:pt x="199033" y="44722"/>
                    <a:pt x="199033" y="99517"/>
                  </a:cubicBezTo>
                  <a:cubicBezTo>
                    <a:pt x="199033" y="154311"/>
                    <a:pt x="153908" y="198631"/>
                    <a:pt x="99114" y="198631"/>
                  </a:cubicBezTo>
                  <a:close/>
                  <a:moveTo>
                    <a:pt x="99114" y="8461"/>
                  </a:moveTo>
                  <a:cubicBezTo>
                    <a:pt x="49154" y="8461"/>
                    <a:pt x="8461" y="49154"/>
                    <a:pt x="8461" y="99114"/>
                  </a:cubicBezTo>
                  <a:cubicBezTo>
                    <a:pt x="8461" y="117647"/>
                    <a:pt x="14102" y="135375"/>
                    <a:pt x="24174" y="150282"/>
                  </a:cubicBezTo>
                  <a:cubicBezTo>
                    <a:pt x="30621" y="159549"/>
                    <a:pt x="38679" y="167607"/>
                    <a:pt x="47945" y="174053"/>
                  </a:cubicBezTo>
                  <a:cubicBezTo>
                    <a:pt x="63255" y="184529"/>
                    <a:pt x="80983" y="189767"/>
                    <a:pt x="99114" y="189767"/>
                  </a:cubicBezTo>
                  <a:cubicBezTo>
                    <a:pt x="149074" y="189767"/>
                    <a:pt x="189767" y="149074"/>
                    <a:pt x="189767" y="99114"/>
                  </a:cubicBezTo>
                  <a:cubicBezTo>
                    <a:pt x="189767" y="49154"/>
                    <a:pt x="149074" y="8461"/>
                    <a:pt x="99114" y="8461"/>
                  </a:cubicBezTo>
                  <a:close/>
                </a:path>
              </a:pathLst>
            </a:custGeom>
            <a:grpFill/>
            <a:ln w="4028" cap="flat">
              <a:noFill/>
              <a:prstDash val="solid"/>
              <a:miter/>
            </a:ln>
          </p:spPr>
          <p:txBody>
            <a:bodyPr rtlCol="0" anchor="ctr"/>
            <a:lstStyle/>
            <a:p>
              <a:endParaRPr lang="en-US"/>
            </a:p>
          </p:txBody>
        </p:sp>
      </p:grpSp>
      <p:grpSp>
        <p:nvGrpSpPr>
          <p:cNvPr id="404" name="Content Placeholder 5">
            <a:extLst>
              <a:ext uri="{FF2B5EF4-FFF2-40B4-BE49-F238E27FC236}">
                <a16:creationId xmlns:a16="http://schemas.microsoft.com/office/drawing/2014/main" id="{336417BB-1F20-A480-77EE-5AAC4E4038D0}"/>
              </a:ext>
            </a:extLst>
          </p:cNvPr>
          <p:cNvGrpSpPr/>
          <p:nvPr/>
        </p:nvGrpSpPr>
        <p:grpSpPr>
          <a:xfrm>
            <a:off x="6577623" y="4152563"/>
            <a:ext cx="478655" cy="405298"/>
            <a:chOff x="2965669" y="3709019"/>
            <a:chExt cx="315471" cy="267123"/>
          </a:xfrm>
          <a:solidFill>
            <a:schemeClr val="accent2">
              <a:lumMod val="60000"/>
              <a:lumOff val="40000"/>
            </a:schemeClr>
          </a:solidFill>
        </p:grpSpPr>
        <p:sp>
          <p:nvSpPr>
            <p:cNvPr id="405" name="Freeform 208">
              <a:extLst>
                <a:ext uri="{FF2B5EF4-FFF2-40B4-BE49-F238E27FC236}">
                  <a16:creationId xmlns:a16="http://schemas.microsoft.com/office/drawing/2014/main" id="{41BB9C09-E7FA-0233-4DA4-3A3FE8FECE5E}"/>
                </a:ext>
              </a:extLst>
            </p:cNvPr>
            <p:cNvSpPr/>
            <p:nvPr/>
          </p:nvSpPr>
          <p:spPr>
            <a:xfrm>
              <a:off x="2965669" y="3709019"/>
              <a:ext cx="213940" cy="267123"/>
            </a:xfrm>
            <a:custGeom>
              <a:avLst/>
              <a:gdLst>
                <a:gd name="connsiteX0" fmla="*/ 209509 w 213940"/>
                <a:gd name="connsiteY0" fmla="*/ 267124 h 267123"/>
                <a:gd name="connsiteX1" fmla="*/ 4432 w 213940"/>
                <a:gd name="connsiteY1" fmla="*/ 267124 h 267123"/>
                <a:gd name="connsiteX2" fmla="*/ 0 w 213940"/>
                <a:gd name="connsiteY2" fmla="*/ 262692 h 267123"/>
                <a:gd name="connsiteX3" fmla="*/ 0 w 213940"/>
                <a:gd name="connsiteY3" fmla="*/ 4432 h 267123"/>
                <a:gd name="connsiteX4" fmla="*/ 4432 w 213940"/>
                <a:gd name="connsiteY4" fmla="*/ 0 h 267123"/>
                <a:gd name="connsiteX5" fmla="*/ 209509 w 213940"/>
                <a:gd name="connsiteY5" fmla="*/ 0 h 267123"/>
                <a:gd name="connsiteX6" fmla="*/ 213941 w 213940"/>
                <a:gd name="connsiteY6" fmla="*/ 4432 h 267123"/>
                <a:gd name="connsiteX7" fmla="*/ 213941 w 213940"/>
                <a:gd name="connsiteY7" fmla="*/ 87430 h 267123"/>
                <a:gd name="connsiteX8" fmla="*/ 209509 w 213940"/>
                <a:gd name="connsiteY8" fmla="*/ 91862 h 267123"/>
                <a:gd name="connsiteX9" fmla="*/ 205077 w 213940"/>
                <a:gd name="connsiteY9" fmla="*/ 87430 h 267123"/>
                <a:gd name="connsiteX10" fmla="*/ 205077 w 213940"/>
                <a:gd name="connsiteY10" fmla="*/ 8864 h 267123"/>
                <a:gd name="connsiteX11" fmla="*/ 8864 w 213940"/>
                <a:gd name="connsiteY11" fmla="*/ 8864 h 267123"/>
                <a:gd name="connsiteX12" fmla="*/ 8864 w 213940"/>
                <a:gd name="connsiteY12" fmla="*/ 258260 h 267123"/>
                <a:gd name="connsiteX13" fmla="*/ 205077 w 213940"/>
                <a:gd name="connsiteY13" fmla="*/ 258260 h 267123"/>
                <a:gd name="connsiteX14" fmla="*/ 205077 w 213940"/>
                <a:gd name="connsiteY14" fmla="*/ 156729 h 267123"/>
                <a:gd name="connsiteX15" fmla="*/ 209509 w 213940"/>
                <a:gd name="connsiteY15" fmla="*/ 152297 h 267123"/>
                <a:gd name="connsiteX16" fmla="*/ 213941 w 213940"/>
                <a:gd name="connsiteY16" fmla="*/ 156729 h 267123"/>
                <a:gd name="connsiteX17" fmla="*/ 213941 w 213940"/>
                <a:gd name="connsiteY17" fmla="*/ 262692 h 267123"/>
                <a:gd name="connsiteX18" fmla="*/ 209509 w 213940"/>
                <a:gd name="connsiteY18" fmla="*/ 267124 h 26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3940" h="267123">
                  <a:moveTo>
                    <a:pt x="209509" y="267124"/>
                  </a:moveTo>
                  <a:lnTo>
                    <a:pt x="4432" y="267124"/>
                  </a:lnTo>
                  <a:cubicBezTo>
                    <a:pt x="2015" y="267124"/>
                    <a:pt x="0" y="265109"/>
                    <a:pt x="0" y="262692"/>
                  </a:cubicBezTo>
                  <a:lnTo>
                    <a:pt x="0" y="4432"/>
                  </a:lnTo>
                  <a:cubicBezTo>
                    <a:pt x="0" y="2015"/>
                    <a:pt x="2015" y="0"/>
                    <a:pt x="4432" y="0"/>
                  </a:cubicBezTo>
                  <a:lnTo>
                    <a:pt x="209509" y="0"/>
                  </a:lnTo>
                  <a:cubicBezTo>
                    <a:pt x="211926" y="0"/>
                    <a:pt x="213941" y="2015"/>
                    <a:pt x="213941" y="4432"/>
                  </a:cubicBezTo>
                  <a:lnTo>
                    <a:pt x="213941" y="87430"/>
                  </a:lnTo>
                  <a:cubicBezTo>
                    <a:pt x="213941" y="89847"/>
                    <a:pt x="211926" y="91862"/>
                    <a:pt x="209509" y="91862"/>
                  </a:cubicBezTo>
                  <a:cubicBezTo>
                    <a:pt x="207091" y="91862"/>
                    <a:pt x="205077" y="89847"/>
                    <a:pt x="205077" y="87430"/>
                  </a:cubicBezTo>
                  <a:lnTo>
                    <a:pt x="205077" y="8864"/>
                  </a:lnTo>
                  <a:lnTo>
                    <a:pt x="8864" y="8864"/>
                  </a:lnTo>
                  <a:lnTo>
                    <a:pt x="8864" y="258260"/>
                  </a:lnTo>
                  <a:lnTo>
                    <a:pt x="205077" y="258260"/>
                  </a:lnTo>
                  <a:lnTo>
                    <a:pt x="205077" y="156729"/>
                  </a:lnTo>
                  <a:cubicBezTo>
                    <a:pt x="205077" y="154311"/>
                    <a:pt x="207091" y="152297"/>
                    <a:pt x="209509" y="152297"/>
                  </a:cubicBezTo>
                  <a:cubicBezTo>
                    <a:pt x="211926" y="152297"/>
                    <a:pt x="213941" y="154311"/>
                    <a:pt x="213941" y="156729"/>
                  </a:cubicBezTo>
                  <a:lnTo>
                    <a:pt x="213941" y="262692"/>
                  </a:lnTo>
                  <a:cubicBezTo>
                    <a:pt x="213941" y="265109"/>
                    <a:pt x="211926" y="267124"/>
                    <a:pt x="209509" y="267124"/>
                  </a:cubicBezTo>
                  <a:close/>
                </a:path>
              </a:pathLst>
            </a:custGeom>
            <a:grpFill/>
            <a:ln w="4028" cap="flat">
              <a:noFill/>
              <a:prstDash val="solid"/>
              <a:miter/>
            </a:ln>
          </p:spPr>
          <p:txBody>
            <a:bodyPr rtlCol="0" anchor="ctr"/>
            <a:lstStyle/>
            <a:p>
              <a:endParaRPr lang="en-US"/>
            </a:p>
          </p:txBody>
        </p:sp>
        <p:grpSp>
          <p:nvGrpSpPr>
            <p:cNvPr id="406" name="Content Placeholder 5">
              <a:extLst>
                <a:ext uri="{FF2B5EF4-FFF2-40B4-BE49-F238E27FC236}">
                  <a16:creationId xmlns:a16="http://schemas.microsoft.com/office/drawing/2014/main" id="{3332BEF3-1A59-AEC0-05D7-FD6858C71CB2}"/>
                </a:ext>
              </a:extLst>
            </p:cNvPr>
            <p:cNvGrpSpPr/>
            <p:nvPr/>
          </p:nvGrpSpPr>
          <p:grpSpPr>
            <a:xfrm>
              <a:off x="3007973" y="3775498"/>
              <a:ext cx="117244" cy="133763"/>
              <a:chOff x="3007973" y="3775498"/>
              <a:chExt cx="117244" cy="133763"/>
            </a:xfrm>
            <a:grpFill/>
          </p:grpSpPr>
          <p:grpSp>
            <p:nvGrpSpPr>
              <p:cNvPr id="411" name="Content Placeholder 5">
                <a:extLst>
                  <a:ext uri="{FF2B5EF4-FFF2-40B4-BE49-F238E27FC236}">
                    <a16:creationId xmlns:a16="http://schemas.microsoft.com/office/drawing/2014/main" id="{E511B970-B951-CD6B-00D7-DCA4B3C64F77}"/>
                  </a:ext>
                </a:extLst>
              </p:cNvPr>
              <p:cNvGrpSpPr/>
              <p:nvPr/>
            </p:nvGrpSpPr>
            <p:grpSpPr>
              <a:xfrm>
                <a:off x="3007973" y="3775498"/>
                <a:ext cx="49556" cy="133763"/>
                <a:chOff x="3007973" y="3775498"/>
                <a:chExt cx="49556" cy="133763"/>
              </a:xfrm>
              <a:grpFill/>
            </p:grpSpPr>
            <p:sp>
              <p:nvSpPr>
                <p:cNvPr id="414" name="Freeform 217">
                  <a:extLst>
                    <a:ext uri="{FF2B5EF4-FFF2-40B4-BE49-F238E27FC236}">
                      <a16:creationId xmlns:a16="http://schemas.microsoft.com/office/drawing/2014/main" id="{A8BB6A19-016F-A843-8C68-1ADE37285736}"/>
                    </a:ext>
                  </a:extLst>
                </p:cNvPr>
                <p:cNvSpPr/>
                <p:nvPr/>
              </p:nvSpPr>
              <p:spPr>
                <a:xfrm>
                  <a:off x="3007973" y="3775498"/>
                  <a:ext cx="49556" cy="49556"/>
                </a:xfrm>
                <a:custGeom>
                  <a:avLst/>
                  <a:gdLst>
                    <a:gd name="connsiteX0" fmla="*/ 45125 w 49556"/>
                    <a:gd name="connsiteY0" fmla="*/ 49557 h 49556"/>
                    <a:gd name="connsiteX1" fmla="*/ 4432 w 49556"/>
                    <a:gd name="connsiteY1" fmla="*/ 49557 h 49556"/>
                    <a:gd name="connsiteX2" fmla="*/ 0 w 49556"/>
                    <a:gd name="connsiteY2" fmla="*/ 45125 h 49556"/>
                    <a:gd name="connsiteX3" fmla="*/ 0 w 49556"/>
                    <a:gd name="connsiteY3" fmla="*/ 4432 h 49556"/>
                    <a:gd name="connsiteX4" fmla="*/ 4432 w 49556"/>
                    <a:gd name="connsiteY4" fmla="*/ 0 h 49556"/>
                    <a:gd name="connsiteX5" fmla="*/ 45125 w 49556"/>
                    <a:gd name="connsiteY5" fmla="*/ 0 h 49556"/>
                    <a:gd name="connsiteX6" fmla="*/ 49557 w 49556"/>
                    <a:gd name="connsiteY6" fmla="*/ 4432 h 49556"/>
                    <a:gd name="connsiteX7" fmla="*/ 49557 w 49556"/>
                    <a:gd name="connsiteY7" fmla="*/ 45125 h 49556"/>
                    <a:gd name="connsiteX8" fmla="*/ 45125 w 49556"/>
                    <a:gd name="connsiteY8" fmla="*/ 49557 h 49556"/>
                    <a:gd name="connsiteX9" fmla="*/ 8864 w 49556"/>
                    <a:gd name="connsiteY9" fmla="*/ 41096 h 49556"/>
                    <a:gd name="connsiteX10" fmla="*/ 40693 w 49556"/>
                    <a:gd name="connsiteY10" fmla="*/ 41096 h 49556"/>
                    <a:gd name="connsiteX11" fmla="*/ 40693 w 49556"/>
                    <a:gd name="connsiteY11" fmla="*/ 9267 h 49556"/>
                    <a:gd name="connsiteX12" fmla="*/ 8864 w 49556"/>
                    <a:gd name="connsiteY12" fmla="*/ 9267 h 49556"/>
                    <a:gd name="connsiteX13" fmla="*/ 8864 w 49556"/>
                    <a:gd name="connsiteY13" fmla="*/ 41096 h 4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56" h="49556">
                      <a:moveTo>
                        <a:pt x="45125" y="49557"/>
                      </a:moveTo>
                      <a:lnTo>
                        <a:pt x="4432" y="49557"/>
                      </a:lnTo>
                      <a:cubicBezTo>
                        <a:pt x="2015" y="49557"/>
                        <a:pt x="0" y="47542"/>
                        <a:pt x="0" y="45125"/>
                      </a:cubicBezTo>
                      <a:lnTo>
                        <a:pt x="0" y="4432"/>
                      </a:lnTo>
                      <a:cubicBezTo>
                        <a:pt x="0" y="2015"/>
                        <a:pt x="2015" y="0"/>
                        <a:pt x="4432" y="0"/>
                      </a:cubicBezTo>
                      <a:lnTo>
                        <a:pt x="45125" y="0"/>
                      </a:lnTo>
                      <a:cubicBezTo>
                        <a:pt x="47542" y="0"/>
                        <a:pt x="49557" y="2015"/>
                        <a:pt x="49557" y="4432"/>
                      </a:cubicBezTo>
                      <a:lnTo>
                        <a:pt x="49557" y="45125"/>
                      </a:lnTo>
                      <a:cubicBezTo>
                        <a:pt x="49557" y="47945"/>
                        <a:pt x="47542" y="49557"/>
                        <a:pt x="45125" y="49557"/>
                      </a:cubicBezTo>
                      <a:close/>
                      <a:moveTo>
                        <a:pt x="8864" y="41096"/>
                      </a:moveTo>
                      <a:lnTo>
                        <a:pt x="40693" y="41096"/>
                      </a:lnTo>
                      <a:lnTo>
                        <a:pt x="40693" y="9267"/>
                      </a:lnTo>
                      <a:lnTo>
                        <a:pt x="8864" y="9267"/>
                      </a:lnTo>
                      <a:lnTo>
                        <a:pt x="8864" y="41096"/>
                      </a:lnTo>
                      <a:close/>
                    </a:path>
                  </a:pathLst>
                </a:custGeom>
                <a:grpFill/>
                <a:ln w="4028" cap="flat">
                  <a:noFill/>
                  <a:prstDash val="solid"/>
                  <a:miter/>
                </a:ln>
              </p:spPr>
              <p:txBody>
                <a:bodyPr rtlCol="0" anchor="ctr"/>
                <a:lstStyle/>
                <a:p>
                  <a:endParaRPr lang="en-US"/>
                </a:p>
              </p:txBody>
            </p:sp>
            <p:sp>
              <p:nvSpPr>
                <p:cNvPr id="415" name="Freeform 218">
                  <a:extLst>
                    <a:ext uri="{FF2B5EF4-FFF2-40B4-BE49-F238E27FC236}">
                      <a16:creationId xmlns:a16="http://schemas.microsoft.com/office/drawing/2014/main" id="{5828F02E-0CE6-B39B-BAEC-171C87E282B7}"/>
                    </a:ext>
                  </a:extLst>
                </p:cNvPr>
                <p:cNvSpPr/>
                <p:nvPr/>
              </p:nvSpPr>
              <p:spPr>
                <a:xfrm>
                  <a:off x="3007973" y="3859704"/>
                  <a:ext cx="49556" cy="49556"/>
                </a:xfrm>
                <a:custGeom>
                  <a:avLst/>
                  <a:gdLst>
                    <a:gd name="connsiteX0" fmla="*/ 45125 w 49556"/>
                    <a:gd name="connsiteY0" fmla="*/ 49557 h 49556"/>
                    <a:gd name="connsiteX1" fmla="*/ 4432 w 49556"/>
                    <a:gd name="connsiteY1" fmla="*/ 49557 h 49556"/>
                    <a:gd name="connsiteX2" fmla="*/ 0 w 49556"/>
                    <a:gd name="connsiteY2" fmla="*/ 45125 h 49556"/>
                    <a:gd name="connsiteX3" fmla="*/ 0 w 49556"/>
                    <a:gd name="connsiteY3" fmla="*/ 4432 h 49556"/>
                    <a:gd name="connsiteX4" fmla="*/ 4432 w 49556"/>
                    <a:gd name="connsiteY4" fmla="*/ 0 h 49556"/>
                    <a:gd name="connsiteX5" fmla="*/ 45125 w 49556"/>
                    <a:gd name="connsiteY5" fmla="*/ 0 h 49556"/>
                    <a:gd name="connsiteX6" fmla="*/ 49557 w 49556"/>
                    <a:gd name="connsiteY6" fmla="*/ 4432 h 49556"/>
                    <a:gd name="connsiteX7" fmla="*/ 49557 w 49556"/>
                    <a:gd name="connsiteY7" fmla="*/ 45125 h 49556"/>
                    <a:gd name="connsiteX8" fmla="*/ 45125 w 49556"/>
                    <a:gd name="connsiteY8" fmla="*/ 49557 h 49556"/>
                    <a:gd name="connsiteX9" fmla="*/ 8864 w 49556"/>
                    <a:gd name="connsiteY9" fmla="*/ 41096 h 49556"/>
                    <a:gd name="connsiteX10" fmla="*/ 40693 w 49556"/>
                    <a:gd name="connsiteY10" fmla="*/ 41096 h 49556"/>
                    <a:gd name="connsiteX11" fmla="*/ 40693 w 49556"/>
                    <a:gd name="connsiteY11" fmla="*/ 9267 h 49556"/>
                    <a:gd name="connsiteX12" fmla="*/ 8864 w 49556"/>
                    <a:gd name="connsiteY12" fmla="*/ 9267 h 49556"/>
                    <a:gd name="connsiteX13" fmla="*/ 8864 w 49556"/>
                    <a:gd name="connsiteY13" fmla="*/ 41096 h 4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56" h="49556">
                      <a:moveTo>
                        <a:pt x="45125" y="49557"/>
                      </a:moveTo>
                      <a:lnTo>
                        <a:pt x="4432" y="49557"/>
                      </a:lnTo>
                      <a:cubicBezTo>
                        <a:pt x="2015" y="49557"/>
                        <a:pt x="0" y="47542"/>
                        <a:pt x="0" y="45125"/>
                      </a:cubicBezTo>
                      <a:lnTo>
                        <a:pt x="0" y="4432"/>
                      </a:lnTo>
                      <a:cubicBezTo>
                        <a:pt x="0" y="2015"/>
                        <a:pt x="2015" y="0"/>
                        <a:pt x="4432" y="0"/>
                      </a:cubicBezTo>
                      <a:lnTo>
                        <a:pt x="45125" y="0"/>
                      </a:lnTo>
                      <a:cubicBezTo>
                        <a:pt x="47542" y="0"/>
                        <a:pt x="49557" y="2015"/>
                        <a:pt x="49557" y="4432"/>
                      </a:cubicBezTo>
                      <a:lnTo>
                        <a:pt x="49557" y="45125"/>
                      </a:lnTo>
                      <a:cubicBezTo>
                        <a:pt x="49557" y="47945"/>
                        <a:pt x="47542" y="49557"/>
                        <a:pt x="45125" y="49557"/>
                      </a:cubicBezTo>
                      <a:close/>
                      <a:moveTo>
                        <a:pt x="8864" y="41096"/>
                      </a:moveTo>
                      <a:lnTo>
                        <a:pt x="40693" y="41096"/>
                      </a:lnTo>
                      <a:lnTo>
                        <a:pt x="40693" y="9267"/>
                      </a:lnTo>
                      <a:lnTo>
                        <a:pt x="8864" y="9267"/>
                      </a:lnTo>
                      <a:lnTo>
                        <a:pt x="8864" y="41096"/>
                      </a:lnTo>
                      <a:close/>
                    </a:path>
                  </a:pathLst>
                </a:custGeom>
                <a:grpFill/>
                <a:ln w="4028" cap="flat">
                  <a:noFill/>
                  <a:prstDash val="solid"/>
                  <a:miter/>
                </a:ln>
              </p:spPr>
              <p:txBody>
                <a:bodyPr rtlCol="0" anchor="ctr"/>
                <a:lstStyle/>
                <a:p>
                  <a:endParaRPr lang="en-US"/>
                </a:p>
              </p:txBody>
            </p:sp>
          </p:grpSp>
          <p:sp>
            <p:nvSpPr>
              <p:cNvPr id="412" name="Freeform 215">
                <a:extLst>
                  <a:ext uri="{FF2B5EF4-FFF2-40B4-BE49-F238E27FC236}">
                    <a16:creationId xmlns:a16="http://schemas.microsoft.com/office/drawing/2014/main" id="{5B32E887-34C4-E670-BE45-74E6733D9CDD}"/>
                  </a:ext>
                </a:extLst>
              </p:cNvPr>
              <p:cNvSpPr/>
              <p:nvPr/>
            </p:nvSpPr>
            <p:spPr>
              <a:xfrm>
                <a:off x="3077273" y="3816191"/>
                <a:ext cx="47945" cy="8863"/>
              </a:xfrm>
              <a:custGeom>
                <a:avLst/>
                <a:gdLst>
                  <a:gd name="connsiteX0" fmla="*/ 43513 w 47945"/>
                  <a:gd name="connsiteY0" fmla="*/ 8864 h 8863"/>
                  <a:gd name="connsiteX1" fmla="*/ 4432 w 47945"/>
                  <a:gd name="connsiteY1" fmla="*/ 8864 h 8863"/>
                  <a:gd name="connsiteX2" fmla="*/ 0 w 47945"/>
                  <a:gd name="connsiteY2" fmla="*/ 4432 h 8863"/>
                  <a:gd name="connsiteX3" fmla="*/ 4432 w 47945"/>
                  <a:gd name="connsiteY3" fmla="*/ 0 h 8863"/>
                  <a:gd name="connsiteX4" fmla="*/ 43513 w 47945"/>
                  <a:gd name="connsiteY4" fmla="*/ 0 h 8863"/>
                  <a:gd name="connsiteX5" fmla="*/ 47945 w 47945"/>
                  <a:gd name="connsiteY5" fmla="*/ 4432 h 8863"/>
                  <a:gd name="connsiteX6" fmla="*/ 43513 w 47945"/>
                  <a:gd name="connsiteY6" fmla="*/ 8864 h 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945" h="8863">
                    <a:moveTo>
                      <a:pt x="43513" y="8864"/>
                    </a:moveTo>
                    <a:lnTo>
                      <a:pt x="4432" y="8864"/>
                    </a:lnTo>
                    <a:cubicBezTo>
                      <a:pt x="2015" y="8864"/>
                      <a:pt x="0" y="6849"/>
                      <a:pt x="0" y="4432"/>
                    </a:cubicBezTo>
                    <a:cubicBezTo>
                      <a:pt x="0" y="2015"/>
                      <a:pt x="2015" y="0"/>
                      <a:pt x="4432" y="0"/>
                    </a:cubicBezTo>
                    <a:lnTo>
                      <a:pt x="43513" y="0"/>
                    </a:lnTo>
                    <a:cubicBezTo>
                      <a:pt x="45931" y="0"/>
                      <a:pt x="47945" y="2015"/>
                      <a:pt x="47945" y="4432"/>
                    </a:cubicBezTo>
                    <a:cubicBezTo>
                      <a:pt x="47542" y="7252"/>
                      <a:pt x="45931" y="8864"/>
                      <a:pt x="43513" y="8864"/>
                    </a:cubicBezTo>
                    <a:close/>
                  </a:path>
                </a:pathLst>
              </a:custGeom>
              <a:grpFill/>
              <a:ln w="4028" cap="flat">
                <a:noFill/>
                <a:prstDash val="solid"/>
                <a:miter/>
              </a:ln>
            </p:spPr>
            <p:txBody>
              <a:bodyPr rtlCol="0" anchor="ctr"/>
              <a:lstStyle/>
              <a:p>
                <a:endParaRPr lang="en-US"/>
              </a:p>
            </p:txBody>
          </p:sp>
          <p:sp>
            <p:nvSpPr>
              <p:cNvPr id="413" name="Freeform 216">
                <a:extLst>
                  <a:ext uri="{FF2B5EF4-FFF2-40B4-BE49-F238E27FC236}">
                    <a16:creationId xmlns:a16="http://schemas.microsoft.com/office/drawing/2014/main" id="{3B86343D-7C0B-46E2-698F-F1786CA25DC5}"/>
                  </a:ext>
                </a:extLst>
              </p:cNvPr>
              <p:cNvSpPr/>
              <p:nvPr/>
            </p:nvSpPr>
            <p:spPr>
              <a:xfrm>
                <a:off x="3077273" y="3900397"/>
                <a:ext cx="47945" cy="8863"/>
              </a:xfrm>
              <a:custGeom>
                <a:avLst/>
                <a:gdLst>
                  <a:gd name="connsiteX0" fmla="*/ 43513 w 47945"/>
                  <a:gd name="connsiteY0" fmla="*/ 8864 h 8863"/>
                  <a:gd name="connsiteX1" fmla="*/ 4432 w 47945"/>
                  <a:gd name="connsiteY1" fmla="*/ 8864 h 8863"/>
                  <a:gd name="connsiteX2" fmla="*/ 0 w 47945"/>
                  <a:gd name="connsiteY2" fmla="*/ 4432 h 8863"/>
                  <a:gd name="connsiteX3" fmla="*/ 4432 w 47945"/>
                  <a:gd name="connsiteY3" fmla="*/ 0 h 8863"/>
                  <a:gd name="connsiteX4" fmla="*/ 43513 w 47945"/>
                  <a:gd name="connsiteY4" fmla="*/ 0 h 8863"/>
                  <a:gd name="connsiteX5" fmla="*/ 47945 w 47945"/>
                  <a:gd name="connsiteY5" fmla="*/ 4432 h 8863"/>
                  <a:gd name="connsiteX6" fmla="*/ 43513 w 47945"/>
                  <a:gd name="connsiteY6" fmla="*/ 8864 h 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945" h="8863">
                    <a:moveTo>
                      <a:pt x="43513" y="8864"/>
                    </a:moveTo>
                    <a:lnTo>
                      <a:pt x="4432" y="8864"/>
                    </a:lnTo>
                    <a:cubicBezTo>
                      <a:pt x="2015" y="8864"/>
                      <a:pt x="0" y="6849"/>
                      <a:pt x="0" y="4432"/>
                    </a:cubicBezTo>
                    <a:cubicBezTo>
                      <a:pt x="0" y="2015"/>
                      <a:pt x="2015" y="0"/>
                      <a:pt x="4432" y="0"/>
                    </a:cubicBezTo>
                    <a:lnTo>
                      <a:pt x="43513" y="0"/>
                    </a:lnTo>
                    <a:cubicBezTo>
                      <a:pt x="45931" y="0"/>
                      <a:pt x="47945" y="2015"/>
                      <a:pt x="47945" y="4432"/>
                    </a:cubicBezTo>
                    <a:cubicBezTo>
                      <a:pt x="47542" y="7252"/>
                      <a:pt x="45931" y="8864"/>
                      <a:pt x="43513" y="8864"/>
                    </a:cubicBezTo>
                    <a:close/>
                  </a:path>
                </a:pathLst>
              </a:custGeom>
              <a:grpFill/>
              <a:ln w="4028" cap="flat">
                <a:noFill/>
                <a:prstDash val="solid"/>
                <a:miter/>
              </a:ln>
            </p:spPr>
            <p:txBody>
              <a:bodyPr rtlCol="0" anchor="ctr"/>
              <a:lstStyle/>
              <a:p>
                <a:endParaRPr lang="en-US"/>
              </a:p>
            </p:txBody>
          </p:sp>
        </p:grpSp>
        <p:grpSp>
          <p:nvGrpSpPr>
            <p:cNvPr id="407" name="Content Placeholder 5">
              <a:extLst>
                <a:ext uri="{FF2B5EF4-FFF2-40B4-BE49-F238E27FC236}">
                  <a16:creationId xmlns:a16="http://schemas.microsoft.com/office/drawing/2014/main" id="{2FD02FB5-17A1-5191-8F05-4E3ABC6443B6}"/>
                </a:ext>
              </a:extLst>
            </p:cNvPr>
            <p:cNvGrpSpPr/>
            <p:nvPr/>
          </p:nvGrpSpPr>
          <p:grpSpPr>
            <a:xfrm>
              <a:off x="3116203" y="3722718"/>
              <a:ext cx="164937" cy="165592"/>
              <a:chOff x="3116203" y="3722718"/>
              <a:chExt cx="164937" cy="165592"/>
            </a:xfrm>
            <a:grpFill/>
          </p:grpSpPr>
          <p:sp>
            <p:nvSpPr>
              <p:cNvPr id="408" name="Freeform 211">
                <a:extLst>
                  <a:ext uri="{FF2B5EF4-FFF2-40B4-BE49-F238E27FC236}">
                    <a16:creationId xmlns:a16="http://schemas.microsoft.com/office/drawing/2014/main" id="{DF4F9312-911F-58A8-2B3E-62CB1FAC9FFA}"/>
                  </a:ext>
                </a:extLst>
              </p:cNvPr>
              <p:cNvSpPr/>
              <p:nvPr/>
            </p:nvSpPr>
            <p:spPr>
              <a:xfrm>
                <a:off x="3116203" y="3745280"/>
                <a:ext cx="142778" cy="143030"/>
              </a:xfrm>
              <a:custGeom>
                <a:avLst/>
                <a:gdLst>
                  <a:gd name="connsiteX0" fmla="*/ 4583 w 142778"/>
                  <a:gd name="connsiteY0" fmla="*/ 142627 h 143030"/>
                  <a:gd name="connsiteX1" fmla="*/ 1360 w 142778"/>
                  <a:gd name="connsiteY1" fmla="*/ 141419 h 143030"/>
                  <a:gd name="connsiteX2" fmla="*/ 151 w 142778"/>
                  <a:gd name="connsiteY2" fmla="*/ 136987 h 143030"/>
                  <a:gd name="connsiteX3" fmla="*/ 12641 w 142778"/>
                  <a:gd name="connsiteY3" fmla="*/ 94682 h 143030"/>
                  <a:gd name="connsiteX4" fmla="*/ 13850 w 142778"/>
                  <a:gd name="connsiteY4" fmla="*/ 92668 h 143030"/>
                  <a:gd name="connsiteX5" fmla="*/ 105308 w 142778"/>
                  <a:gd name="connsiteY5" fmla="*/ 1209 h 143030"/>
                  <a:gd name="connsiteX6" fmla="*/ 111352 w 142778"/>
                  <a:gd name="connsiteY6" fmla="*/ 1209 h 143030"/>
                  <a:gd name="connsiteX7" fmla="*/ 141570 w 142778"/>
                  <a:gd name="connsiteY7" fmla="*/ 31426 h 143030"/>
                  <a:gd name="connsiteX8" fmla="*/ 141570 w 142778"/>
                  <a:gd name="connsiteY8" fmla="*/ 37470 h 143030"/>
                  <a:gd name="connsiteX9" fmla="*/ 50111 w 142778"/>
                  <a:gd name="connsiteY9" fmla="*/ 129331 h 143030"/>
                  <a:gd name="connsiteX10" fmla="*/ 48096 w 142778"/>
                  <a:gd name="connsiteY10" fmla="*/ 130540 h 143030"/>
                  <a:gd name="connsiteX11" fmla="*/ 5792 w 142778"/>
                  <a:gd name="connsiteY11" fmla="*/ 143030 h 143030"/>
                  <a:gd name="connsiteX12" fmla="*/ 4583 w 142778"/>
                  <a:gd name="connsiteY12" fmla="*/ 142627 h 143030"/>
                  <a:gd name="connsiteX13" fmla="*/ 20699 w 142778"/>
                  <a:gd name="connsiteY13" fmla="*/ 98308 h 143030"/>
                  <a:gd name="connsiteX14" fmla="*/ 11029 w 142778"/>
                  <a:gd name="connsiteY14" fmla="*/ 132152 h 143030"/>
                  <a:gd name="connsiteX15" fmla="*/ 44873 w 142778"/>
                  <a:gd name="connsiteY15" fmla="*/ 122482 h 143030"/>
                  <a:gd name="connsiteX16" fmla="*/ 132303 w 142778"/>
                  <a:gd name="connsiteY16" fmla="*/ 35052 h 143030"/>
                  <a:gd name="connsiteX17" fmla="*/ 108532 w 142778"/>
                  <a:gd name="connsiteY17" fmla="*/ 11281 h 143030"/>
                  <a:gd name="connsiteX18" fmla="*/ 20699 w 142778"/>
                  <a:gd name="connsiteY18" fmla="*/ 98308 h 14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2778" h="143030">
                    <a:moveTo>
                      <a:pt x="4583" y="142627"/>
                    </a:moveTo>
                    <a:cubicBezTo>
                      <a:pt x="3374" y="142627"/>
                      <a:pt x="2166" y="142224"/>
                      <a:pt x="1360" y="141419"/>
                    </a:cubicBezTo>
                    <a:cubicBezTo>
                      <a:pt x="151" y="140210"/>
                      <a:pt x="-252" y="138598"/>
                      <a:pt x="151" y="136987"/>
                    </a:cubicBezTo>
                    <a:lnTo>
                      <a:pt x="12641" y="94682"/>
                    </a:lnTo>
                    <a:cubicBezTo>
                      <a:pt x="13044" y="93876"/>
                      <a:pt x="13044" y="93473"/>
                      <a:pt x="13850" y="92668"/>
                    </a:cubicBezTo>
                    <a:lnTo>
                      <a:pt x="105308" y="1209"/>
                    </a:lnTo>
                    <a:cubicBezTo>
                      <a:pt x="106920" y="-403"/>
                      <a:pt x="109740" y="-403"/>
                      <a:pt x="111352" y="1209"/>
                    </a:cubicBezTo>
                    <a:lnTo>
                      <a:pt x="141570" y="31426"/>
                    </a:lnTo>
                    <a:cubicBezTo>
                      <a:pt x="143181" y="33038"/>
                      <a:pt x="143181" y="35858"/>
                      <a:pt x="141570" y="37470"/>
                    </a:cubicBezTo>
                    <a:lnTo>
                      <a:pt x="50111" y="129331"/>
                    </a:lnTo>
                    <a:cubicBezTo>
                      <a:pt x="49708" y="129734"/>
                      <a:pt x="48902" y="130137"/>
                      <a:pt x="48096" y="130540"/>
                    </a:cubicBezTo>
                    <a:lnTo>
                      <a:pt x="5792" y="143030"/>
                    </a:lnTo>
                    <a:cubicBezTo>
                      <a:pt x="5389" y="142627"/>
                      <a:pt x="4986" y="142627"/>
                      <a:pt x="4583" y="142627"/>
                    </a:cubicBezTo>
                    <a:close/>
                    <a:moveTo>
                      <a:pt x="20699" y="98308"/>
                    </a:moveTo>
                    <a:lnTo>
                      <a:pt x="11029" y="132152"/>
                    </a:lnTo>
                    <a:lnTo>
                      <a:pt x="44873" y="122482"/>
                    </a:lnTo>
                    <a:lnTo>
                      <a:pt x="132303" y="35052"/>
                    </a:lnTo>
                    <a:lnTo>
                      <a:pt x="108532" y="11281"/>
                    </a:lnTo>
                    <a:lnTo>
                      <a:pt x="20699" y="98308"/>
                    </a:lnTo>
                    <a:close/>
                  </a:path>
                </a:pathLst>
              </a:custGeom>
              <a:grpFill/>
              <a:ln w="4028" cap="flat">
                <a:noFill/>
                <a:prstDash val="solid"/>
                <a:miter/>
              </a:ln>
            </p:spPr>
            <p:txBody>
              <a:bodyPr rtlCol="0" anchor="ctr"/>
              <a:lstStyle/>
              <a:p>
                <a:endParaRPr lang="en-US"/>
              </a:p>
            </p:txBody>
          </p:sp>
          <p:sp>
            <p:nvSpPr>
              <p:cNvPr id="409" name="Freeform 212">
                <a:extLst>
                  <a:ext uri="{FF2B5EF4-FFF2-40B4-BE49-F238E27FC236}">
                    <a16:creationId xmlns:a16="http://schemas.microsoft.com/office/drawing/2014/main" id="{686D0E6A-CB0A-7A76-851F-776B506DD94E}"/>
                  </a:ext>
                </a:extLst>
              </p:cNvPr>
              <p:cNvSpPr/>
              <p:nvPr/>
            </p:nvSpPr>
            <p:spPr>
              <a:xfrm>
                <a:off x="3128441" y="3837142"/>
                <a:ext cx="38678" cy="38678"/>
              </a:xfrm>
              <a:custGeom>
                <a:avLst/>
                <a:gdLst>
                  <a:gd name="connsiteX0" fmla="*/ 34650 w 38678"/>
                  <a:gd name="connsiteY0" fmla="*/ 38679 h 38678"/>
                  <a:gd name="connsiteX1" fmla="*/ 31426 w 38678"/>
                  <a:gd name="connsiteY1" fmla="*/ 37470 h 38678"/>
                  <a:gd name="connsiteX2" fmla="*/ 1209 w 38678"/>
                  <a:gd name="connsiteY2" fmla="*/ 7252 h 38678"/>
                  <a:gd name="connsiteX3" fmla="*/ 1209 w 38678"/>
                  <a:gd name="connsiteY3" fmla="*/ 1209 h 38678"/>
                  <a:gd name="connsiteX4" fmla="*/ 7252 w 38678"/>
                  <a:gd name="connsiteY4" fmla="*/ 1209 h 38678"/>
                  <a:gd name="connsiteX5" fmla="*/ 37470 w 38678"/>
                  <a:gd name="connsiteY5" fmla="*/ 31426 h 38678"/>
                  <a:gd name="connsiteX6" fmla="*/ 37470 w 38678"/>
                  <a:gd name="connsiteY6" fmla="*/ 37470 h 38678"/>
                  <a:gd name="connsiteX7" fmla="*/ 34650 w 38678"/>
                  <a:gd name="connsiteY7" fmla="*/ 38679 h 3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78" h="38678">
                    <a:moveTo>
                      <a:pt x="34650" y="38679"/>
                    </a:moveTo>
                    <a:cubicBezTo>
                      <a:pt x="33441" y="38679"/>
                      <a:pt x="32232" y="38276"/>
                      <a:pt x="31426" y="37470"/>
                    </a:cubicBezTo>
                    <a:lnTo>
                      <a:pt x="1209" y="7252"/>
                    </a:lnTo>
                    <a:cubicBezTo>
                      <a:pt x="-403" y="5641"/>
                      <a:pt x="-403" y="2820"/>
                      <a:pt x="1209" y="1209"/>
                    </a:cubicBezTo>
                    <a:cubicBezTo>
                      <a:pt x="2820" y="-403"/>
                      <a:pt x="5641" y="-403"/>
                      <a:pt x="7252" y="1209"/>
                    </a:cubicBezTo>
                    <a:lnTo>
                      <a:pt x="37470" y="31426"/>
                    </a:lnTo>
                    <a:cubicBezTo>
                      <a:pt x="39081" y="33038"/>
                      <a:pt x="39081" y="35858"/>
                      <a:pt x="37470" y="37470"/>
                    </a:cubicBezTo>
                    <a:cubicBezTo>
                      <a:pt x="37067" y="38276"/>
                      <a:pt x="35858" y="38679"/>
                      <a:pt x="34650" y="38679"/>
                    </a:cubicBezTo>
                    <a:close/>
                  </a:path>
                </a:pathLst>
              </a:custGeom>
              <a:grpFill/>
              <a:ln w="4028" cap="flat">
                <a:noFill/>
                <a:prstDash val="solid"/>
                <a:miter/>
              </a:ln>
            </p:spPr>
            <p:txBody>
              <a:bodyPr rtlCol="0" anchor="ctr"/>
              <a:lstStyle/>
              <a:p>
                <a:endParaRPr lang="en-US"/>
              </a:p>
            </p:txBody>
          </p:sp>
          <p:sp>
            <p:nvSpPr>
              <p:cNvPr id="410" name="Freeform 213">
                <a:extLst>
                  <a:ext uri="{FF2B5EF4-FFF2-40B4-BE49-F238E27FC236}">
                    <a16:creationId xmlns:a16="http://schemas.microsoft.com/office/drawing/2014/main" id="{D9A50109-9499-7B5C-ACCF-B396F1E9E0BB}"/>
                  </a:ext>
                </a:extLst>
              </p:cNvPr>
              <p:cNvSpPr/>
              <p:nvPr/>
            </p:nvSpPr>
            <p:spPr>
              <a:xfrm>
                <a:off x="3219900" y="3722718"/>
                <a:ext cx="61241" cy="61643"/>
              </a:xfrm>
              <a:custGeom>
                <a:avLst/>
                <a:gdLst>
                  <a:gd name="connsiteX0" fmla="*/ 34650 w 61241"/>
                  <a:gd name="connsiteY0" fmla="*/ 61644 h 61643"/>
                  <a:gd name="connsiteX1" fmla="*/ 31426 w 61241"/>
                  <a:gd name="connsiteY1" fmla="*/ 60435 h 61643"/>
                  <a:gd name="connsiteX2" fmla="*/ 1209 w 61241"/>
                  <a:gd name="connsiteY2" fmla="*/ 30218 h 61643"/>
                  <a:gd name="connsiteX3" fmla="*/ 0 w 61241"/>
                  <a:gd name="connsiteY3" fmla="*/ 26994 h 61643"/>
                  <a:gd name="connsiteX4" fmla="*/ 1209 w 61241"/>
                  <a:gd name="connsiteY4" fmla="*/ 23771 h 61643"/>
                  <a:gd name="connsiteX5" fmla="*/ 23771 w 61241"/>
                  <a:gd name="connsiteY5" fmla="*/ 1209 h 61643"/>
                  <a:gd name="connsiteX6" fmla="*/ 29815 w 61241"/>
                  <a:gd name="connsiteY6" fmla="*/ 1209 h 61643"/>
                  <a:gd name="connsiteX7" fmla="*/ 60032 w 61241"/>
                  <a:gd name="connsiteY7" fmla="*/ 31426 h 61643"/>
                  <a:gd name="connsiteX8" fmla="*/ 61241 w 61241"/>
                  <a:gd name="connsiteY8" fmla="*/ 34650 h 61643"/>
                  <a:gd name="connsiteX9" fmla="*/ 60032 w 61241"/>
                  <a:gd name="connsiteY9" fmla="*/ 37873 h 61643"/>
                  <a:gd name="connsiteX10" fmla="*/ 37470 w 61241"/>
                  <a:gd name="connsiteY10" fmla="*/ 60435 h 61643"/>
                  <a:gd name="connsiteX11" fmla="*/ 34650 w 61241"/>
                  <a:gd name="connsiteY11" fmla="*/ 61644 h 61643"/>
                  <a:gd name="connsiteX12" fmla="*/ 10475 w 61241"/>
                  <a:gd name="connsiteY12" fmla="*/ 26994 h 61643"/>
                  <a:gd name="connsiteX13" fmla="*/ 34247 w 61241"/>
                  <a:gd name="connsiteY13" fmla="*/ 50766 h 61643"/>
                  <a:gd name="connsiteX14" fmla="*/ 50766 w 61241"/>
                  <a:gd name="connsiteY14" fmla="*/ 34247 h 61643"/>
                  <a:gd name="connsiteX15" fmla="*/ 26994 w 61241"/>
                  <a:gd name="connsiteY15" fmla="*/ 10475 h 61643"/>
                  <a:gd name="connsiteX16" fmla="*/ 10475 w 61241"/>
                  <a:gd name="connsiteY16" fmla="*/ 26994 h 6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241" h="61643">
                    <a:moveTo>
                      <a:pt x="34650" y="61644"/>
                    </a:moveTo>
                    <a:cubicBezTo>
                      <a:pt x="33441" y="61644"/>
                      <a:pt x="32232" y="61241"/>
                      <a:pt x="31426" y="60435"/>
                    </a:cubicBezTo>
                    <a:lnTo>
                      <a:pt x="1209" y="30218"/>
                    </a:lnTo>
                    <a:cubicBezTo>
                      <a:pt x="403" y="29412"/>
                      <a:pt x="0" y="28203"/>
                      <a:pt x="0" y="26994"/>
                    </a:cubicBezTo>
                    <a:cubicBezTo>
                      <a:pt x="0" y="25786"/>
                      <a:pt x="403" y="24577"/>
                      <a:pt x="1209" y="23771"/>
                    </a:cubicBezTo>
                    <a:lnTo>
                      <a:pt x="23771" y="1209"/>
                    </a:lnTo>
                    <a:cubicBezTo>
                      <a:pt x="25383" y="-403"/>
                      <a:pt x="28203" y="-403"/>
                      <a:pt x="29815" y="1209"/>
                    </a:cubicBezTo>
                    <a:lnTo>
                      <a:pt x="60032" y="31426"/>
                    </a:lnTo>
                    <a:cubicBezTo>
                      <a:pt x="60838" y="32232"/>
                      <a:pt x="61241" y="33441"/>
                      <a:pt x="61241" y="34650"/>
                    </a:cubicBezTo>
                    <a:cubicBezTo>
                      <a:pt x="61241" y="35858"/>
                      <a:pt x="60838" y="37067"/>
                      <a:pt x="60032" y="37873"/>
                    </a:cubicBezTo>
                    <a:lnTo>
                      <a:pt x="37470" y="60435"/>
                    </a:lnTo>
                    <a:cubicBezTo>
                      <a:pt x="36664" y="61241"/>
                      <a:pt x="35858" y="61644"/>
                      <a:pt x="34650" y="61644"/>
                    </a:cubicBezTo>
                    <a:close/>
                    <a:moveTo>
                      <a:pt x="10475" y="26994"/>
                    </a:moveTo>
                    <a:lnTo>
                      <a:pt x="34247" y="50766"/>
                    </a:lnTo>
                    <a:lnTo>
                      <a:pt x="50766" y="34247"/>
                    </a:lnTo>
                    <a:lnTo>
                      <a:pt x="26994" y="10475"/>
                    </a:lnTo>
                    <a:lnTo>
                      <a:pt x="10475" y="26994"/>
                    </a:lnTo>
                    <a:close/>
                  </a:path>
                </a:pathLst>
              </a:custGeom>
              <a:grpFill/>
              <a:ln w="4028" cap="flat">
                <a:noFill/>
                <a:prstDash val="solid"/>
                <a:miter/>
              </a:ln>
            </p:spPr>
            <p:txBody>
              <a:bodyPr rtlCol="0" anchor="ctr"/>
              <a:lstStyle/>
              <a:p>
                <a:endParaRPr lang="en-US"/>
              </a:p>
            </p:txBody>
          </p:sp>
        </p:grpSp>
      </p:grpSp>
      <p:grpSp>
        <p:nvGrpSpPr>
          <p:cNvPr id="416" name="Content Placeholder 5">
            <a:extLst>
              <a:ext uri="{FF2B5EF4-FFF2-40B4-BE49-F238E27FC236}">
                <a16:creationId xmlns:a16="http://schemas.microsoft.com/office/drawing/2014/main" id="{A6C2D0B3-EC6F-43A3-F72C-C2ECA504A490}"/>
              </a:ext>
            </a:extLst>
          </p:cNvPr>
          <p:cNvGrpSpPr/>
          <p:nvPr/>
        </p:nvGrpSpPr>
        <p:grpSpPr>
          <a:xfrm>
            <a:off x="9315812" y="4149866"/>
            <a:ext cx="464033" cy="504680"/>
            <a:chOff x="4605881" y="3687262"/>
            <a:chExt cx="298953" cy="325141"/>
          </a:xfrm>
          <a:solidFill>
            <a:schemeClr val="accent2">
              <a:lumMod val="60000"/>
              <a:lumOff val="40000"/>
            </a:schemeClr>
          </a:solidFill>
        </p:grpSpPr>
        <p:grpSp>
          <p:nvGrpSpPr>
            <p:cNvPr id="417" name="Content Placeholder 5">
              <a:extLst>
                <a:ext uri="{FF2B5EF4-FFF2-40B4-BE49-F238E27FC236}">
                  <a16:creationId xmlns:a16="http://schemas.microsoft.com/office/drawing/2014/main" id="{8B9B9C33-B03D-50F0-BD00-76E9ECA3383A}"/>
                </a:ext>
              </a:extLst>
            </p:cNvPr>
            <p:cNvGrpSpPr/>
            <p:nvPr/>
          </p:nvGrpSpPr>
          <p:grpSpPr>
            <a:xfrm>
              <a:off x="4605881" y="3778721"/>
              <a:ext cx="298953" cy="141821"/>
              <a:chOff x="4605881" y="3778721"/>
              <a:chExt cx="298953" cy="141821"/>
            </a:xfrm>
            <a:grpFill/>
          </p:grpSpPr>
          <p:grpSp>
            <p:nvGrpSpPr>
              <p:cNvPr id="425" name="Content Placeholder 5">
                <a:extLst>
                  <a:ext uri="{FF2B5EF4-FFF2-40B4-BE49-F238E27FC236}">
                    <a16:creationId xmlns:a16="http://schemas.microsoft.com/office/drawing/2014/main" id="{3B5E718D-B7A3-D94A-83F8-A29D449A45AF}"/>
                  </a:ext>
                </a:extLst>
              </p:cNvPr>
              <p:cNvGrpSpPr/>
              <p:nvPr/>
            </p:nvGrpSpPr>
            <p:grpSpPr>
              <a:xfrm>
                <a:off x="4733010" y="3804507"/>
                <a:ext cx="45122" cy="90652"/>
                <a:chOff x="4733010" y="3804507"/>
                <a:chExt cx="45122" cy="90652"/>
              </a:xfrm>
              <a:grpFill/>
            </p:grpSpPr>
            <p:sp>
              <p:nvSpPr>
                <p:cNvPr id="433" name="Freeform 236">
                  <a:extLst>
                    <a:ext uri="{FF2B5EF4-FFF2-40B4-BE49-F238E27FC236}">
                      <a16:creationId xmlns:a16="http://schemas.microsoft.com/office/drawing/2014/main" id="{3976FD6E-D7DF-0F97-AFC0-2B6C0D1EC623}"/>
                    </a:ext>
                  </a:extLst>
                </p:cNvPr>
                <p:cNvSpPr/>
                <p:nvPr/>
              </p:nvSpPr>
              <p:spPr>
                <a:xfrm>
                  <a:off x="4733010" y="3816997"/>
                  <a:ext cx="45122" cy="65270"/>
                </a:xfrm>
                <a:custGeom>
                  <a:avLst/>
                  <a:gdLst>
                    <a:gd name="connsiteX0" fmla="*/ 21945 w 45122"/>
                    <a:gd name="connsiteY0" fmla="*/ 65270 h 65270"/>
                    <a:gd name="connsiteX1" fmla="*/ 994 w 45122"/>
                    <a:gd name="connsiteY1" fmla="*/ 54795 h 65270"/>
                    <a:gd name="connsiteX2" fmla="*/ 1800 w 45122"/>
                    <a:gd name="connsiteY2" fmla="*/ 48751 h 65270"/>
                    <a:gd name="connsiteX3" fmla="*/ 7844 w 45122"/>
                    <a:gd name="connsiteY3" fmla="*/ 49557 h 65270"/>
                    <a:gd name="connsiteX4" fmla="*/ 30809 w 45122"/>
                    <a:gd name="connsiteY4" fmla="*/ 54795 h 65270"/>
                    <a:gd name="connsiteX5" fmla="*/ 31212 w 45122"/>
                    <a:gd name="connsiteY5" fmla="*/ 54795 h 65270"/>
                    <a:gd name="connsiteX6" fmla="*/ 35644 w 45122"/>
                    <a:gd name="connsiteY6" fmla="*/ 46334 h 65270"/>
                    <a:gd name="connsiteX7" fmla="*/ 28795 w 45122"/>
                    <a:gd name="connsiteY7" fmla="*/ 37873 h 65270"/>
                    <a:gd name="connsiteX8" fmla="*/ 13887 w 45122"/>
                    <a:gd name="connsiteY8" fmla="*/ 33441 h 65270"/>
                    <a:gd name="connsiteX9" fmla="*/ 994 w 45122"/>
                    <a:gd name="connsiteY9" fmla="*/ 16922 h 65270"/>
                    <a:gd name="connsiteX10" fmla="*/ 23557 w 45122"/>
                    <a:gd name="connsiteY10" fmla="*/ 0 h 65270"/>
                    <a:gd name="connsiteX11" fmla="*/ 44911 w 45122"/>
                    <a:gd name="connsiteY11" fmla="*/ 14907 h 65270"/>
                    <a:gd name="connsiteX12" fmla="*/ 42090 w 45122"/>
                    <a:gd name="connsiteY12" fmla="*/ 20145 h 65270"/>
                    <a:gd name="connsiteX13" fmla="*/ 36853 w 45122"/>
                    <a:gd name="connsiteY13" fmla="*/ 17325 h 65270"/>
                    <a:gd name="connsiteX14" fmla="*/ 23557 w 45122"/>
                    <a:gd name="connsiteY14" fmla="*/ 8864 h 65270"/>
                    <a:gd name="connsiteX15" fmla="*/ 9858 w 45122"/>
                    <a:gd name="connsiteY15" fmla="*/ 16922 h 65270"/>
                    <a:gd name="connsiteX16" fmla="*/ 16708 w 45122"/>
                    <a:gd name="connsiteY16" fmla="*/ 24980 h 65270"/>
                    <a:gd name="connsiteX17" fmla="*/ 31615 w 45122"/>
                    <a:gd name="connsiteY17" fmla="*/ 29412 h 65270"/>
                    <a:gd name="connsiteX18" fmla="*/ 44911 w 45122"/>
                    <a:gd name="connsiteY18" fmla="*/ 45528 h 65270"/>
                    <a:gd name="connsiteX19" fmla="*/ 35241 w 45122"/>
                    <a:gd name="connsiteY19" fmla="*/ 62853 h 65270"/>
                    <a:gd name="connsiteX20" fmla="*/ 21945 w 45122"/>
                    <a:gd name="connsiteY20" fmla="*/ 65270 h 65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122" h="65270">
                      <a:moveTo>
                        <a:pt x="21945" y="65270"/>
                      </a:moveTo>
                      <a:cubicBezTo>
                        <a:pt x="15096" y="65270"/>
                        <a:pt x="7441" y="62853"/>
                        <a:pt x="994" y="54795"/>
                      </a:cubicBezTo>
                      <a:cubicBezTo>
                        <a:pt x="-617" y="52780"/>
                        <a:pt x="-214" y="49960"/>
                        <a:pt x="1800" y="48751"/>
                      </a:cubicBezTo>
                      <a:cubicBezTo>
                        <a:pt x="3815" y="47140"/>
                        <a:pt x="6635" y="47542"/>
                        <a:pt x="7844" y="49557"/>
                      </a:cubicBezTo>
                      <a:cubicBezTo>
                        <a:pt x="16708" y="61241"/>
                        <a:pt x="29197" y="55198"/>
                        <a:pt x="30809" y="54795"/>
                      </a:cubicBezTo>
                      <a:cubicBezTo>
                        <a:pt x="30809" y="54795"/>
                        <a:pt x="31212" y="54795"/>
                        <a:pt x="31212" y="54795"/>
                      </a:cubicBezTo>
                      <a:cubicBezTo>
                        <a:pt x="31615" y="54795"/>
                        <a:pt x="36047" y="52377"/>
                        <a:pt x="35644" y="46334"/>
                      </a:cubicBezTo>
                      <a:cubicBezTo>
                        <a:pt x="34838" y="39484"/>
                        <a:pt x="28795" y="37873"/>
                        <a:pt x="28795" y="37873"/>
                      </a:cubicBezTo>
                      <a:lnTo>
                        <a:pt x="13887" y="33441"/>
                      </a:lnTo>
                      <a:cubicBezTo>
                        <a:pt x="3009" y="30218"/>
                        <a:pt x="994" y="22562"/>
                        <a:pt x="994" y="16922"/>
                      </a:cubicBezTo>
                      <a:cubicBezTo>
                        <a:pt x="994" y="12893"/>
                        <a:pt x="3009" y="0"/>
                        <a:pt x="23557" y="0"/>
                      </a:cubicBezTo>
                      <a:cubicBezTo>
                        <a:pt x="37256" y="0"/>
                        <a:pt x="43702" y="9669"/>
                        <a:pt x="44911" y="14907"/>
                      </a:cubicBezTo>
                      <a:cubicBezTo>
                        <a:pt x="45717" y="17325"/>
                        <a:pt x="44105" y="19742"/>
                        <a:pt x="42090" y="20145"/>
                      </a:cubicBezTo>
                      <a:cubicBezTo>
                        <a:pt x="39673" y="20951"/>
                        <a:pt x="37256" y="19339"/>
                        <a:pt x="36853" y="17325"/>
                      </a:cubicBezTo>
                      <a:cubicBezTo>
                        <a:pt x="36450" y="16519"/>
                        <a:pt x="34032" y="8864"/>
                        <a:pt x="23557" y="8864"/>
                      </a:cubicBezTo>
                      <a:cubicBezTo>
                        <a:pt x="14693" y="8864"/>
                        <a:pt x="10261" y="11684"/>
                        <a:pt x="9858" y="16922"/>
                      </a:cubicBezTo>
                      <a:cubicBezTo>
                        <a:pt x="9858" y="20145"/>
                        <a:pt x="10664" y="23368"/>
                        <a:pt x="16708" y="24980"/>
                      </a:cubicBezTo>
                      <a:lnTo>
                        <a:pt x="31615" y="29412"/>
                      </a:lnTo>
                      <a:cubicBezTo>
                        <a:pt x="32018" y="29412"/>
                        <a:pt x="43702" y="33038"/>
                        <a:pt x="44911" y="45528"/>
                      </a:cubicBezTo>
                      <a:cubicBezTo>
                        <a:pt x="45717" y="55600"/>
                        <a:pt x="39270" y="61241"/>
                        <a:pt x="35241" y="62853"/>
                      </a:cubicBezTo>
                      <a:cubicBezTo>
                        <a:pt x="32018" y="64061"/>
                        <a:pt x="27183" y="65270"/>
                        <a:pt x="21945" y="65270"/>
                      </a:cubicBezTo>
                      <a:close/>
                    </a:path>
                  </a:pathLst>
                </a:custGeom>
                <a:grpFill/>
                <a:ln w="4028" cap="flat">
                  <a:noFill/>
                  <a:prstDash val="solid"/>
                  <a:miter/>
                </a:ln>
              </p:spPr>
              <p:txBody>
                <a:bodyPr rtlCol="0" anchor="ctr"/>
                <a:lstStyle/>
                <a:p>
                  <a:endParaRPr lang="en-US"/>
                </a:p>
              </p:txBody>
            </p:sp>
            <p:sp>
              <p:nvSpPr>
                <p:cNvPr id="434" name="Freeform 237">
                  <a:extLst>
                    <a:ext uri="{FF2B5EF4-FFF2-40B4-BE49-F238E27FC236}">
                      <a16:creationId xmlns:a16="http://schemas.microsoft.com/office/drawing/2014/main" id="{4451B06B-E95F-84C1-0A1B-DCD148F58A2F}"/>
                    </a:ext>
                  </a:extLst>
                </p:cNvPr>
                <p:cNvSpPr/>
                <p:nvPr/>
              </p:nvSpPr>
              <p:spPr>
                <a:xfrm>
                  <a:off x="4751329" y="3804507"/>
                  <a:ext cx="8863" cy="20950"/>
                </a:xfrm>
                <a:custGeom>
                  <a:avLst/>
                  <a:gdLst>
                    <a:gd name="connsiteX0" fmla="*/ 4432 w 8863"/>
                    <a:gd name="connsiteY0" fmla="*/ 20951 h 20950"/>
                    <a:gd name="connsiteX1" fmla="*/ 0 w 8863"/>
                    <a:gd name="connsiteY1" fmla="*/ 16519 h 20950"/>
                    <a:gd name="connsiteX2" fmla="*/ 0 w 8863"/>
                    <a:gd name="connsiteY2" fmla="*/ 4432 h 20950"/>
                    <a:gd name="connsiteX3" fmla="*/ 4432 w 8863"/>
                    <a:gd name="connsiteY3" fmla="*/ 0 h 20950"/>
                    <a:gd name="connsiteX4" fmla="*/ 8864 w 8863"/>
                    <a:gd name="connsiteY4" fmla="*/ 4432 h 20950"/>
                    <a:gd name="connsiteX5" fmla="*/ 8864 w 8863"/>
                    <a:gd name="connsiteY5" fmla="*/ 16519 h 20950"/>
                    <a:gd name="connsiteX6" fmla="*/ 4432 w 8863"/>
                    <a:gd name="connsiteY6" fmla="*/ 20951 h 2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3" h="20950">
                      <a:moveTo>
                        <a:pt x="4432" y="20951"/>
                      </a:moveTo>
                      <a:cubicBezTo>
                        <a:pt x="2015" y="20951"/>
                        <a:pt x="0" y="18936"/>
                        <a:pt x="0" y="16519"/>
                      </a:cubicBezTo>
                      <a:lnTo>
                        <a:pt x="0" y="4432"/>
                      </a:lnTo>
                      <a:cubicBezTo>
                        <a:pt x="0" y="2015"/>
                        <a:pt x="2015" y="0"/>
                        <a:pt x="4432" y="0"/>
                      </a:cubicBezTo>
                      <a:cubicBezTo>
                        <a:pt x="6849" y="0"/>
                        <a:pt x="8864" y="2015"/>
                        <a:pt x="8864" y="4432"/>
                      </a:cubicBezTo>
                      <a:lnTo>
                        <a:pt x="8864" y="16519"/>
                      </a:lnTo>
                      <a:cubicBezTo>
                        <a:pt x="8864" y="18936"/>
                        <a:pt x="6849" y="20951"/>
                        <a:pt x="4432" y="20951"/>
                      </a:cubicBezTo>
                      <a:close/>
                    </a:path>
                  </a:pathLst>
                </a:custGeom>
                <a:grpFill/>
                <a:ln w="4028" cap="flat">
                  <a:noFill/>
                  <a:prstDash val="solid"/>
                  <a:miter/>
                </a:ln>
              </p:spPr>
              <p:txBody>
                <a:bodyPr rtlCol="0" anchor="ctr"/>
                <a:lstStyle/>
                <a:p>
                  <a:endParaRPr lang="en-US"/>
                </a:p>
              </p:txBody>
            </p:sp>
            <p:sp>
              <p:nvSpPr>
                <p:cNvPr id="435" name="Freeform 238">
                  <a:extLst>
                    <a:ext uri="{FF2B5EF4-FFF2-40B4-BE49-F238E27FC236}">
                      <a16:creationId xmlns:a16="http://schemas.microsoft.com/office/drawing/2014/main" id="{6C462D22-7137-B239-05F0-4FA34BF24BCC}"/>
                    </a:ext>
                  </a:extLst>
                </p:cNvPr>
                <p:cNvSpPr/>
                <p:nvPr/>
              </p:nvSpPr>
              <p:spPr>
                <a:xfrm>
                  <a:off x="4751329" y="3874209"/>
                  <a:ext cx="8863" cy="20950"/>
                </a:xfrm>
                <a:custGeom>
                  <a:avLst/>
                  <a:gdLst>
                    <a:gd name="connsiteX0" fmla="*/ 4432 w 8863"/>
                    <a:gd name="connsiteY0" fmla="*/ 20951 h 20950"/>
                    <a:gd name="connsiteX1" fmla="*/ 0 w 8863"/>
                    <a:gd name="connsiteY1" fmla="*/ 16519 h 20950"/>
                    <a:gd name="connsiteX2" fmla="*/ 0 w 8863"/>
                    <a:gd name="connsiteY2" fmla="*/ 4432 h 20950"/>
                    <a:gd name="connsiteX3" fmla="*/ 4432 w 8863"/>
                    <a:gd name="connsiteY3" fmla="*/ 0 h 20950"/>
                    <a:gd name="connsiteX4" fmla="*/ 8864 w 8863"/>
                    <a:gd name="connsiteY4" fmla="*/ 4432 h 20950"/>
                    <a:gd name="connsiteX5" fmla="*/ 8864 w 8863"/>
                    <a:gd name="connsiteY5" fmla="*/ 16519 h 20950"/>
                    <a:gd name="connsiteX6" fmla="*/ 4432 w 8863"/>
                    <a:gd name="connsiteY6" fmla="*/ 20951 h 2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3" h="20950">
                      <a:moveTo>
                        <a:pt x="4432" y="20951"/>
                      </a:moveTo>
                      <a:cubicBezTo>
                        <a:pt x="2015" y="20951"/>
                        <a:pt x="0" y="18936"/>
                        <a:pt x="0" y="16519"/>
                      </a:cubicBezTo>
                      <a:lnTo>
                        <a:pt x="0" y="4432"/>
                      </a:lnTo>
                      <a:cubicBezTo>
                        <a:pt x="0" y="2015"/>
                        <a:pt x="2015" y="0"/>
                        <a:pt x="4432" y="0"/>
                      </a:cubicBezTo>
                      <a:cubicBezTo>
                        <a:pt x="6849" y="0"/>
                        <a:pt x="8864" y="2015"/>
                        <a:pt x="8864" y="4432"/>
                      </a:cubicBezTo>
                      <a:lnTo>
                        <a:pt x="8864" y="16519"/>
                      </a:lnTo>
                      <a:cubicBezTo>
                        <a:pt x="8864" y="18936"/>
                        <a:pt x="6849" y="20951"/>
                        <a:pt x="4432" y="20951"/>
                      </a:cubicBezTo>
                      <a:close/>
                    </a:path>
                  </a:pathLst>
                </a:custGeom>
                <a:grpFill/>
                <a:ln w="4028" cap="flat">
                  <a:noFill/>
                  <a:prstDash val="solid"/>
                  <a:miter/>
                </a:ln>
              </p:spPr>
              <p:txBody>
                <a:bodyPr rtlCol="0" anchor="ctr"/>
                <a:lstStyle/>
                <a:p>
                  <a:endParaRPr lang="en-US"/>
                </a:p>
              </p:txBody>
            </p:sp>
          </p:grpSp>
          <p:grpSp>
            <p:nvGrpSpPr>
              <p:cNvPr id="426" name="Content Placeholder 5">
                <a:extLst>
                  <a:ext uri="{FF2B5EF4-FFF2-40B4-BE49-F238E27FC236}">
                    <a16:creationId xmlns:a16="http://schemas.microsoft.com/office/drawing/2014/main" id="{8104FA78-1D93-31D4-7832-618EC20B63B8}"/>
                  </a:ext>
                </a:extLst>
              </p:cNvPr>
              <p:cNvGrpSpPr/>
              <p:nvPr/>
            </p:nvGrpSpPr>
            <p:grpSpPr>
              <a:xfrm>
                <a:off x="4605881" y="3778721"/>
                <a:ext cx="298953" cy="141821"/>
                <a:chOff x="4605881" y="3778721"/>
                <a:chExt cx="298953" cy="141821"/>
              </a:xfrm>
              <a:grpFill/>
            </p:grpSpPr>
            <p:sp>
              <p:nvSpPr>
                <p:cNvPr id="428" name="Freeform 231">
                  <a:extLst>
                    <a:ext uri="{FF2B5EF4-FFF2-40B4-BE49-F238E27FC236}">
                      <a16:creationId xmlns:a16="http://schemas.microsoft.com/office/drawing/2014/main" id="{9F516577-9D9A-3B23-C244-D9C4B095DF65}"/>
                    </a:ext>
                  </a:extLst>
                </p:cNvPr>
                <p:cNvSpPr/>
                <p:nvPr/>
              </p:nvSpPr>
              <p:spPr>
                <a:xfrm>
                  <a:off x="4605881" y="3778721"/>
                  <a:ext cx="298953" cy="141821"/>
                </a:xfrm>
                <a:custGeom>
                  <a:avLst/>
                  <a:gdLst>
                    <a:gd name="connsiteX0" fmla="*/ 263498 w 298953"/>
                    <a:gd name="connsiteY0" fmla="*/ 141821 h 141821"/>
                    <a:gd name="connsiteX1" fmla="*/ 35052 w 298953"/>
                    <a:gd name="connsiteY1" fmla="*/ 141821 h 141821"/>
                    <a:gd name="connsiteX2" fmla="*/ 30620 w 298953"/>
                    <a:gd name="connsiteY2" fmla="*/ 137389 h 141821"/>
                    <a:gd name="connsiteX3" fmla="*/ 30620 w 298953"/>
                    <a:gd name="connsiteY3" fmla="*/ 136987 h 141821"/>
                    <a:gd name="connsiteX4" fmla="*/ 4432 w 298953"/>
                    <a:gd name="connsiteY4" fmla="*/ 110395 h 141821"/>
                    <a:gd name="connsiteX5" fmla="*/ 0 w 298953"/>
                    <a:gd name="connsiteY5" fmla="*/ 105963 h 141821"/>
                    <a:gd name="connsiteX6" fmla="*/ 0 w 298953"/>
                    <a:gd name="connsiteY6" fmla="*/ 35052 h 141821"/>
                    <a:gd name="connsiteX7" fmla="*/ 4432 w 298953"/>
                    <a:gd name="connsiteY7" fmla="*/ 30620 h 141821"/>
                    <a:gd name="connsiteX8" fmla="*/ 30620 w 298953"/>
                    <a:gd name="connsiteY8" fmla="*/ 4432 h 141821"/>
                    <a:gd name="connsiteX9" fmla="*/ 35052 w 298953"/>
                    <a:gd name="connsiteY9" fmla="*/ 0 h 141821"/>
                    <a:gd name="connsiteX10" fmla="*/ 263498 w 298953"/>
                    <a:gd name="connsiteY10" fmla="*/ 0 h 141821"/>
                    <a:gd name="connsiteX11" fmla="*/ 267930 w 298953"/>
                    <a:gd name="connsiteY11" fmla="*/ 4432 h 141821"/>
                    <a:gd name="connsiteX12" fmla="*/ 294521 w 298953"/>
                    <a:gd name="connsiteY12" fmla="*/ 30620 h 141821"/>
                    <a:gd name="connsiteX13" fmla="*/ 298953 w 298953"/>
                    <a:gd name="connsiteY13" fmla="*/ 35052 h 141821"/>
                    <a:gd name="connsiteX14" fmla="*/ 298953 w 298953"/>
                    <a:gd name="connsiteY14" fmla="*/ 105560 h 141821"/>
                    <a:gd name="connsiteX15" fmla="*/ 294521 w 298953"/>
                    <a:gd name="connsiteY15" fmla="*/ 109992 h 141821"/>
                    <a:gd name="connsiteX16" fmla="*/ 267930 w 298953"/>
                    <a:gd name="connsiteY16" fmla="*/ 136987 h 141821"/>
                    <a:gd name="connsiteX17" fmla="*/ 263498 w 298953"/>
                    <a:gd name="connsiteY17" fmla="*/ 141821 h 141821"/>
                    <a:gd name="connsiteX18" fmla="*/ 39082 w 298953"/>
                    <a:gd name="connsiteY18" fmla="*/ 132958 h 141821"/>
                    <a:gd name="connsiteX19" fmla="*/ 259066 w 298953"/>
                    <a:gd name="connsiteY19" fmla="*/ 132958 h 141821"/>
                    <a:gd name="connsiteX20" fmla="*/ 289686 w 298953"/>
                    <a:gd name="connsiteY20" fmla="*/ 101934 h 141821"/>
                    <a:gd name="connsiteX21" fmla="*/ 289686 w 298953"/>
                    <a:gd name="connsiteY21" fmla="*/ 39484 h 141821"/>
                    <a:gd name="connsiteX22" fmla="*/ 259066 w 298953"/>
                    <a:gd name="connsiteY22" fmla="*/ 9267 h 141821"/>
                    <a:gd name="connsiteX23" fmla="*/ 38678 w 298953"/>
                    <a:gd name="connsiteY23" fmla="*/ 9267 h 141821"/>
                    <a:gd name="connsiteX24" fmla="*/ 8461 w 298953"/>
                    <a:gd name="connsiteY24" fmla="*/ 39484 h 141821"/>
                    <a:gd name="connsiteX25" fmla="*/ 8461 w 298953"/>
                    <a:gd name="connsiteY25" fmla="*/ 102337 h 141821"/>
                    <a:gd name="connsiteX26" fmla="*/ 39082 w 298953"/>
                    <a:gd name="connsiteY26" fmla="*/ 132958 h 141821"/>
                    <a:gd name="connsiteX27" fmla="*/ 294521 w 298953"/>
                    <a:gd name="connsiteY27" fmla="*/ 105963 h 141821"/>
                    <a:gd name="connsiteX28" fmla="*/ 294521 w 298953"/>
                    <a:gd name="connsiteY28" fmla="*/ 105963 h 141821"/>
                    <a:gd name="connsiteX29" fmla="*/ 294521 w 298953"/>
                    <a:gd name="connsiteY29" fmla="*/ 105963 h 14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8953" h="141821">
                      <a:moveTo>
                        <a:pt x="263498" y="141821"/>
                      </a:moveTo>
                      <a:lnTo>
                        <a:pt x="35052" y="141821"/>
                      </a:lnTo>
                      <a:cubicBezTo>
                        <a:pt x="32635" y="141821"/>
                        <a:pt x="30620" y="139807"/>
                        <a:pt x="30620" y="137389"/>
                      </a:cubicBezTo>
                      <a:cubicBezTo>
                        <a:pt x="30620" y="137389"/>
                        <a:pt x="30620" y="136987"/>
                        <a:pt x="30620" y="136987"/>
                      </a:cubicBezTo>
                      <a:cubicBezTo>
                        <a:pt x="30620" y="122482"/>
                        <a:pt x="18936" y="110798"/>
                        <a:pt x="4432" y="110395"/>
                      </a:cubicBezTo>
                      <a:cubicBezTo>
                        <a:pt x="2015" y="110395"/>
                        <a:pt x="0" y="108380"/>
                        <a:pt x="0" y="105963"/>
                      </a:cubicBezTo>
                      <a:lnTo>
                        <a:pt x="0" y="35052"/>
                      </a:lnTo>
                      <a:cubicBezTo>
                        <a:pt x="0" y="32635"/>
                        <a:pt x="2015" y="30620"/>
                        <a:pt x="4432" y="30620"/>
                      </a:cubicBezTo>
                      <a:cubicBezTo>
                        <a:pt x="18533" y="30218"/>
                        <a:pt x="30218" y="18533"/>
                        <a:pt x="30620" y="4432"/>
                      </a:cubicBezTo>
                      <a:cubicBezTo>
                        <a:pt x="30620" y="2015"/>
                        <a:pt x="32635" y="0"/>
                        <a:pt x="35052" y="0"/>
                      </a:cubicBezTo>
                      <a:lnTo>
                        <a:pt x="263498" y="0"/>
                      </a:lnTo>
                      <a:cubicBezTo>
                        <a:pt x="265915" y="0"/>
                        <a:pt x="267930" y="2015"/>
                        <a:pt x="267930" y="4432"/>
                      </a:cubicBezTo>
                      <a:cubicBezTo>
                        <a:pt x="268332" y="18936"/>
                        <a:pt x="280017" y="30620"/>
                        <a:pt x="294521" y="30620"/>
                      </a:cubicBezTo>
                      <a:cubicBezTo>
                        <a:pt x="296939" y="30620"/>
                        <a:pt x="298953" y="32635"/>
                        <a:pt x="298953" y="35052"/>
                      </a:cubicBezTo>
                      <a:lnTo>
                        <a:pt x="298953" y="105560"/>
                      </a:lnTo>
                      <a:cubicBezTo>
                        <a:pt x="298953" y="107978"/>
                        <a:pt x="296939" y="109992"/>
                        <a:pt x="294521" y="109992"/>
                      </a:cubicBezTo>
                      <a:cubicBezTo>
                        <a:pt x="279614" y="109992"/>
                        <a:pt x="267930" y="122482"/>
                        <a:pt x="267930" y="136987"/>
                      </a:cubicBezTo>
                      <a:cubicBezTo>
                        <a:pt x="267930" y="139807"/>
                        <a:pt x="265915" y="141821"/>
                        <a:pt x="263498" y="141821"/>
                      </a:cubicBezTo>
                      <a:close/>
                      <a:moveTo>
                        <a:pt x="39082" y="132958"/>
                      </a:moveTo>
                      <a:lnTo>
                        <a:pt x="259066" y="132958"/>
                      </a:lnTo>
                      <a:cubicBezTo>
                        <a:pt x="261080" y="116841"/>
                        <a:pt x="273973" y="103949"/>
                        <a:pt x="289686" y="101934"/>
                      </a:cubicBezTo>
                      <a:lnTo>
                        <a:pt x="289686" y="39484"/>
                      </a:lnTo>
                      <a:cubicBezTo>
                        <a:pt x="273973" y="37470"/>
                        <a:pt x="261483" y="24980"/>
                        <a:pt x="259066" y="9267"/>
                      </a:cubicBezTo>
                      <a:lnTo>
                        <a:pt x="38678" y="9267"/>
                      </a:lnTo>
                      <a:cubicBezTo>
                        <a:pt x="36261" y="24577"/>
                        <a:pt x="24174" y="37067"/>
                        <a:pt x="8461" y="39484"/>
                      </a:cubicBezTo>
                      <a:lnTo>
                        <a:pt x="8461" y="102337"/>
                      </a:lnTo>
                      <a:cubicBezTo>
                        <a:pt x="24980" y="104351"/>
                        <a:pt x="37470" y="116841"/>
                        <a:pt x="39082" y="132958"/>
                      </a:cubicBezTo>
                      <a:close/>
                      <a:moveTo>
                        <a:pt x="294521" y="105963"/>
                      </a:moveTo>
                      <a:lnTo>
                        <a:pt x="294521" y="105963"/>
                      </a:lnTo>
                      <a:lnTo>
                        <a:pt x="294521" y="105963"/>
                      </a:lnTo>
                      <a:close/>
                    </a:path>
                  </a:pathLst>
                </a:custGeom>
                <a:grpFill/>
                <a:ln w="4028" cap="flat">
                  <a:noFill/>
                  <a:prstDash val="solid"/>
                  <a:miter/>
                </a:ln>
              </p:spPr>
              <p:txBody>
                <a:bodyPr rtlCol="0" anchor="ctr"/>
                <a:lstStyle/>
                <a:p>
                  <a:endParaRPr lang="en-US"/>
                </a:p>
              </p:txBody>
            </p:sp>
            <p:sp>
              <p:nvSpPr>
                <p:cNvPr id="429" name="Freeform 232">
                  <a:extLst>
                    <a:ext uri="{FF2B5EF4-FFF2-40B4-BE49-F238E27FC236}">
                      <a16:creationId xmlns:a16="http://schemas.microsoft.com/office/drawing/2014/main" id="{33B5C4DA-FE08-F245-1AA6-4F33EB89B1E2}"/>
                    </a:ext>
                  </a:extLst>
                </p:cNvPr>
                <p:cNvSpPr/>
                <p:nvPr/>
              </p:nvSpPr>
              <p:spPr>
                <a:xfrm>
                  <a:off x="4606284" y="3779124"/>
                  <a:ext cx="39081" cy="39081"/>
                </a:xfrm>
                <a:custGeom>
                  <a:avLst/>
                  <a:gdLst>
                    <a:gd name="connsiteX0" fmla="*/ 4432 w 39081"/>
                    <a:gd name="connsiteY0" fmla="*/ 39082 h 39081"/>
                    <a:gd name="connsiteX1" fmla="*/ 1209 w 39081"/>
                    <a:gd name="connsiteY1" fmla="*/ 37873 h 39081"/>
                    <a:gd name="connsiteX2" fmla="*/ 0 w 39081"/>
                    <a:gd name="connsiteY2" fmla="*/ 34650 h 39081"/>
                    <a:gd name="connsiteX3" fmla="*/ 0 w 39081"/>
                    <a:gd name="connsiteY3" fmla="*/ 4432 h 39081"/>
                    <a:gd name="connsiteX4" fmla="*/ 4432 w 39081"/>
                    <a:gd name="connsiteY4" fmla="*/ 0 h 39081"/>
                    <a:gd name="connsiteX5" fmla="*/ 34650 w 39081"/>
                    <a:gd name="connsiteY5" fmla="*/ 0 h 39081"/>
                    <a:gd name="connsiteX6" fmla="*/ 37873 w 39081"/>
                    <a:gd name="connsiteY6" fmla="*/ 1209 h 39081"/>
                    <a:gd name="connsiteX7" fmla="*/ 39082 w 39081"/>
                    <a:gd name="connsiteY7" fmla="*/ 4432 h 39081"/>
                    <a:gd name="connsiteX8" fmla="*/ 4432 w 39081"/>
                    <a:gd name="connsiteY8" fmla="*/ 39082 h 39081"/>
                    <a:gd name="connsiteX9" fmla="*/ 4432 w 39081"/>
                    <a:gd name="connsiteY9" fmla="*/ 39082 h 39081"/>
                    <a:gd name="connsiteX10" fmla="*/ 8461 w 39081"/>
                    <a:gd name="connsiteY10" fmla="*/ 8864 h 39081"/>
                    <a:gd name="connsiteX11" fmla="*/ 8461 w 39081"/>
                    <a:gd name="connsiteY11" fmla="*/ 29815 h 39081"/>
                    <a:gd name="connsiteX12" fmla="*/ 29412 w 39081"/>
                    <a:gd name="connsiteY12" fmla="*/ 8864 h 39081"/>
                    <a:gd name="connsiteX13" fmla="*/ 8461 w 39081"/>
                    <a:gd name="connsiteY13" fmla="*/ 8864 h 3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081" h="39081">
                      <a:moveTo>
                        <a:pt x="4432" y="39082"/>
                      </a:moveTo>
                      <a:cubicBezTo>
                        <a:pt x="3223" y="39082"/>
                        <a:pt x="2015" y="38679"/>
                        <a:pt x="1209" y="37873"/>
                      </a:cubicBezTo>
                      <a:cubicBezTo>
                        <a:pt x="403" y="37067"/>
                        <a:pt x="0" y="35858"/>
                        <a:pt x="0" y="34650"/>
                      </a:cubicBezTo>
                      <a:lnTo>
                        <a:pt x="0" y="4432"/>
                      </a:lnTo>
                      <a:cubicBezTo>
                        <a:pt x="0" y="2015"/>
                        <a:pt x="2015" y="0"/>
                        <a:pt x="4432" y="0"/>
                      </a:cubicBezTo>
                      <a:lnTo>
                        <a:pt x="34650" y="0"/>
                      </a:lnTo>
                      <a:cubicBezTo>
                        <a:pt x="35858" y="0"/>
                        <a:pt x="37067" y="403"/>
                        <a:pt x="37873" y="1209"/>
                      </a:cubicBezTo>
                      <a:cubicBezTo>
                        <a:pt x="38679" y="2015"/>
                        <a:pt x="39082" y="3223"/>
                        <a:pt x="39082" y="4432"/>
                      </a:cubicBezTo>
                      <a:cubicBezTo>
                        <a:pt x="38276" y="23368"/>
                        <a:pt x="23368" y="38679"/>
                        <a:pt x="4432" y="39082"/>
                      </a:cubicBezTo>
                      <a:cubicBezTo>
                        <a:pt x="4432" y="39082"/>
                        <a:pt x="4432" y="39082"/>
                        <a:pt x="4432" y="39082"/>
                      </a:cubicBezTo>
                      <a:close/>
                      <a:moveTo>
                        <a:pt x="8461" y="8864"/>
                      </a:moveTo>
                      <a:lnTo>
                        <a:pt x="8461" y="29815"/>
                      </a:lnTo>
                      <a:cubicBezTo>
                        <a:pt x="18936" y="27800"/>
                        <a:pt x="27398" y="19339"/>
                        <a:pt x="29412" y="8864"/>
                      </a:cubicBezTo>
                      <a:lnTo>
                        <a:pt x="8461" y="8864"/>
                      </a:lnTo>
                      <a:close/>
                    </a:path>
                  </a:pathLst>
                </a:custGeom>
                <a:grpFill/>
                <a:ln w="4028" cap="flat">
                  <a:noFill/>
                  <a:prstDash val="solid"/>
                  <a:miter/>
                </a:ln>
              </p:spPr>
              <p:txBody>
                <a:bodyPr rtlCol="0" anchor="ctr"/>
                <a:lstStyle/>
                <a:p>
                  <a:endParaRPr lang="en-US"/>
                </a:p>
              </p:txBody>
            </p:sp>
            <p:sp>
              <p:nvSpPr>
                <p:cNvPr id="430" name="Freeform 233">
                  <a:extLst>
                    <a:ext uri="{FF2B5EF4-FFF2-40B4-BE49-F238E27FC236}">
                      <a16:creationId xmlns:a16="http://schemas.microsoft.com/office/drawing/2014/main" id="{4DFD2229-3A7A-BF46-E12B-B7A02091406A}"/>
                    </a:ext>
                  </a:extLst>
                </p:cNvPr>
                <p:cNvSpPr/>
                <p:nvPr/>
              </p:nvSpPr>
              <p:spPr>
                <a:xfrm>
                  <a:off x="4605881" y="3880252"/>
                  <a:ext cx="39133" cy="40290"/>
                </a:xfrm>
                <a:custGeom>
                  <a:avLst/>
                  <a:gdLst>
                    <a:gd name="connsiteX0" fmla="*/ 35052 w 39133"/>
                    <a:gd name="connsiteY0" fmla="*/ 40290 h 40290"/>
                    <a:gd name="connsiteX1" fmla="*/ 4432 w 39133"/>
                    <a:gd name="connsiteY1" fmla="*/ 40290 h 40290"/>
                    <a:gd name="connsiteX2" fmla="*/ 0 w 39133"/>
                    <a:gd name="connsiteY2" fmla="*/ 35858 h 40290"/>
                    <a:gd name="connsiteX3" fmla="*/ 0 w 39133"/>
                    <a:gd name="connsiteY3" fmla="*/ 4432 h 40290"/>
                    <a:gd name="connsiteX4" fmla="*/ 1209 w 39133"/>
                    <a:gd name="connsiteY4" fmla="*/ 1209 h 40290"/>
                    <a:gd name="connsiteX5" fmla="*/ 4432 w 39133"/>
                    <a:gd name="connsiteY5" fmla="*/ 0 h 40290"/>
                    <a:gd name="connsiteX6" fmla="*/ 39082 w 39133"/>
                    <a:gd name="connsiteY6" fmla="*/ 35858 h 40290"/>
                    <a:gd name="connsiteX7" fmla="*/ 39082 w 39133"/>
                    <a:gd name="connsiteY7" fmla="*/ 36261 h 40290"/>
                    <a:gd name="connsiteX8" fmla="*/ 35052 w 39133"/>
                    <a:gd name="connsiteY8" fmla="*/ 40290 h 40290"/>
                    <a:gd name="connsiteX9" fmla="*/ 8864 w 39133"/>
                    <a:gd name="connsiteY9" fmla="*/ 31426 h 40290"/>
                    <a:gd name="connsiteX10" fmla="*/ 30218 w 39133"/>
                    <a:gd name="connsiteY10" fmla="*/ 31426 h 40290"/>
                    <a:gd name="connsiteX11" fmla="*/ 8864 w 39133"/>
                    <a:gd name="connsiteY11" fmla="*/ 9267 h 40290"/>
                    <a:gd name="connsiteX12" fmla="*/ 8864 w 39133"/>
                    <a:gd name="connsiteY12" fmla="*/ 31426 h 40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33" h="40290">
                      <a:moveTo>
                        <a:pt x="35052" y="40290"/>
                      </a:moveTo>
                      <a:lnTo>
                        <a:pt x="4432" y="40290"/>
                      </a:lnTo>
                      <a:cubicBezTo>
                        <a:pt x="2015" y="40290"/>
                        <a:pt x="0" y="38276"/>
                        <a:pt x="0" y="35858"/>
                      </a:cubicBezTo>
                      <a:lnTo>
                        <a:pt x="0" y="4432"/>
                      </a:lnTo>
                      <a:cubicBezTo>
                        <a:pt x="0" y="3223"/>
                        <a:pt x="403" y="2015"/>
                        <a:pt x="1209" y="1209"/>
                      </a:cubicBezTo>
                      <a:cubicBezTo>
                        <a:pt x="2015" y="403"/>
                        <a:pt x="3223" y="0"/>
                        <a:pt x="4432" y="0"/>
                      </a:cubicBezTo>
                      <a:cubicBezTo>
                        <a:pt x="23771" y="403"/>
                        <a:pt x="39082" y="16116"/>
                        <a:pt x="39082" y="35858"/>
                      </a:cubicBezTo>
                      <a:cubicBezTo>
                        <a:pt x="39082" y="35858"/>
                        <a:pt x="39082" y="36261"/>
                        <a:pt x="39082" y="36261"/>
                      </a:cubicBezTo>
                      <a:cubicBezTo>
                        <a:pt x="39484" y="38276"/>
                        <a:pt x="37470" y="40290"/>
                        <a:pt x="35052" y="40290"/>
                      </a:cubicBezTo>
                      <a:close/>
                      <a:moveTo>
                        <a:pt x="8864" y="31426"/>
                      </a:moveTo>
                      <a:lnTo>
                        <a:pt x="30218" y="31426"/>
                      </a:lnTo>
                      <a:cubicBezTo>
                        <a:pt x="28606" y="20145"/>
                        <a:pt x="20145" y="11281"/>
                        <a:pt x="8864" y="9267"/>
                      </a:cubicBezTo>
                      <a:lnTo>
                        <a:pt x="8864" y="31426"/>
                      </a:lnTo>
                      <a:close/>
                    </a:path>
                  </a:pathLst>
                </a:custGeom>
                <a:grpFill/>
                <a:ln w="4028" cap="flat">
                  <a:noFill/>
                  <a:prstDash val="solid"/>
                  <a:miter/>
                </a:ln>
              </p:spPr>
              <p:txBody>
                <a:bodyPr rtlCol="0" anchor="ctr"/>
                <a:lstStyle/>
                <a:p>
                  <a:endParaRPr lang="en-US"/>
                </a:p>
              </p:txBody>
            </p:sp>
            <p:sp>
              <p:nvSpPr>
                <p:cNvPr id="431" name="Freeform 234">
                  <a:extLst>
                    <a:ext uri="{FF2B5EF4-FFF2-40B4-BE49-F238E27FC236}">
                      <a16:creationId xmlns:a16="http://schemas.microsoft.com/office/drawing/2014/main" id="{AC0A5B80-90CC-6B92-ECE3-62DB08EBAA28}"/>
                    </a:ext>
                  </a:extLst>
                </p:cNvPr>
                <p:cNvSpPr/>
                <p:nvPr/>
              </p:nvSpPr>
              <p:spPr>
                <a:xfrm>
                  <a:off x="4864947" y="3779124"/>
                  <a:ext cx="39887" cy="39081"/>
                </a:xfrm>
                <a:custGeom>
                  <a:avLst/>
                  <a:gdLst>
                    <a:gd name="connsiteX0" fmla="*/ 35455 w 39887"/>
                    <a:gd name="connsiteY0" fmla="*/ 39082 h 39081"/>
                    <a:gd name="connsiteX1" fmla="*/ 35455 w 39887"/>
                    <a:gd name="connsiteY1" fmla="*/ 39082 h 39081"/>
                    <a:gd name="connsiteX2" fmla="*/ 0 w 39887"/>
                    <a:gd name="connsiteY2" fmla="*/ 4432 h 39081"/>
                    <a:gd name="connsiteX3" fmla="*/ 1209 w 39887"/>
                    <a:gd name="connsiteY3" fmla="*/ 1209 h 39081"/>
                    <a:gd name="connsiteX4" fmla="*/ 4432 w 39887"/>
                    <a:gd name="connsiteY4" fmla="*/ 0 h 39081"/>
                    <a:gd name="connsiteX5" fmla="*/ 35455 w 39887"/>
                    <a:gd name="connsiteY5" fmla="*/ 0 h 39081"/>
                    <a:gd name="connsiteX6" fmla="*/ 39887 w 39887"/>
                    <a:gd name="connsiteY6" fmla="*/ 4432 h 39081"/>
                    <a:gd name="connsiteX7" fmla="*/ 39887 w 39887"/>
                    <a:gd name="connsiteY7" fmla="*/ 35052 h 39081"/>
                    <a:gd name="connsiteX8" fmla="*/ 38679 w 39887"/>
                    <a:gd name="connsiteY8" fmla="*/ 38276 h 39081"/>
                    <a:gd name="connsiteX9" fmla="*/ 35455 w 39887"/>
                    <a:gd name="connsiteY9" fmla="*/ 39082 h 39081"/>
                    <a:gd name="connsiteX10" fmla="*/ 9267 w 39887"/>
                    <a:gd name="connsiteY10" fmla="*/ 8864 h 39081"/>
                    <a:gd name="connsiteX11" fmla="*/ 31023 w 39887"/>
                    <a:gd name="connsiteY11" fmla="*/ 30218 h 39081"/>
                    <a:gd name="connsiteX12" fmla="*/ 31023 w 39887"/>
                    <a:gd name="connsiteY12" fmla="*/ 8864 h 39081"/>
                    <a:gd name="connsiteX13" fmla="*/ 9267 w 39887"/>
                    <a:gd name="connsiteY13" fmla="*/ 8864 h 3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887" h="39081">
                      <a:moveTo>
                        <a:pt x="35455" y="39082"/>
                      </a:moveTo>
                      <a:cubicBezTo>
                        <a:pt x="35455" y="39082"/>
                        <a:pt x="35455" y="39082"/>
                        <a:pt x="35455" y="39082"/>
                      </a:cubicBezTo>
                      <a:cubicBezTo>
                        <a:pt x="16116" y="38679"/>
                        <a:pt x="806" y="23771"/>
                        <a:pt x="0" y="4432"/>
                      </a:cubicBezTo>
                      <a:cubicBezTo>
                        <a:pt x="0" y="3223"/>
                        <a:pt x="403" y="2015"/>
                        <a:pt x="1209" y="1209"/>
                      </a:cubicBezTo>
                      <a:cubicBezTo>
                        <a:pt x="2015" y="403"/>
                        <a:pt x="3223" y="0"/>
                        <a:pt x="4432" y="0"/>
                      </a:cubicBezTo>
                      <a:lnTo>
                        <a:pt x="35455" y="0"/>
                      </a:lnTo>
                      <a:cubicBezTo>
                        <a:pt x="37873" y="0"/>
                        <a:pt x="39887" y="2015"/>
                        <a:pt x="39887" y="4432"/>
                      </a:cubicBezTo>
                      <a:lnTo>
                        <a:pt x="39887" y="35052"/>
                      </a:lnTo>
                      <a:cubicBezTo>
                        <a:pt x="39887" y="36261"/>
                        <a:pt x="39484" y="37470"/>
                        <a:pt x="38679" y="38276"/>
                      </a:cubicBezTo>
                      <a:cubicBezTo>
                        <a:pt x="37470" y="38679"/>
                        <a:pt x="36664" y="39082"/>
                        <a:pt x="35455" y="39082"/>
                      </a:cubicBezTo>
                      <a:close/>
                      <a:moveTo>
                        <a:pt x="9267" y="8864"/>
                      </a:moveTo>
                      <a:cubicBezTo>
                        <a:pt x="11281" y="19742"/>
                        <a:pt x="20145" y="28203"/>
                        <a:pt x="31023" y="30218"/>
                      </a:cubicBezTo>
                      <a:lnTo>
                        <a:pt x="31023" y="8864"/>
                      </a:lnTo>
                      <a:lnTo>
                        <a:pt x="9267" y="8864"/>
                      </a:lnTo>
                      <a:close/>
                    </a:path>
                  </a:pathLst>
                </a:custGeom>
                <a:grpFill/>
                <a:ln w="4028" cap="flat">
                  <a:noFill/>
                  <a:prstDash val="solid"/>
                  <a:miter/>
                </a:ln>
              </p:spPr>
              <p:txBody>
                <a:bodyPr rtlCol="0" anchor="ctr"/>
                <a:lstStyle/>
                <a:p>
                  <a:endParaRPr lang="en-US"/>
                </a:p>
              </p:txBody>
            </p:sp>
            <p:sp>
              <p:nvSpPr>
                <p:cNvPr id="432" name="Freeform 235">
                  <a:extLst>
                    <a:ext uri="{FF2B5EF4-FFF2-40B4-BE49-F238E27FC236}">
                      <a16:creationId xmlns:a16="http://schemas.microsoft.com/office/drawing/2014/main" id="{D71C06DB-FA8B-2508-9C67-76A92B7287DB}"/>
                    </a:ext>
                  </a:extLst>
                </p:cNvPr>
                <p:cNvSpPr/>
                <p:nvPr/>
              </p:nvSpPr>
              <p:spPr>
                <a:xfrm>
                  <a:off x="4864947" y="3880252"/>
                  <a:ext cx="39887" cy="40290"/>
                </a:xfrm>
                <a:custGeom>
                  <a:avLst/>
                  <a:gdLst>
                    <a:gd name="connsiteX0" fmla="*/ 35455 w 39887"/>
                    <a:gd name="connsiteY0" fmla="*/ 40290 h 40290"/>
                    <a:gd name="connsiteX1" fmla="*/ 4432 w 39887"/>
                    <a:gd name="connsiteY1" fmla="*/ 40290 h 40290"/>
                    <a:gd name="connsiteX2" fmla="*/ 0 w 39887"/>
                    <a:gd name="connsiteY2" fmla="*/ 35858 h 40290"/>
                    <a:gd name="connsiteX3" fmla="*/ 35455 w 39887"/>
                    <a:gd name="connsiteY3" fmla="*/ 0 h 40290"/>
                    <a:gd name="connsiteX4" fmla="*/ 38679 w 39887"/>
                    <a:gd name="connsiteY4" fmla="*/ 1209 h 40290"/>
                    <a:gd name="connsiteX5" fmla="*/ 39887 w 39887"/>
                    <a:gd name="connsiteY5" fmla="*/ 4432 h 40290"/>
                    <a:gd name="connsiteX6" fmla="*/ 39887 w 39887"/>
                    <a:gd name="connsiteY6" fmla="*/ 35858 h 40290"/>
                    <a:gd name="connsiteX7" fmla="*/ 35455 w 39887"/>
                    <a:gd name="connsiteY7" fmla="*/ 40290 h 40290"/>
                    <a:gd name="connsiteX8" fmla="*/ 9267 w 39887"/>
                    <a:gd name="connsiteY8" fmla="*/ 31426 h 40290"/>
                    <a:gd name="connsiteX9" fmla="*/ 31023 w 39887"/>
                    <a:gd name="connsiteY9" fmla="*/ 31426 h 40290"/>
                    <a:gd name="connsiteX10" fmla="*/ 31023 w 39887"/>
                    <a:gd name="connsiteY10" fmla="*/ 9267 h 40290"/>
                    <a:gd name="connsiteX11" fmla="*/ 9267 w 39887"/>
                    <a:gd name="connsiteY11" fmla="*/ 31426 h 40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887" h="40290">
                      <a:moveTo>
                        <a:pt x="35455" y="40290"/>
                      </a:moveTo>
                      <a:lnTo>
                        <a:pt x="4432" y="40290"/>
                      </a:lnTo>
                      <a:cubicBezTo>
                        <a:pt x="2015" y="40290"/>
                        <a:pt x="0" y="38276"/>
                        <a:pt x="0" y="35858"/>
                      </a:cubicBezTo>
                      <a:cubicBezTo>
                        <a:pt x="0" y="16116"/>
                        <a:pt x="15713" y="403"/>
                        <a:pt x="35455" y="0"/>
                      </a:cubicBezTo>
                      <a:cubicBezTo>
                        <a:pt x="36664" y="0"/>
                        <a:pt x="37873" y="403"/>
                        <a:pt x="38679" y="1209"/>
                      </a:cubicBezTo>
                      <a:cubicBezTo>
                        <a:pt x="39484" y="2015"/>
                        <a:pt x="39887" y="3223"/>
                        <a:pt x="39887" y="4432"/>
                      </a:cubicBezTo>
                      <a:lnTo>
                        <a:pt x="39887" y="35858"/>
                      </a:lnTo>
                      <a:cubicBezTo>
                        <a:pt x="39887" y="38276"/>
                        <a:pt x="37873" y="40290"/>
                        <a:pt x="35455" y="40290"/>
                      </a:cubicBezTo>
                      <a:close/>
                      <a:moveTo>
                        <a:pt x="9267" y="31426"/>
                      </a:moveTo>
                      <a:lnTo>
                        <a:pt x="31023" y="31426"/>
                      </a:lnTo>
                      <a:lnTo>
                        <a:pt x="31023" y="9267"/>
                      </a:lnTo>
                      <a:cubicBezTo>
                        <a:pt x="19742" y="11281"/>
                        <a:pt x="10878" y="20145"/>
                        <a:pt x="9267" y="31426"/>
                      </a:cubicBezTo>
                      <a:close/>
                    </a:path>
                  </a:pathLst>
                </a:custGeom>
                <a:grpFill/>
                <a:ln w="4028" cap="flat">
                  <a:noFill/>
                  <a:prstDash val="solid"/>
                  <a:miter/>
                </a:ln>
              </p:spPr>
              <p:txBody>
                <a:bodyPr rtlCol="0" anchor="ctr"/>
                <a:lstStyle/>
                <a:p>
                  <a:endParaRPr lang="en-US"/>
                </a:p>
              </p:txBody>
            </p:sp>
          </p:grpSp>
          <p:sp>
            <p:nvSpPr>
              <p:cNvPr id="427" name="Freeform 230">
                <a:extLst>
                  <a:ext uri="{FF2B5EF4-FFF2-40B4-BE49-F238E27FC236}">
                    <a16:creationId xmlns:a16="http://schemas.microsoft.com/office/drawing/2014/main" id="{FA447C06-A07A-1364-CCDC-060A75221C5E}"/>
                  </a:ext>
                </a:extLst>
              </p:cNvPr>
              <p:cNvSpPr/>
              <p:nvPr/>
            </p:nvSpPr>
            <p:spPr>
              <a:xfrm>
                <a:off x="4684850" y="3779527"/>
                <a:ext cx="141019" cy="141015"/>
              </a:xfrm>
              <a:custGeom>
                <a:avLst/>
                <a:gdLst>
                  <a:gd name="connsiteX0" fmla="*/ 70508 w 141019"/>
                  <a:gd name="connsiteY0" fmla="*/ 141016 h 141015"/>
                  <a:gd name="connsiteX1" fmla="*/ 0 w 141019"/>
                  <a:gd name="connsiteY1" fmla="*/ 70508 h 141015"/>
                  <a:gd name="connsiteX2" fmla="*/ 70508 w 141019"/>
                  <a:gd name="connsiteY2" fmla="*/ 0 h 141015"/>
                  <a:gd name="connsiteX3" fmla="*/ 141016 w 141019"/>
                  <a:gd name="connsiteY3" fmla="*/ 70508 h 141015"/>
                  <a:gd name="connsiteX4" fmla="*/ 70508 w 141019"/>
                  <a:gd name="connsiteY4" fmla="*/ 141016 h 141015"/>
                  <a:gd name="connsiteX5" fmla="*/ 70508 w 141019"/>
                  <a:gd name="connsiteY5" fmla="*/ 8461 h 141015"/>
                  <a:gd name="connsiteX6" fmla="*/ 8461 w 141019"/>
                  <a:gd name="connsiteY6" fmla="*/ 70508 h 141015"/>
                  <a:gd name="connsiteX7" fmla="*/ 70508 w 141019"/>
                  <a:gd name="connsiteY7" fmla="*/ 132555 h 141015"/>
                  <a:gd name="connsiteX8" fmla="*/ 132555 w 141019"/>
                  <a:gd name="connsiteY8" fmla="*/ 70508 h 141015"/>
                  <a:gd name="connsiteX9" fmla="*/ 70508 w 141019"/>
                  <a:gd name="connsiteY9" fmla="*/ 8461 h 14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019" h="141015">
                    <a:moveTo>
                      <a:pt x="70508" y="141016"/>
                    </a:moveTo>
                    <a:cubicBezTo>
                      <a:pt x="31427" y="141016"/>
                      <a:pt x="0" y="109186"/>
                      <a:pt x="0" y="70508"/>
                    </a:cubicBezTo>
                    <a:cubicBezTo>
                      <a:pt x="0" y="31426"/>
                      <a:pt x="31829" y="0"/>
                      <a:pt x="70508" y="0"/>
                    </a:cubicBezTo>
                    <a:cubicBezTo>
                      <a:pt x="109589" y="0"/>
                      <a:pt x="141016" y="31829"/>
                      <a:pt x="141016" y="70508"/>
                    </a:cubicBezTo>
                    <a:cubicBezTo>
                      <a:pt x="141419" y="109186"/>
                      <a:pt x="109589" y="141016"/>
                      <a:pt x="70508" y="141016"/>
                    </a:cubicBezTo>
                    <a:close/>
                    <a:moveTo>
                      <a:pt x="70508" y="8461"/>
                    </a:moveTo>
                    <a:cubicBezTo>
                      <a:pt x="36261" y="8461"/>
                      <a:pt x="8461" y="36261"/>
                      <a:pt x="8461" y="70508"/>
                    </a:cubicBezTo>
                    <a:cubicBezTo>
                      <a:pt x="8461" y="104754"/>
                      <a:pt x="36261" y="132555"/>
                      <a:pt x="70508" y="132555"/>
                    </a:cubicBezTo>
                    <a:cubicBezTo>
                      <a:pt x="104754" y="132555"/>
                      <a:pt x="132555" y="104754"/>
                      <a:pt x="132555" y="70508"/>
                    </a:cubicBezTo>
                    <a:cubicBezTo>
                      <a:pt x="132555" y="36261"/>
                      <a:pt x="104754" y="8461"/>
                      <a:pt x="70508" y="8461"/>
                    </a:cubicBezTo>
                    <a:close/>
                  </a:path>
                </a:pathLst>
              </a:custGeom>
              <a:grpFill/>
              <a:ln w="4028" cap="flat">
                <a:noFill/>
                <a:prstDash val="solid"/>
                <a:miter/>
              </a:ln>
            </p:spPr>
            <p:txBody>
              <a:bodyPr rtlCol="0" anchor="ctr"/>
              <a:lstStyle/>
              <a:p>
                <a:endParaRPr lang="en-US"/>
              </a:p>
            </p:txBody>
          </p:sp>
        </p:grpSp>
        <p:grpSp>
          <p:nvGrpSpPr>
            <p:cNvPr id="418" name="Content Placeholder 5">
              <a:extLst>
                <a:ext uri="{FF2B5EF4-FFF2-40B4-BE49-F238E27FC236}">
                  <a16:creationId xmlns:a16="http://schemas.microsoft.com/office/drawing/2014/main" id="{88026F3B-86A4-10AF-5976-35E78E214DBE}"/>
                </a:ext>
              </a:extLst>
            </p:cNvPr>
            <p:cNvGrpSpPr/>
            <p:nvPr/>
          </p:nvGrpSpPr>
          <p:grpSpPr>
            <a:xfrm>
              <a:off x="4675583" y="3687262"/>
              <a:ext cx="159146" cy="325141"/>
              <a:chOff x="4675583" y="3687262"/>
              <a:chExt cx="159146" cy="325141"/>
            </a:xfrm>
            <a:grpFill/>
          </p:grpSpPr>
          <p:grpSp>
            <p:nvGrpSpPr>
              <p:cNvPr id="419" name="Content Placeholder 5">
                <a:extLst>
                  <a:ext uri="{FF2B5EF4-FFF2-40B4-BE49-F238E27FC236}">
                    <a16:creationId xmlns:a16="http://schemas.microsoft.com/office/drawing/2014/main" id="{404B033D-BE7F-8DAF-8D07-2052E05E1DE5}"/>
                  </a:ext>
                </a:extLst>
              </p:cNvPr>
              <p:cNvGrpSpPr/>
              <p:nvPr/>
            </p:nvGrpSpPr>
            <p:grpSpPr>
              <a:xfrm>
                <a:off x="4693714" y="3687262"/>
                <a:ext cx="141015" cy="74536"/>
                <a:chOff x="4693714" y="3687262"/>
                <a:chExt cx="141015" cy="74536"/>
              </a:xfrm>
              <a:grpFill/>
            </p:grpSpPr>
            <p:sp>
              <p:nvSpPr>
                <p:cNvPr id="423" name="Freeform 226">
                  <a:extLst>
                    <a:ext uri="{FF2B5EF4-FFF2-40B4-BE49-F238E27FC236}">
                      <a16:creationId xmlns:a16="http://schemas.microsoft.com/office/drawing/2014/main" id="{6D4F4713-37AD-C312-8143-9962BF1B0AE0}"/>
                    </a:ext>
                  </a:extLst>
                </p:cNvPr>
                <p:cNvSpPr/>
                <p:nvPr/>
              </p:nvSpPr>
              <p:spPr>
                <a:xfrm>
                  <a:off x="4693714" y="3687262"/>
                  <a:ext cx="123288" cy="74536"/>
                </a:xfrm>
                <a:custGeom>
                  <a:avLst/>
                  <a:gdLst>
                    <a:gd name="connsiteX0" fmla="*/ 118856 w 123288"/>
                    <a:gd name="connsiteY0" fmla="*/ 74537 h 74536"/>
                    <a:gd name="connsiteX1" fmla="*/ 114424 w 123288"/>
                    <a:gd name="connsiteY1" fmla="*/ 70105 h 74536"/>
                    <a:gd name="connsiteX2" fmla="*/ 114424 w 123288"/>
                    <a:gd name="connsiteY2" fmla="*/ 61644 h 74536"/>
                    <a:gd name="connsiteX3" fmla="*/ 61644 w 123288"/>
                    <a:gd name="connsiteY3" fmla="*/ 8864 h 74536"/>
                    <a:gd name="connsiteX4" fmla="*/ 8864 w 123288"/>
                    <a:gd name="connsiteY4" fmla="*/ 61644 h 74536"/>
                    <a:gd name="connsiteX5" fmla="*/ 8864 w 123288"/>
                    <a:gd name="connsiteY5" fmla="*/ 70105 h 74536"/>
                    <a:gd name="connsiteX6" fmla="*/ 4432 w 123288"/>
                    <a:gd name="connsiteY6" fmla="*/ 74537 h 74536"/>
                    <a:gd name="connsiteX7" fmla="*/ 0 w 123288"/>
                    <a:gd name="connsiteY7" fmla="*/ 70105 h 74536"/>
                    <a:gd name="connsiteX8" fmla="*/ 0 w 123288"/>
                    <a:gd name="connsiteY8" fmla="*/ 61644 h 74536"/>
                    <a:gd name="connsiteX9" fmla="*/ 61644 w 123288"/>
                    <a:gd name="connsiteY9" fmla="*/ 0 h 74536"/>
                    <a:gd name="connsiteX10" fmla="*/ 123288 w 123288"/>
                    <a:gd name="connsiteY10" fmla="*/ 61644 h 74536"/>
                    <a:gd name="connsiteX11" fmla="*/ 123288 w 123288"/>
                    <a:gd name="connsiteY11" fmla="*/ 70105 h 74536"/>
                    <a:gd name="connsiteX12" fmla="*/ 118856 w 123288"/>
                    <a:gd name="connsiteY12" fmla="*/ 74537 h 7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88" h="74536">
                      <a:moveTo>
                        <a:pt x="118856" y="74537"/>
                      </a:moveTo>
                      <a:cubicBezTo>
                        <a:pt x="116439" y="74537"/>
                        <a:pt x="114424" y="72522"/>
                        <a:pt x="114424" y="70105"/>
                      </a:cubicBezTo>
                      <a:lnTo>
                        <a:pt x="114424" y="61644"/>
                      </a:lnTo>
                      <a:cubicBezTo>
                        <a:pt x="114424" y="32635"/>
                        <a:pt x="90653" y="8864"/>
                        <a:pt x="61644" y="8864"/>
                      </a:cubicBezTo>
                      <a:cubicBezTo>
                        <a:pt x="32635" y="8864"/>
                        <a:pt x="8864" y="32635"/>
                        <a:pt x="8864" y="61644"/>
                      </a:cubicBezTo>
                      <a:lnTo>
                        <a:pt x="8864" y="70105"/>
                      </a:lnTo>
                      <a:cubicBezTo>
                        <a:pt x="8864" y="72522"/>
                        <a:pt x="6849" y="74537"/>
                        <a:pt x="4432" y="74537"/>
                      </a:cubicBezTo>
                      <a:cubicBezTo>
                        <a:pt x="2015" y="74537"/>
                        <a:pt x="0" y="72522"/>
                        <a:pt x="0" y="70105"/>
                      </a:cubicBezTo>
                      <a:lnTo>
                        <a:pt x="0" y="61644"/>
                      </a:lnTo>
                      <a:cubicBezTo>
                        <a:pt x="0" y="27800"/>
                        <a:pt x="27397" y="0"/>
                        <a:pt x="61644" y="0"/>
                      </a:cubicBezTo>
                      <a:cubicBezTo>
                        <a:pt x="95488" y="0"/>
                        <a:pt x="123288" y="27397"/>
                        <a:pt x="123288" y="61644"/>
                      </a:cubicBezTo>
                      <a:lnTo>
                        <a:pt x="123288" y="70105"/>
                      </a:lnTo>
                      <a:cubicBezTo>
                        <a:pt x="123288" y="72522"/>
                        <a:pt x="121274" y="74537"/>
                        <a:pt x="118856" y="74537"/>
                      </a:cubicBezTo>
                      <a:close/>
                    </a:path>
                  </a:pathLst>
                </a:custGeom>
                <a:grpFill/>
                <a:ln w="4028" cap="flat">
                  <a:noFill/>
                  <a:prstDash val="solid"/>
                  <a:miter/>
                </a:ln>
              </p:spPr>
              <p:txBody>
                <a:bodyPr rtlCol="0" anchor="ctr"/>
                <a:lstStyle/>
                <a:p>
                  <a:endParaRPr lang="en-US"/>
                </a:p>
              </p:txBody>
            </p:sp>
            <p:sp>
              <p:nvSpPr>
                <p:cNvPr id="424" name="Freeform 227">
                  <a:extLst>
                    <a:ext uri="{FF2B5EF4-FFF2-40B4-BE49-F238E27FC236}">
                      <a16:creationId xmlns:a16="http://schemas.microsoft.com/office/drawing/2014/main" id="{3C6C1AF8-F386-0DC2-B850-8D1737C80CA9}"/>
                    </a:ext>
                  </a:extLst>
                </p:cNvPr>
                <p:cNvSpPr/>
                <p:nvPr/>
              </p:nvSpPr>
              <p:spPr>
                <a:xfrm>
                  <a:off x="4789605" y="3734805"/>
                  <a:ext cx="45125" cy="26994"/>
                </a:xfrm>
                <a:custGeom>
                  <a:avLst/>
                  <a:gdLst>
                    <a:gd name="connsiteX0" fmla="*/ 22965 w 45125"/>
                    <a:gd name="connsiteY0" fmla="*/ 26994 h 26994"/>
                    <a:gd name="connsiteX1" fmla="*/ 19742 w 45125"/>
                    <a:gd name="connsiteY1" fmla="*/ 25786 h 26994"/>
                    <a:gd name="connsiteX2" fmla="*/ 1209 w 45125"/>
                    <a:gd name="connsiteY2" fmla="*/ 7252 h 26994"/>
                    <a:gd name="connsiteX3" fmla="*/ 1209 w 45125"/>
                    <a:gd name="connsiteY3" fmla="*/ 1209 h 26994"/>
                    <a:gd name="connsiteX4" fmla="*/ 7252 w 45125"/>
                    <a:gd name="connsiteY4" fmla="*/ 1209 h 26994"/>
                    <a:gd name="connsiteX5" fmla="*/ 22563 w 45125"/>
                    <a:gd name="connsiteY5" fmla="*/ 16519 h 26994"/>
                    <a:gd name="connsiteX6" fmla="*/ 37873 w 45125"/>
                    <a:gd name="connsiteY6" fmla="*/ 1209 h 26994"/>
                    <a:gd name="connsiteX7" fmla="*/ 43916 w 45125"/>
                    <a:gd name="connsiteY7" fmla="*/ 1209 h 26994"/>
                    <a:gd name="connsiteX8" fmla="*/ 43916 w 45125"/>
                    <a:gd name="connsiteY8" fmla="*/ 7252 h 26994"/>
                    <a:gd name="connsiteX9" fmla="*/ 25383 w 45125"/>
                    <a:gd name="connsiteY9" fmla="*/ 25786 h 26994"/>
                    <a:gd name="connsiteX10" fmla="*/ 22965 w 45125"/>
                    <a:gd name="connsiteY10" fmla="*/ 26994 h 2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125" h="26994">
                      <a:moveTo>
                        <a:pt x="22965" y="26994"/>
                      </a:moveTo>
                      <a:cubicBezTo>
                        <a:pt x="21757" y="26994"/>
                        <a:pt x="20548" y="26592"/>
                        <a:pt x="19742" y="25786"/>
                      </a:cubicBezTo>
                      <a:lnTo>
                        <a:pt x="1209" y="7252"/>
                      </a:lnTo>
                      <a:cubicBezTo>
                        <a:pt x="-403" y="5641"/>
                        <a:pt x="-403" y="2820"/>
                        <a:pt x="1209" y="1209"/>
                      </a:cubicBezTo>
                      <a:cubicBezTo>
                        <a:pt x="2820" y="-403"/>
                        <a:pt x="5641" y="-403"/>
                        <a:pt x="7252" y="1209"/>
                      </a:cubicBezTo>
                      <a:lnTo>
                        <a:pt x="22563" y="16519"/>
                      </a:lnTo>
                      <a:lnTo>
                        <a:pt x="37873" y="1209"/>
                      </a:lnTo>
                      <a:cubicBezTo>
                        <a:pt x="39484" y="-403"/>
                        <a:pt x="42305" y="-403"/>
                        <a:pt x="43916" y="1209"/>
                      </a:cubicBezTo>
                      <a:cubicBezTo>
                        <a:pt x="45528" y="2820"/>
                        <a:pt x="45528" y="5641"/>
                        <a:pt x="43916" y="7252"/>
                      </a:cubicBezTo>
                      <a:lnTo>
                        <a:pt x="25383" y="25786"/>
                      </a:lnTo>
                      <a:cubicBezTo>
                        <a:pt x="25383" y="26592"/>
                        <a:pt x="24174" y="26994"/>
                        <a:pt x="22965" y="26994"/>
                      </a:cubicBezTo>
                      <a:close/>
                    </a:path>
                  </a:pathLst>
                </a:custGeom>
                <a:grpFill/>
                <a:ln w="4028" cap="flat">
                  <a:noFill/>
                  <a:prstDash val="solid"/>
                  <a:miter/>
                </a:ln>
              </p:spPr>
              <p:txBody>
                <a:bodyPr rtlCol="0" anchor="ctr"/>
                <a:lstStyle/>
                <a:p>
                  <a:endParaRPr lang="en-US"/>
                </a:p>
              </p:txBody>
            </p:sp>
          </p:grpSp>
          <p:grpSp>
            <p:nvGrpSpPr>
              <p:cNvPr id="420" name="Content Placeholder 5">
                <a:extLst>
                  <a:ext uri="{FF2B5EF4-FFF2-40B4-BE49-F238E27FC236}">
                    <a16:creationId xmlns:a16="http://schemas.microsoft.com/office/drawing/2014/main" id="{FC625C3B-943C-8637-AC44-713370B01BBB}"/>
                  </a:ext>
                </a:extLst>
              </p:cNvPr>
              <p:cNvGrpSpPr/>
              <p:nvPr/>
            </p:nvGrpSpPr>
            <p:grpSpPr>
              <a:xfrm>
                <a:off x="4675583" y="3937867"/>
                <a:ext cx="141418" cy="74536"/>
                <a:chOff x="4675583" y="3937867"/>
                <a:chExt cx="141418" cy="74536"/>
              </a:xfrm>
              <a:grpFill/>
            </p:grpSpPr>
            <p:sp>
              <p:nvSpPr>
                <p:cNvPr id="421" name="Freeform 224">
                  <a:extLst>
                    <a:ext uri="{FF2B5EF4-FFF2-40B4-BE49-F238E27FC236}">
                      <a16:creationId xmlns:a16="http://schemas.microsoft.com/office/drawing/2014/main" id="{63219D0B-B148-FE64-1B95-EA3F6DF569A3}"/>
                    </a:ext>
                  </a:extLst>
                </p:cNvPr>
                <p:cNvSpPr/>
                <p:nvPr/>
              </p:nvSpPr>
              <p:spPr>
                <a:xfrm>
                  <a:off x="4693714" y="3937867"/>
                  <a:ext cx="123288" cy="74536"/>
                </a:xfrm>
                <a:custGeom>
                  <a:avLst/>
                  <a:gdLst>
                    <a:gd name="connsiteX0" fmla="*/ 61644 w 123288"/>
                    <a:gd name="connsiteY0" fmla="*/ 74537 h 74536"/>
                    <a:gd name="connsiteX1" fmla="*/ 0 w 123288"/>
                    <a:gd name="connsiteY1" fmla="*/ 12893 h 74536"/>
                    <a:gd name="connsiteX2" fmla="*/ 0 w 123288"/>
                    <a:gd name="connsiteY2" fmla="*/ 4432 h 74536"/>
                    <a:gd name="connsiteX3" fmla="*/ 4432 w 123288"/>
                    <a:gd name="connsiteY3" fmla="*/ 0 h 74536"/>
                    <a:gd name="connsiteX4" fmla="*/ 8864 w 123288"/>
                    <a:gd name="connsiteY4" fmla="*/ 4432 h 74536"/>
                    <a:gd name="connsiteX5" fmla="*/ 8864 w 123288"/>
                    <a:gd name="connsiteY5" fmla="*/ 12893 h 74536"/>
                    <a:gd name="connsiteX6" fmla="*/ 61644 w 123288"/>
                    <a:gd name="connsiteY6" fmla="*/ 65673 h 74536"/>
                    <a:gd name="connsiteX7" fmla="*/ 114424 w 123288"/>
                    <a:gd name="connsiteY7" fmla="*/ 12893 h 74536"/>
                    <a:gd name="connsiteX8" fmla="*/ 114424 w 123288"/>
                    <a:gd name="connsiteY8" fmla="*/ 4432 h 74536"/>
                    <a:gd name="connsiteX9" fmla="*/ 118856 w 123288"/>
                    <a:gd name="connsiteY9" fmla="*/ 0 h 74536"/>
                    <a:gd name="connsiteX10" fmla="*/ 123288 w 123288"/>
                    <a:gd name="connsiteY10" fmla="*/ 4432 h 74536"/>
                    <a:gd name="connsiteX11" fmla="*/ 123288 w 123288"/>
                    <a:gd name="connsiteY11" fmla="*/ 12893 h 74536"/>
                    <a:gd name="connsiteX12" fmla="*/ 61644 w 123288"/>
                    <a:gd name="connsiteY12" fmla="*/ 74537 h 7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288" h="74536">
                      <a:moveTo>
                        <a:pt x="61644" y="74537"/>
                      </a:moveTo>
                      <a:cubicBezTo>
                        <a:pt x="27800" y="74537"/>
                        <a:pt x="0" y="47140"/>
                        <a:pt x="0" y="12893"/>
                      </a:cubicBezTo>
                      <a:lnTo>
                        <a:pt x="0" y="4432"/>
                      </a:lnTo>
                      <a:cubicBezTo>
                        <a:pt x="0" y="2015"/>
                        <a:pt x="2015" y="0"/>
                        <a:pt x="4432" y="0"/>
                      </a:cubicBezTo>
                      <a:cubicBezTo>
                        <a:pt x="6849" y="0"/>
                        <a:pt x="8864" y="2015"/>
                        <a:pt x="8864" y="4432"/>
                      </a:cubicBezTo>
                      <a:lnTo>
                        <a:pt x="8864" y="12893"/>
                      </a:lnTo>
                      <a:cubicBezTo>
                        <a:pt x="8864" y="41902"/>
                        <a:pt x="32635" y="65673"/>
                        <a:pt x="61644" y="65673"/>
                      </a:cubicBezTo>
                      <a:cubicBezTo>
                        <a:pt x="90653" y="65673"/>
                        <a:pt x="114424" y="41902"/>
                        <a:pt x="114424" y="12893"/>
                      </a:cubicBezTo>
                      <a:lnTo>
                        <a:pt x="114424" y="4432"/>
                      </a:lnTo>
                      <a:cubicBezTo>
                        <a:pt x="114424" y="2015"/>
                        <a:pt x="116439" y="0"/>
                        <a:pt x="118856" y="0"/>
                      </a:cubicBezTo>
                      <a:cubicBezTo>
                        <a:pt x="121274" y="0"/>
                        <a:pt x="123288" y="2015"/>
                        <a:pt x="123288" y="4432"/>
                      </a:cubicBezTo>
                      <a:lnTo>
                        <a:pt x="123288" y="12893"/>
                      </a:lnTo>
                      <a:cubicBezTo>
                        <a:pt x="123288" y="47140"/>
                        <a:pt x="95488" y="74537"/>
                        <a:pt x="61644" y="74537"/>
                      </a:cubicBezTo>
                      <a:close/>
                    </a:path>
                  </a:pathLst>
                </a:custGeom>
                <a:grpFill/>
                <a:ln w="4028" cap="flat">
                  <a:noFill/>
                  <a:prstDash val="solid"/>
                  <a:miter/>
                </a:ln>
              </p:spPr>
              <p:txBody>
                <a:bodyPr rtlCol="0" anchor="ctr"/>
                <a:lstStyle/>
                <a:p>
                  <a:endParaRPr lang="en-US"/>
                </a:p>
              </p:txBody>
            </p:sp>
            <p:sp>
              <p:nvSpPr>
                <p:cNvPr id="422" name="Freeform 225">
                  <a:extLst>
                    <a:ext uri="{FF2B5EF4-FFF2-40B4-BE49-F238E27FC236}">
                      <a16:creationId xmlns:a16="http://schemas.microsoft.com/office/drawing/2014/main" id="{88262A0B-76E4-39F2-658F-789420F7DC49}"/>
                    </a:ext>
                  </a:extLst>
                </p:cNvPr>
                <p:cNvSpPr/>
                <p:nvPr/>
              </p:nvSpPr>
              <p:spPr>
                <a:xfrm>
                  <a:off x="4675583" y="3938270"/>
                  <a:ext cx="45527" cy="26994"/>
                </a:xfrm>
                <a:custGeom>
                  <a:avLst/>
                  <a:gdLst>
                    <a:gd name="connsiteX0" fmla="*/ 4432 w 45527"/>
                    <a:gd name="connsiteY0" fmla="*/ 26994 h 26994"/>
                    <a:gd name="connsiteX1" fmla="*/ 1209 w 45527"/>
                    <a:gd name="connsiteY1" fmla="*/ 25786 h 26994"/>
                    <a:gd name="connsiteX2" fmla="*/ 1209 w 45527"/>
                    <a:gd name="connsiteY2" fmla="*/ 19742 h 26994"/>
                    <a:gd name="connsiteX3" fmla="*/ 19742 w 45527"/>
                    <a:gd name="connsiteY3" fmla="*/ 1209 h 26994"/>
                    <a:gd name="connsiteX4" fmla="*/ 25786 w 45527"/>
                    <a:gd name="connsiteY4" fmla="*/ 1209 h 26994"/>
                    <a:gd name="connsiteX5" fmla="*/ 44319 w 45527"/>
                    <a:gd name="connsiteY5" fmla="*/ 19742 h 26994"/>
                    <a:gd name="connsiteX6" fmla="*/ 44319 w 45527"/>
                    <a:gd name="connsiteY6" fmla="*/ 25786 h 26994"/>
                    <a:gd name="connsiteX7" fmla="*/ 38276 w 45527"/>
                    <a:gd name="connsiteY7" fmla="*/ 25786 h 26994"/>
                    <a:gd name="connsiteX8" fmla="*/ 22965 w 45527"/>
                    <a:gd name="connsiteY8" fmla="*/ 10476 h 26994"/>
                    <a:gd name="connsiteX9" fmla="*/ 7655 w 45527"/>
                    <a:gd name="connsiteY9" fmla="*/ 25786 h 26994"/>
                    <a:gd name="connsiteX10" fmla="*/ 4432 w 45527"/>
                    <a:gd name="connsiteY10" fmla="*/ 26994 h 2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527" h="26994">
                      <a:moveTo>
                        <a:pt x="4432" y="26994"/>
                      </a:moveTo>
                      <a:cubicBezTo>
                        <a:pt x="3223" y="26994"/>
                        <a:pt x="2014" y="26592"/>
                        <a:pt x="1209" y="25786"/>
                      </a:cubicBezTo>
                      <a:cubicBezTo>
                        <a:pt x="-403" y="24174"/>
                        <a:pt x="-403" y="21354"/>
                        <a:pt x="1209" y="19742"/>
                      </a:cubicBezTo>
                      <a:lnTo>
                        <a:pt x="19742" y="1209"/>
                      </a:lnTo>
                      <a:cubicBezTo>
                        <a:pt x="21354" y="-403"/>
                        <a:pt x="24174" y="-403"/>
                        <a:pt x="25786" y="1209"/>
                      </a:cubicBezTo>
                      <a:lnTo>
                        <a:pt x="44319" y="19742"/>
                      </a:lnTo>
                      <a:cubicBezTo>
                        <a:pt x="45931" y="21354"/>
                        <a:pt x="45931" y="24174"/>
                        <a:pt x="44319" y="25786"/>
                      </a:cubicBezTo>
                      <a:cubicBezTo>
                        <a:pt x="42708" y="27397"/>
                        <a:pt x="39887" y="27397"/>
                        <a:pt x="38276" y="25786"/>
                      </a:cubicBezTo>
                      <a:lnTo>
                        <a:pt x="22965" y="10476"/>
                      </a:lnTo>
                      <a:lnTo>
                        <a:pt x="7655" y="25786"/>
                      </a:lnTo>
                      <a:cubicBezTo>
                        <a:pt x="6447" y="26592"/>
                        <a:pt x="5238" y="26994"/>
                        <a:pt x="4432" y="26994"/>
                      </a:cubicBezTo>
                      <a:close/>
                    </a:path>
                  </a:pathLst>
                </a:custGeom>
                <a:grpFill/>
                <a:ln w="4028" cap="flat">
                  <a:noFill/>
                  <a:prstDash val="solid"/>
                  <a:miter/>
                </a:ln>
              </p:spPr>
              <p:txBody>
                <a:bodyPr rtlCol="0" anchor="ctr"/>
                <a:lstStyle/>
                <a:p>
                  <a:endParaRPr lang="en-US"/>
                </a:p>
              </p:txBody>
            </p:sp>
          </p:grpSp>
        </p:grpSp>
      </p:grpSp>
    </p:spTree>
    <p:extLst>
      <p:ext uri="{BB962C8B-B14F-4D97-AF65-F5344CB8AC3E}">
        <p14:creationId xmlns:p14="http://schemas.microsoft.com/office/powerpoint/2010/main" val="2409308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MESC PPT">
  <a:themeElements>
    <a:clrScheme name="MESC Color Theme">
      <a:dk1>
        <a:srgbClr val="000000"/>
      </a:dk1>
      <a:lt1>
        <a:srgbClr val="FFFFFF"/>
      </a:lt1>
      <a:dk2>
        <a:srgbClr val="205FAB"/>
      </a:dk2>
      <a:lt2>
        <a:srgbClr val="F1FAFA"/>
      </a:lt2>
      <a:accent1>
        <a:srgbClr val="4F81BD"/>
      </a:accent1>
      <a:accent2>
        <a:srgbClr val="1EA5DF"/>
      </a:accent2>
      <a:accent3>
        <a:srgbClr val="FFCA03"/>
      </a:accent3>
      <a:accent4>
        <a:srgbClr val="F9A21B"/>
      </a:accent4>
      <a:accent5>
        <a:srgbClr val="1A315D"/>
      </a:accent5>
      <a:accent6>
        <a:srgbClr val="DBDDDE"/>
      </a:accent6>
      <a:hlink>
        <a:srgbClr val="0016FC"/>
      </a:hlink>
      <a:folHlink>
        <a:srgbClr val="800080"/>
      </a:folHlink>
    </a:clrScheme>
    <a:fontScheme name="MESC Fonts">
      <a:majorFont>
        <a:latin typeface="Avenir LT Std 65 Medium"/>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ESC TEMPLATE 2023.10.13  -  Read-Only" id="{0713B317-250B-4E54-AC87-9B4632763ADE}" vid="{62BE696C-08C0-4A5D-84FA-6325E4B55431}"/>
    </a:ext>
  </a:extLst>
</a:theme>
</file>

<file path=ppt/theme/theme2.xml><?xml version="1.0" encoding="utf-8"?>
<a:theme xmlns:a="http://schemas.openxmlformats.org/drawingml/2006/main" name="1_MESC PPT">
  <a:themeElements>
    <a:clrScheme name="MESC Color Theme">
      <a:dk1>
        <a:srgbClr val="000000"/>
      </a:dk1>
      <a:lt1>
        <a:srgbClr val="FFFFFF"/>
      </a:lt1>
      <a:dk2>
        <a:srgbClr val="205FAB"/>
      </a:dk2>
      <a:lt2>
        <a:srgbClr val="F1FAFA"/>
      </a:lt2>
      <a:accent1>
        <a:srgbClr val="4F81BD"/>
      </a:accent1>
      <a:accent2>
        <a:srgbClr val="1EA5DF"/>
      </a:accent2>
      <a:accent3>
        <a:srgbClr val="FFCA03"/>
      </a:accent3>
      <a:accent4>
        <a:srgbClr val="F9A21B"/>
      </a:accent4>
      <a:accent5>
        <a:srgbClr val="1A315D"/>
      </a:accent5>
      <a:accent6>
        <a:srgbClr val="DBDDDE"/>
      </a:accent6>
      <a:hlink>
        <a:srgbClr val="0016FC"/>
      </a:hlink>
      <a:folHlink>
        <a:srgbClr val="800080"/>
      </a:folHlink>
    </a:clrScheme>
    <a:fontScheme name="MESC Fonts">
      <a:majorFont>
        <a:latin typeface="Avenir LT Std 65 Medium"/>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MESC TEMPLATE 2023.10.13  -  Read-Only" id="{0713B317-250B-4E54-AC87-9B4632763ADE}" vid="{62BE696C-08C0-4A5D-84FA-6325E4B55431}"/>
    </a:ext>
  </a:extLst>
</a:theme>
</file>

<file path=ppt/theme/theme3.xml><?xml version="1.0" encoding="utf-8"?>
<a:theme xmlns:a="http://schemas.openxmlformats.org/drawingml/2006/main" name="1_Office Theme MESC">
  <a:themeElements>
    <a:clrScheme name="MESC colors">
      <a:dk1>
        <a:sysClr val="windowText" lastClr="000000"/>
      </a:dk1>
      <a:lt1>
        <a:sysClr val="window" lastClr="FFFFFF"/>
      </a:lt1>
      <a:dk2>
        <a:srgbClr val="1A325D"/>
      </a:dk2>
      <a:lt2>
        <a:srgbClr val="DCDDDE"/>
      </a:lt2>
      <a:accent1>
        <a:srgbClr val="4F81BD"/>
      </a:accent1>
      <a:accent2>
        <a:srgbClr val="C0504D"/>
      </a:accent2>
      <a:accent3>
        <a:srgbClr val="0FA84C"/>
      </a:accent3>
      <a:accent4>
        <a:srgbClr val="8064A2"/>
      </a:accent4>
      <a:accent5>
        <a:srgbClr val="1CA6DF"/>
      </a:accent5>
      <a:accent6>
        <a:srgbClr val="FAA21D"/>
      </a:accent6>
      <a:hlink>
        <a:srgbClr val="0000FF"/>
      </a:hlink>
      <a:folHlink>
        <a:srgbClr val="800080"/>
      </a:folHlink>
    </a:clrScheme>
    <a:fontScheme name="MESC Fonts">
      <a:majorFont>
        <a:latin typeface="Avenir LT Std 65 Medium"/>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7" id="{FD85F08E-A5AF-4082-ABC9-9AEDC0D766A7}" vid="{1AF0FDA5-B2AF-44AE-A032-B8165F53759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d6b7c40-b556-4b0b-a905-8ec3bacde507">
      <Terms xmlns="http://schemas.microsoft.com/office/infopath/2007/PartnerControls"/>
    </lcf76f155ced4ddcb4097134ff3c332f>
    <TaxCatchAll xmlns="78cb4f03-daab-468a-957a-35e5b724fd2b" xsi:nil="true"/>
    <SharedWithUsers xmlns="78cb4f03-daab-468a-957a-35e5b724fd2b">
      <UserInfo>
        <DisplayName>Avins, Jeremy</DisplayName>
        <AccountId>98</AccountId>
        <AccountType/>
      </UserInfo>
      <UserInfo>
        <DisplayName>Mahmoud, Mustafa</DisplayName>
        <AccountId>95</AccountId>
        <AccountType/>
      </UserInfo>
      <UserInfo>
        <DisplayName>Yin, Clifton</DisplayName>
        <AccountId>12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F065485A22C0746879F270D5F6BF641" ma:contentTypeVersion="13" ma:contentTypeDescription="Create a new document." ma:contentTypeScope="" ma:versionID="a1488027f8342ba453cf9814fbfd3316">
  <xsd:schema xmlns:xsd="http://www.w3.org/2001/XMLSchema" xmlns:xs="http://www.w3.org/2001/XMLSchema" xmlns:p="http://schemas.microsoft.com/office/2006/metadata/properties" xmlns:ns2="bd6b7c40-b556-4b0b-a905-8ec3bacde507" xmlns:ns3="78cb4f03-daab-468a-957a-35e5b724fd2b" targetNamespace="http://schemas.microsoft.com/office/2006/metadata/properties" ma:root="true" ma:fieldsID="01a5f5b3e3218e2fe002f92418f5c60d" ns2:_="" ns3:_="">
    <xsd:import namespace="bd6b7c40-b556-4b0b-a905-8ec3bacde507"/>
    <xsd:import namespace="78cb4f03-daab-468a-957a-35e5b724fd2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6b7c40-b556-4b0b-a905-8ec3bacde5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83e6a241-953a-4340-86cf-e55bccd75c0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8cb4f03-daab-468a-957a-35e5b724fd2b"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9fa1b6f5-1670-474f-abf2-03e33516d77b}" ma:internalName="TaxCatchAll" ma:showField="CatchAllData" ma:web="78cb4f03-daab-468a-957a-35e5b724fd2b">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48E09A4-9AA1-4B84-894E-30E27EE153D4}">
  <ds:schemaRefs>
    <ds:schemaRef ds:uri="http://schemas.microsoft.com/sharepoint/v3/contenttype/forms"/>
  </ds:schemaRefs>
</ds:datastoreItem>
</file>

<file path=customXml/itemProps2.xml><?xml version="1.0" encoding="utf-8"?>
<ds:datastoreItem xmlns:ds="http://schemas.openxmlformats.org/officeDocument/2006/customXml" ds:itemID="{007D510C-C3B2-4086-BDE1-D40458D4BB22}">
  <ds:schemaRefs>
    <ds:schemaRef ds:uri="78cb4f03-daab-468a-957a-35e5b724fd2b"/>
    <ds:schemaRef ds:uri="7ff57839-1ed0-4530-a572-599851b0a219"/>
    <ds:schemaRef ds:uri="bd6b7c40-b556-4b0b-a905-8ec3bacde507"/>
    <ds:schemaRef ds:uri="d8b29751-1bde-4156-9ce5-7c33bc97db0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710128B-D43D-468C-A939-3D074DB204C0}">
  <ds:schemaRefs>
    <ds:schemaRef ds:uri="78cb4f03-daab-468a-957a-35e5b724fd2b"/>
    <ds:schemaRef ds:uri="bd6b7c40-b556-4b0b-a905-8ec3bacde50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24</Slides>
  <Notes>4</Notes>
  <HiddenSlides>0</HiddenSlides>
  <ScaleCrop>false</ScaleCrop>
  <HeadingPairs>
    <vt:vector size="4" baseType="variant">
      <vt:variant>
        <vt:lpstr>Theme</vt:lpstr>
      </vt:variant>
      <vt:variant>
        <vt:i4>4</vt:i4>
      </vt:variant>
      <vt:variant>
        <vt:lpstr>Slide Titles</vt:lpstr>
      </vt:variant>
      <vt:variant>
        <vt:i4>24</vt:i4>
      </vt:variant>
    </vt:vector>
  </HeadingPairs>
  <TitlesOfParts>
    <vt:vector size="28" baseType="lpstr">
      <vt:lpstr>MESC PPT</vt:lpstr>
      <vt:lpstr>1_MESC PPT</vt:lpstr>
      <vt:lpstr>1_Office Theme MESC</vt:lpstr>
      <vt:lpstr>Office Theme</vt:lpstr>
      <vt:lpstr>PowerPoint Presentation</vt:lpstr>
      <vt:lpstr>PowerPoint Presentation</vt:lpstr>
      <vt:lpstr>PowerPoint Presentation</vt:lpstr>
      <vt:lpstr>Welcome!</vt:lpstr>
      <vt:lpstr>Submit Questions in Slido</vt:lpstr>
      <vt:lpstr>IAC Implementation Grants Bipartisan Infrastructure Law Provision 40521.b1</vt:lpstr>
      <vt:lpstr>IAC Implementation Grants Program: Two Parallel Workstreams</vt:lpstr>
      <vt:lpstr>PowerPoint Presentation</vt:lpstr>
      <vt:lpstr>IAC Implementation Grants Program Process</vt:lpstr>
      <vt:lpstr>Application Design: IAC Implementation Grants</vt:lpstr>
      <vt:lpstr>PowerPoint Presentation</vt:lpstr>
      <vt:lpstr>Third-Party Assessor Qualification Goals</vt:lpstr>
      <vt:lpstr>Application Design: Qualified Third-Party Assessor</vt:lpstr>
      <vt:lpstr>The Application Process</vt:lpstr>
      <vt:lpstr>Timeline and Key Dates</vt:lpstr>
      <vt:lpstr>Helpful Links</vt:lpstr>
      <vt:lpstr>PowerPoint Presentation</vt:lpstr>
      <vt:lpstr>Connect  With MESC</vt:lpstr>
      <vt:lpstr>PowerPoint Presentation</vt:lpstr>
      <vt:lpstr>Third-Party Assessor Qualification Criteria </vt:lpstr>
      <vt:lpstr>PowerPoint Presentation</vt:lpstr>
      <vt:lpstr>Third-Party Assessor Process and Onboarding</vt:lpstr>
      <vt:lpstr>Overview: Industrial Assessment Centers (IACs)</vt:lpstr>
      <vt:lpstr>Overview: Combined Heat and Power Technical Assistance Partnerships (CHP TA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in, Clifton</dc:creator>
  <cp:revision>1</cp:revision>
  <dcterms:created xsi:type="dcterms:W3CDTF">2023-10-30T13:46:31Z</dcterms:created>
  <dcterms:modified xsi:type="dcterms:W3CDTF">2023-11-16T18:0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065485A22C0746879F270D5F6BF641</vt:lpwstr>
  </property>
  <property fmtid="{D5CDD505-2E9C-101B-9397-08002B2CF9AE}" pid="3" name="MediaServiceImageTags">
    <vt:lpwstr/>
  </property>
</Properties>
</file>